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theme/theme4.xml" ContentType="application/vnd.openxmlformats-officedocument.theme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6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ppt/metadata" ContentType="application/binary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embedTrueTypeFonts="1" saveSubsetFonts="1" autoCompressPictures="0">
  <p:sldMasterIdLst>
    <p:sldMasterId id="2147483648" r:id="rId1"/>
    <p:sldMasterId id="2147483660" r:id="rId2"/>
    <p:sldMasterId id="2147483678" r:id="rId3"/>
  </p:sldMasterIdLst>
  <p:notesMasterIdLst>
    <p:notesMasterId r:id="rId9"/>
  </p:notesMasterIdLst>
  <p:sldIdLst>
    <p:sldId id="312" r:id="rId4"/>
    <p:sldId id="311" r:id="rId5"/>
    <p:sldId id="256" r:id="rId6"/>
    <p:sldId id="257" r:id="rId7"/>
    <p:sldId id="260" r:id="rId8"/>
  </p:sldIdLst>
  <p:sldSz cx="12192000" cy="6858000"/>
  <p:notesSz cx="6858000" cy="9144000"/>
  <p:embeddedFontLst>
    <p:embeddedFont>
      <p:font typeface="Aharoni" panose="02010803020104030203" pitchFamily="2" charset="-79"/>
      <p:bold r:id="rId10"/>
    </p:embeddedFont>
    <p:embeddedFont>
      <p:font typeface="Calibri" panose="020F0502020204030204" pitchFamily="34" charset="0"/>
      <p:regular r:id="rId11"/>
      <p:bold r:id="rId12"/>
      <p:italic r:id="rId13"/>
      <p:boldItalic r:id="rId14"/>
    </p:embeddedFont>
    <p:embeddedFont>
      <p:font typeface="Franklin Gothic" panose="020B0604020202020204" charset="0"/>
      <p:bold r:id="rId15"/>
    </p:embeddedFont>
    <p:embeddedFont>
      <p:font typeface="Libre Franklin" pitchFamily="2" charset="0"/>
      <p:regular r:id="rId16"/>
      <p:bold r:id="rId17"/>
      <p:italic r:id="rId18"/>
      <p:boldItalic r:id="rId19"/>
    </p:embeddedFont>
  </p:embeddedFontLst>
  <p:custDataLst>
    <p:tags r:id="rId20"/>
  </p:custDataLst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/>
    </p:ext>
    <p:ext uri="http://customooxmlschemas.google.com/">
      <go:slidesCustomData xmlns="" xmlns:mc="http://schemas.openxmlformats.org/markup-compatibility/2006" xmlns:mv="urn:schemas-microsoft-com:mac:vml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xmlns:ahyp="http://schemas.microsoft.com/office/drawing/2018/hyperlinkcolor" xmlns:go="http://customooxmlschemas.google.com/" r:id="rId21" roundtripDataSignature="AMtx7mhE4S3tdcYbMcz4nbzWNHqnQsJKOg==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16085891-97FF-4366-B01B-A9D25EA9504F}">
  <a:tblStyle styleId="{16085891-97FF-4366-B01B-A9D25EA9504F}" styleName="Table_0">
    <a:wholeTbl>
      <a:tcTxStyle>
        <a:font>
          <a:latin typeface="Arial"/>
          <a:ea typeface="Arial"/>
          <a:cs typeface="Arial"/>
        </a:font>
        <a:srgbClr val="000000"/>
      </a:tcTxStyle>
      <a:tcStyle>
        <a:tcBdr/>
      </a:tcStyle>
    </a:wholeTbl>
    <a:band1H>
      <a:tcTxStyle/>
      <a:tcStyle>
        <a:tcBdr/>
      </a:tcStyle>
    </a:band1H>
    <a:band2H>
      <a:tcTxStyle/>
      <a:tcStyle>
        <a:tcBdr/>
      </a:tcStyle>
    </a:band2H>
    <a:band1V>
      <a:tcTxStyle/>
      <a:tcStyle>
        <a:tcBdr/>
      </a:tcStyle>
    </a:band1V>
    <a:band2V>
      <a:tcTxStyle/>
      <a:tcStyle>
        <a:tcBdr/>
      </a:tcStyle>
    </a:band2V>
    <a:lastCol>
      <a:tcTxStyle/>
      <a:tcStyle>
        <a:tcBdr/>
      </a:tcStyle>
    </a:lastCol>
    <a:firstCol>
      <a:tcTxStyle/>
      <a:tcStyle>
        <a:tcBdr/>
      </a:tcStyle>
    </a:firstCol>
    <a:lastRow>
      <a:tcTxStyle/>
      <a:tcStyle>
        <a:tcBdr/>
      </a:tcStyle>
    </a:lastRow>
    <a:seCell>
      <a:tcTxStyle/>
      <a:tcStyle>
        <a:tcBdr/>
      </a:tcStyle>
    </a:seCell>
    <a:swCell>
      <a:tcTxStyle/>
      <a:tcStyle>
        <a:tcBdr/>
      </a:tcStyle>
    </a:swCell>
    <a:firstRow>
      <a:tcTxStyle/>
      <a:tcStyle>
        <a:tcBdr/>
      </a:tcStyle>
    </a:firstRow>
    <a:neCell>
      <a:tcTxStyle/>
      <a:tcStyle>
        <a:tcBdr/>
      </a:tcStyle>
    </a:neCell>
    <a:nwCell>
      <a:tcTxStyle/>
      <a:tcStyle>
        <a:tcBdr/>
      </a:tcStyle>
    </a:nw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54" d="100"/>
          <a:sy n="54" d="100"/>
        </p:scale>
        <p:origin x="1124" y="2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font" Target="fonts/font4.fntdata"/><Relationship Id="rId18" Type="http://schemas.openxmlformats.org/officeDocument/2006/relationships/font" Target="fonts/font9.fntdata"/><Relationship Id="rId3" Type="http://schemas.openxmlformats.org/officeDocument/2006/relationships/slideMaster" Target="slideMasters/slideMaster3.xml"/><Relationship Id="rId21" Type="http://customschemas.google.com/relationships/presentationmetadata" Target="metadata"/><Relationship Id="rId7" Type="http://schemas.openxmlformats.org/officeDocument/2006/relationships/slide" Target="slides/slide4.xml"/><Relationship Id="rId12" Type="http://schemas.openxmlformats.org/officeDocument/2006/relationships/font" Target="fonts/font3.fntdata"/><Relationship Id="rId17" Type="http://schemas.openxmlformats.org/officeDocument/2006/relationships/font" Target="fonts/font8.fntdata"/><Relationship Id="rId25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font" Target="fonts/font7.fntdata"/><Relationship Id="rId20" Type="http://schemas.openxmlformats.org/officeDocument/2006/relationships/tags" Target="tags/tag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font" Target="fonts/font2.fntdata"/><Relationship Id="rId24" Type="http://schemas.openxmlformats.org/officeDocument/2006/relationships/theme" Target="theme/theme1.xml"/><Relationship Id="rId5" Type="http://schemas.openxmlformats.org/officeDocument/2006/relationships/slide" Target="slides/slide2.xml"/><Relationship Id="rId15" Type="http://schemas.openxmlformats.org/officeDocument/2006/relationships/font" Target="fonts/font6.fntdata"/><Relationship Id="rId23" Type="http://schemas.openxmlformats.org/officeDocument/2006/relationships/viewProps" Target="viewProps.xml"/><Relationship Id="rId10" Type="http://schemas.openxmlformats.org/officeDocument/2006/relationships/font" Target="fonts/font1.fntdata"/><Relationship Id="rId19" Type="http://schemas.openxmlformats.org/officeDocument/2006/relationships/font" Target="fonts/font10.fntdata"/><Relationship Id="rId4" Type="http://schemas.openxmlformats.org/officeDocument/2006/relationships/slide" Target="slides/slide1.xml"/><Relationship Id="rId9" Type="http://schemas.openxmlformats.org/officeDocument/2006/relationships/notesMaster" Target="notesMasters/notesMaster1.xml"/><Relationship Id="rId14" Type="http://schemas.openxmlformats.org/officeDocument/2006/relationships/font" Target="fonts/font5.fntdata"/><Relationship Id="rId22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 txBox="1">
            <a:spLocks noGrp="1"/>
          </p:cNvSpPr>
          <p:nvPr>
            <p:ph type="hdr" idx="2"/>
          </p:nvPr>
        </p:nvSpPr>
        <p:spPr>
          <a:xfrm>
            <a:off x="0" y="0"/>
            <a:ext cx="2971800" cy="4587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" name="Google Shape;4;n"/>
          <p:cNvSpPr txBox="1">
            <a:spLocks noGrp="1"/>
          </p:cNvSpPr>
          <p:nvPr>
            <p:ph type="dt" idx="10"/>
          </p:nvPr>
        </p:nvSpPr>
        <p:spPr>
          <a:xfrm>
            <a:off x="3884613" y="0"/>
            <a:ext cx="2971800" cy="4587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r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5" name="Google Shape;5;n"/>
          <p:cNvSpPr>
            <a:spLocks noGrp="1" noRot="1" noChangeAspect="1"/>
          </p:cNvSpPr>
          <p:nvPr>
            <p:ph type="sldImg" idx="3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6" name="Google Shape;6;n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7" name="Google Shape;7;n"/>
          <p:cNvSpPr txBox="1">
            <a:spLocks noGrp="1"/>
          </p:cNvSpPr>
          <p:nvPr>
            <p:ph type="ftr" idx="11"/>
          </p:nvPr>
        </p:nvSpPr>
        <p:spPr>
          <a:xfrm>
            <a:off x="0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8" name="Google Shape;8;n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‹#›</a:t>
            </a:fld>
            <a:endParaRPr sz="12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40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04" name="Google Shape;1404;p9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1405" name="Google Shape;1405;p9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  <p:extLst>
      <p:ext uri="{BB962C8B-B14F-4D97-AF65-F5344CB8AC3E}">
        <p14:creationId xmlns:p14="http://schemas.microsoft.com/office/powerpoint/2010/main" val="354632886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4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50" name="Google Shape;1450;p10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1451" name="Google Shape;1451;p10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  <p:extLst>
      <p:ext uri="{BB962C8B-B14F-4D97-AF65-F5344CB8AC3E}">
        <p14:creationId xmlns:p14="http://schemas.microsoft.com/office/powerpoint/2010/main" val="396791057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5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0" name="Google Shape;360;p1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361" name="Google Shape;361;p1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3" name="Google Shape;423;p2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</a:pPr>
            <a:endParaRPr/>
          </a:p>
        </p:txBody>
      </p:sp>
      <p:sp>
        <p:nvSpPr>
          <p:cNvPr id="424" name="Google Shape;424;p2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5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2" name="Google Shape;652;p5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</a:pPr>
            <a:endParaRPr/>
          </a:p>
        </p:txBody>
      </p:sp>
      <p:sp>
        <p:nvSpPr>
          <p:cNvPr id="653" name="Google Shape;653;p5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facebook.com/Infomineo/" TargetMode="External"/><Relationship Id="rId3" Type="http://schemas.openxmlformats.org/officeDocument/2006/relationships/image" Target="../media/image7.png"/><Relationship Id="rId7" Type="http://schemas.openxmlformats.org/officeDocument/2006/relationships/image" Target="../media/image10.png"/><Relationship Id="rId2" Type="http://schemas.openxmlformats.org/officeDocument/2006/relationships/hyperlink" Target="https://infomineo.com/" TargetMode="External"/><Relationship Id="rId1" Type="http://schemas.openxmlformats.org/officeDocument/2006/relationships/slideMaster" Target="../slideMasters/slideMaster3.xml"/><Relationship Id="rId6" Type="http://schemas.openxmlformats.org/officeDocument/2006/relationships/hyperlink" Target="https://www.linkedin.com/company-beta/2416143/admin/updates/" TargetMode="External"/><Relationship Id="rId5" Type="http://schemas.openxmlformats.org/officeDocument/2006/relationships/image" Target="../media/image9.png"/><Relationship Id="rId4" Type="http://schemas.openxmlformats.org/officeDocument/2006/relationships/hyperlink" Target="https://infomineo.com/insights/blog/" TargetMode="External"/><Relationship Id="rId9" Type="http://schemas.openxmlformats.org/officeDocument/2006/relationships/image" Target="../media/image11.png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Google Shape;16;p7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7" name="Google Shape;17;p7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8" name="Google Shape;18;p7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Vertical Text" type="vertTx">
  <p:cSld name="VERTICAL_TEXT">
    <p:spTree>
      <p:nvGrpSpPr>
        <p:cNvPr id="1" name="Shape 7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" name="Google Shape;73;p19"/>
          <p:cNvSpPr txBox="1"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4" name="Google Shape;74;p19"/>
          <p:cNvSpPr txBox="1">
            <a:spLocks noGrp="1"/>
          </p:cNvSpPr>
          <p:nvPr>
            <p:ph type="body" idx="1"/>
          </p:nvPr>
        </p:nvSpPr>
        <p:spPr>
          <a:xfrm rot="5400000">
            <a:off x="3920331" y="-1256506"/>
            <a:ext cx="4351338" cy="105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5" name="Google Shape;75;p19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6" name="Google Shape;76;p19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7" name="Google Shape;77;p19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Vertical Title and Text" type="vertTitleAndTx">
  <p:cSld name="VERTICAL_TITLE_AND_VERTICAL_TEXT">
    <p:spTree>
      <p:nvGrpSpPr>
        <p:cNvPr id="1" name="Shape 7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9" name="Google Shape;79;p20"/>
          <p:cNvSpPr txBox="1">
            <a:spLocks noGrp="1"/>
          </p:cNvSpPr>
          <p:nvPr>
            <p:ph type="title"/>
          </p:nvPr>
        </p:nvSpPr>
        <p:spPr>
          <a:xfrm rot="5400000">
            <a:off x="7133431" y="1956594"/>
            <a:ext cx="5811838" cy="2628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0" name="Google Shape;80;p20"/>
          <p:cNvSpPr txBox="1">
            <a:spLocks noGrp="1"/>
          </p:cNvSpPr>
          <p:nvPr>
            <p:ph type="body" idx="1"/>
          </p:nvPr>
        </p:nvSpPr>
        <p:spPr>
          <a:xfrm rot="5400000">
            <a:off x="1799431" y="-596106"/>
            <a:ext cx="5811838" cy="7734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1" name="Google Shape;81;p20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2" name="Google Shape;82;p20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3" name="Google Shape;83;p20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itle Only">
  <p:cSld name="1_Title Only">
    <p:spTree>
      <p:nvGrpSpPr>
        <p:cNvPr id="1" name="Shape 10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8" name="Google Shape;108;p9"/>
          <p:cNvSpPr txBox="1">
            <a:spLocks noGrp="1"/>
          </p:cNvSpPr>
          <p:nvPr>
            <p:ph type="title"/>
          </p:nvPr>
        </p:nvSpPr>
        <p:spPr>
          <a:xfrm>
            <a:off x="539400" y="560588"/>
            <a:ext cx="11089972" cy="42229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32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9" name="Google Shape;109;p9"/>
          <p:cNvSpPr txBox="1">
            <a:spLocks noGrp="1"/>
          </p:cNvSpPr>
          <p:nvPr>
            <p:ph type="ftr" idx="11"/>
          </p:nvPr>
        </p:nvSpPr>
        <p:spPr>
          <a:xfrm>
            <a:off x="550863" y="6465614"/>
            <a:ext cx="488916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Breaker Slide_1">
  <p:cSld name="Breaker Slide_1">
    <p:bg>
      <p:bgPr>
        <a:solidFill>
          <a:schemeClr val="lt2"/>
        </a:solidFill>
        <a:effectLst/>
      </p:bgPr>
    </p:bg>
    <p:spTree>
      <p:nvGrpSpPr>
        <p:cNvPr id="1" name="Shape 12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0" name="Google Shape;130;p21" descr="A picture containing graphical user interface&#10;&#10;Description automatically generated"/>
          <p:cNvPicPr preferRelativeResize="0"/>
          <p:nvPr/>
        </p:nvPicPr>
        <p:blipFill rotWithShape="1">
          <a:blip r:embed="rId2">
            <a:alphaModFix/>
          </a:blip>
          <a:srcRect l="13834"/>
          <a:stretch/>
        </p:blipFill>
        <p:spPr>
          <a:xfrm>
            <a:off x="0" y="-6562"/>
            <a:ext cx="12192000" cy="6864562"/>
          </a:xfrm>
          <a:prstGeom prst="rect">
            <a:avLst/>
          </a:prstGeom>
          <a:noFill/>
          <a:ln>
            <a:noFill/>
          </a:ln>
        </p:spPr>
      </p:pic>
      <p:sp>
        <p:nvSpPr>
          <p:cNvPr id="131" name="Google Shape;131;p21"/>
          <p:cNvSpPr/>
          <p:nvPr/>
        </p:nvSpPr>
        <p:spPr>
          <a:xfrm>
            <a:off x="0" y="3853542"/>
            <a:ext cx="6240463" cy="2261507"/>
          </a:xfrm>
          <a:prstGeom prst="rect">
            <a:avLst/>
          </a:prstGeom>
          <a:gradFill>
            <a:gsLst>
              <a:gs pos="0">
                <a:srgbClr val="062379">
                  <a:alpha val="80000"/>
                </a:srgbClr>
              </a:gs>
              <a:gs pos="55000">
                <a:srgbClr val="385ED2">
                  <a:alpha val="80000"/>
                </a:srgbClr>
              </a:gs>
              <a:gs pos="76000">
                <a:srgbClr val="4873F5">
                  <a:alpha val="80000"/>
                </a:srgbClr>
              </a:gs>
              <a:gs pos="100000">
                <a:srgbClr val="43E1D3">
                  <a:alpha val="80000"/>
                </a:srgbClr>
              </a:gs>
            </a:gsLst>
            <a:lin ang="300000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2" name="Google Shape;132;p21"/>
          <p:cNvSpPr txBox="1">
            <a:spLocks noGrp="1"/>
          </p:cNvSpPr>
          <p:nvPr>
            <p:ph type="title"/>
          </p:nvPr>
        </p:nvSpPr>
        <p:spPr>
          <a:xfrm>
            <a:off x="589046" y="4199465"/>
            <a:ext cx="5400674" cy="1569660"/>
          </a:xfrm>
          <a:prstGeom prst="rect">
            <a:avLst/>
          </a:prstGeom>
          <a:noFill/>
          <a:ln>
            <a:noFill/>
          </a:ln>
          <a:effectLst>
            <a:outerShdw blurRad="190500" algn="tl" rotWithShape="0">
              <a:srgbClr val="000000">
                <a:alpha val="27450"/>
              </a:srgbClr>
            </a:outerShdw>
          </a:effectLst>
        </p:spPr>
        <p:txBody>
          <a:bodyPr spcFirstLastPara="1" wrap="square" lIns="0" tIns="0" rIns="0" bIns="0" anchor="ctr" anchorCtr="0">
            <a:sp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6000"/>
              <a:buFont typeface="Franklin Gothic"/>
              <a:buNone/>
              <a:defRPr sz="6000">
                <a:solidFill>
                  <a:schemeClr val="lt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33" name="Google Shape;133;p21"/>
          <p:cNvGrpSpPr/>
          <p:nvPr/>
        </p:nvGrpSpPr>
        <p:grpSpPr>
          <a:xfrm>
            <a:off x="11998459" y="6162188"/>
            <a:ext cx="68500" cy="441925"/>
            <a:chOff x="11998459" y="6162188"/>
            <a:chExt cx="68500" cy="441925"/>
          </a:xfrm>
        </p:grpSpPr>
        <p:sp>
          <p:nvSpPr>
            <p:cNvPr id="134" name="Google Shape;134;p21"/>
            <p:cNvSpPr/>
            <p:nvPr/>
          </p:nvSpPr>
          <p:spPr>
            <a:xfrm rot="-5400000">
              <a:off x="12063068" y="6476346"/>
              <a:ext cx="17" cy="1717"/>
            </a:xfrm>
            <a:custGeom>
              <a:avLst/>
              <a:gdLst/>
              <a:ahLst/>
              <a:cxnLst/>
              <a:rect l="l" t="t" r="r" b="b"/>
              <a:pathLst>
                <a:path w="17" h="1717" extrusionOk="0">
                  <a:moveTo>
                    <a:pt x="0" y="0"/>
                  </a:moveTo>
                  <a:lnTo>
                    <a:pt x="17" y="0"/>
                  </a:lnTo>
                  <a:lnTo>
                    <a:pt x="17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5" name="Google Shape;135;p21"/>
            <p:cNvSpPr/>
            <p:nvPr/>
          </p:nvSpPr>
          <p:spPr>
            <a:xfrm rot="-5400000">
              <a:off x="12023737" y="6455896"/>
              <a:ext cx="453" cy="271"/>
            </a:xfrm>
            <a:custGeom>
              <a:avLst/>
              <a:gdLst/>
              <a:ahLst/>
              <a:cxnLst/>
              <a:rect l="l" t="t" r="r" b="b"/>
              <a:pathLst>
                <a:path w="453" h="271" extrusionOk="0">
                  <a:moveTo>
                    <a:pt x="0" y="0"/>
                  </a:moveTo>
                  <a:cubicBezTo>
                    <a:pt x="258" y="172"/>
                    <a:pt x="498" y="344"/>
                    <a:pt x="447" y="240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6" name="Google Shape;136;p21"/>
            <p:cNvSpPr/>
            <p:nvPr/>
          </p:nvSpPr>
          <p:spPr>
            <a:xfrm rot="-5400000">
              <a:off x="12023907" y="6477766"/>
              <a:ext cx="15" cy="76"/>
            </a:xfrm>
            <a:custGeom>
              <a:avLst/>
              <a:gdLst/>
              <a:ahLst/>
              <a:cxnLst/>
              <a:rect l="l" t="t" r="r" b="b"/>
              <a:pathLst>
                <a:path w="15" h="76" extrusionOk="0">
                  <a:moveTo>
                    <a:pt x="15" y="38"/>
                  </a:moveTo>
                  <a:cubicBezTo>
                    <a:pt x="15" y="38"/>
                    <a:pt x="15" y="-48"/>
                    <a:pt x="15" y="38"/>
                  </a:cubicBezTo>
                  <a:cubicBezTo>
                    <a:pt x="15" y="124"/>
                    <a:pt x="-19" y="38"/>
                    <a:pt x="15" y="3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7" name="Google Shape;137;p21"/>
            <p:cNvSpPr/>
            <p:nvPr/>
          </p:nvSpPr>
          <p:spPr>
            <a:xfrm rot="-5400000">
              <a:off x="12021636" y="6473651"/>
              <a:ext cx="261" cy="103"/>
            </a:xfrm>
            <a:custGeom>
              <a:avLst/>
              <a:gdLst/>
              <a:ahLst/>
              <a:cxnLst/>
              <a:rect l="l" t="t" r="r" b="b"/>
              <a:pathLst>
                <a:path w="261" h="103" extrusionOk="0">
                  <a:moveTo>
                    <a:pt x="262" y="0"/>
                  </a:moveTo>
                  <a:lnTo>
                    <a:pt x="56" y="103"/>
                  </a:lnTo>
                  <a:cubicBezTo>
                    <a:pt x="176" y="103"/>
                    <a:pt x="-116" y="103"/>
                    <a:pt x="56" y="103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8" name="Google Shape;138;p21"/>
            <p:cNvSpPr/>
            <p:nvPr/>
          </p:nvSpPr>
          <p:spPr>
            <a:xfrm rot="-5400000">
              <a:off x="12015635" y="6442208"/>
              <a:ext cx="51323" cy="51323"/>
            </a:xfrm>
            <a:custGeom>
              <a:avLst/>
              <a:gdLst/>
              <a:ahLst/>
              <a:cxnLst/>
              <a:rect l="l" t="t" r="r" b="b"/>
              <a:pathLst>
                <a:path w="51323" h="51323" extrusionOk="0">
                  <a:moveTo>
                    <a:pt x="25662" y="0"/>
                  </a:moveTo>
                  <a:cubicBezTo>
                    <a:pt x="11489" y="0"/>
                    <a:pt x="0" y="11489"/>
                    <a:pt x="0" y="25662"/>
                  </a:cubicBezTo>
                  <a:cubicBezTo>
                    <a:pt x="0" y="39834"/>
                    <a:pt x="11489" y="51323"/>
                    <a:pt x="25662" y="51323"/>
                  </a:cubicBezTo>
                  <a:cubicBezTo>
                    <a:pt x="39835" y="51323"/>
                    <a:pt x="51324" y="39834"/>
                    <a:pt x="51324" y="25662"/>
                  </a:cubicBezTo>
                  <a:cubicBezTo>
                    <a:pt x="51324" y="25645"/>
                    <a:pt x="51324" y="25627"/>
                    <a:pt x="51324" y="25610"/>
                  </a:cubicBezTo>
                  <a:cubicBezTo>
                    <a:pt x="51314" y="11457"/>
                    <a:pt x="39833" y="-9"/>
                    <a:pt x="25679" y="0"/>
                  </a:cubicBezTo>
                  <a:cubicBezTo>
                    <a:pt x="25673" y="0"/>
                    <a:pt x="25667" y="0"/>
                    <a:pt x="25662" y="0"/>
                  </a:cubicBezTo>
                  <a:close/>
                  <a:moveTo>
                    <a:pt x="26967" y="15648"/>
                  </a:moveTo>
                  <a:cubicBezTo>
                    <a:pt x="26864" y="15648"/>
                    <a:pt x="26967" y="15785"/>
                    <a:pt x="26967" y="15837"/>
                  </a:cubicBezTo>
                  <a:cubicBezTo>
                    <a:pt x="26894" y="15820"/>
                    <a:pt x="26817" y="15820"/>
                    <a:pt x="26744" y="15837"/>
                  </a:cubicBezTo>
                  <a:cubicBezTo>
                    <a:pt x="26899" y="15837"/>
                    <a:pt x="27139" y="16043"/>
                    <a:pt x="26933" y="16163"/>
                  </a:cubicBezTo>
                  <a:cubicBezTo>
                    <a:pt x="26727" y="16283"/>
                    <a:pt x="27019" y="16163"/>
                    <a:pt x="27036" y="16163"/>
                  </a:cubicBezTo>
                  <a:cubicBezTo>
                    <a:pt x="27173" y="15854"/>
                    <a:pt x="27586" y="16283"/>
                    <a:pt x="27294" y="16489"/>
                  </a:cubicBezTo>
                  <a:lnTo>
                    <a:pt x="27294" y="16489"/>
                  </a:lnTo>
                  <a:cubicBezTo>
                    <a:pt x="27294" y="16489"/>
                    <a:pt x="27294" y="16489"/>
                    <a:pt x="27294" y="16489"/>
                  </a:cubicBezTo>
                  <a:lnTo>
                    <a:pt x="27294" y="16489"/>
                  </a:lnTo>
                  <a:cubicBezTo>
                    <a:pt x="27294" y="16489"/>
                    <a:pt x="27191" y="16489"/>
                    <a:pt x="27156" y="16489"/>
                  </a:cubicBezTo>
                  <a:cubicBezTo>
                    <a:pt x="27122" y="16489"/>
                    <a:pt x="27156" y="16489"/>
                    <a:pt x="27156" y="16593"/>
                  </a:cubicBezTo>
                  <a:cubicBezTo>
                    <a:pt x="27156" y="16696"/>
                    <a:pt x="27276" y="16593"/>
                    <a:pt x="27156" y="16593"/>
                  </a:cubicBezTo>
                  <a:cubicBezTo>
                    <a:pt x="27036" y="16593"/>
                    <a:pt x="27294" y="16593"/>
                    <a:pt x="27379" y="16593"/>
                  </a:cubicBezTo>
                  <a:cubicBezTo>
                    <a:pt x="27465" y="16593"/>
                    <a:pt x="27276" y="16713"/>
                    <a:pt x="27276" y="16799"/>
                  </a:cubicBezTo>
                  <a:cubicBezTo>
                    <a:pt x="27276" y="16885"/>
                    <a:pt x="26795" y="16936"/>
                    <a:pt x="26744" y="16799"/>
                  </a:cubicBezTo>
                  <a:cubicBezTo>
                    <a:pt x="26692" y="16661"/>
                    <a:pt x="26297" y="16799"/>
                    <a:pt x="26074" y="16902"/>
                  </a:cubicBezTo>
                  <a:cubicBezTo>
                    <a:pt x="25851" y="17005"/>
                    <a:pt x="26074" y="17125"/>
                    <a:pt x="25868" y="16988"/>
                  </a:cubicBezTo>
                  <a:cubicBezTo>
                    <a:pt x="25662" y="16850"/>
                    <a:pt x="25610" y="16988"/>
                    <a:pt x="25559" y="17142"/>
                  </a:cubicBezTo>
                  <a:cubicBezTo>
                    <a:pt x="25507" y="17297"/>
                    <a:pt x="25559" y="17142"/>
                    <a:pt x="25404" y="17142"/>
                  </a:cubicBezTo>
                  <a:cubicBezTo>
                    <a:pt x="25553" y="17029"/>
                    <a:pt x="25690" y="16902"/>
                    <a:pt x="25816" y="16764"/>
                  </a:cubicBezTo>
                  <a:cubicBezTo>
                    <a:pt x="25816" y="16593"/>
                    <a:pt x="26057" y="16764"/>
                    <a:pt x="26194" y="16764"/>
                  </a:cubicBezTo>
                  <a:cubicBezTo>
                    <a:pt x="26332" y="16764"/>
                    <a:pt x="26297" y="16610"/>
                    <a:pt x="26349" y="16541"/>
                  </a:cubicBezTo>
                  <a:cubicBezTo>
                    <a:pt x="26400" y="16472"/>
                    <a:pt x="26091" y="16764"/>
                    <a:pt x="26005" y="16627"/>
                  </a:cubicBezTo>
                  <a:cubicBezTo>
                    <a:pt x="25919" y="16489"/>
                    <a:pt x="25748" y="16627"/>
                    <a:pt x="25902" y="16627"/>
                  </a:cubicBezTo>
                  <a:cubicBezTo>
                    <a:pt x="26057" y="16627"/>
                    <a:pt x="25765" y="16627"/>
                    <a:pt x="25662" y="16627"/>
                  </a:cubicBezTo>
                  <a:lnTo>
                    <a:pt x="25662" y="16627"/>
                  </a:lnTo>
                  <a:cubicBezTo>
                    <a:pt x="25662" y="16627"/>
                    <a:pt x="25662" y="16627"/>
                    <a:pt x="25662" y="16627"/>
                  </a:cubicBezTo>
                  <a:cubicBezTo>
                    <a:pt x="25919" y="16541"/>
                    <a:pt x="26040" y="16472"/>
                    <a:pt x="26005" y="16215"/>
                  </a:cubicBezTo>
                  <a:lnTo>
                    <a:pt x="25834" y="16215"/>
                  </a:lnTo>
                  <a:cubicBezTo>
                    <a:pt x="25954" y="16094"/>
                    <a:pt x="26126" y="15940"/>
                    <a:pt x="26297" y="16060"/>
                  </a:cubicBezTo>
                  <a:cubicBezTo>
                    <a:pt x="26160" y="15888"/>
                    <a:pt x="26297" y="16060"/>
                    <a:pt x="26297" y="16060"/>
                  </a:cubicBezTo>
                  <a:cubicBezTo>
                    <a:pt x="26297" y="16060"/>
                    <a:pt x="26194" y="15837"/>
                    <a:pt x="26297" y="15785"/>
                  </a:cubicBezTo>
                  <a:cubicBezTo>
                    <a:pt x="26400" y="15734"/>
                    <a:pt x="26297" y="15648"/>
                    <a:pt x="26194" y="15785"/>
                  </a:cubicBezTo>
                  <a:lnTo>
                    <a:pt x="26194" y="15785"/>
                  </a:lnTo>
                  <a:cubicBezTo>
                    <a:pt x="26057" y="15785"/>
                    <a:pt x="26194" y="15476"/>
                    <a:pt x="26194" y="15493"/>
                  </a:cubicBezTo>
                  <a:cubicBezTo>
                    <a:pt x="26023" y="15493"/>
                    <a:pt x="25988" y="15613"/>
                    <a:pt x="25834" y="15493"/>
                  </a:cubicBezTo>
                  <a:cubicBezTo>
                    <a:pt x="25679" y="15373"/>
                    <a:pt x="25834" y="15493"/>
                    <a:pt x="25834" y="15596"/>
                  </a:cubicBezTo>
                  <a:cubicBezTo>
                    <a:pt x="25834" y="15699"/>
                    <a:pt x="25662" y="15459"/>
                    <a:pt x="25713" y="15596"/>
                  </a:cubicBezTo>
                  <a:cubicBezTo>
                    <a:pt x="25765" y="15734"/>
                    <a:pt x="25713" y="15493"/>
                    <a:pt x="25713" y="15459"/>
                  </a:cubicBezTo>
                  <a:lnTo>
                    <a:pt x="25713" y="15459"/>
                  </a:lnTo>
                  <a:cubicBezTo>
                    <a:pt x="25713" y="15459"/>
                    <a:pt x="25713" y="15287"/>
                    <a:pt x="25816" y="15236"/>
                  </a:cubicBezTo>
                  <a:cubicBezTo>
                    <a:pt x="25919" y="15184"/>
                    <a:pt x="25713" y="15029"/>
                    <a:pt x="25816" y="15064"/>
                  </a:cubicBezTo>
                  <a:cubicBezTo>
                    <a:pt x="25919" y="15098"/>
                    <a:pt x="25816" y="15064"/>
                    <a:pt x="25816" y="14961"/>
                  </a:cubicBezTo>
                  <a:cubicBezTo>
                    <a:pt x="25816" y="14858"/>
                    <a:pt x="25816" y="15047"/>
                    <a:pt x="25816" y="15081"/>
                  </a:cubicBezTo>
                  <a:lnTo>
                    <a:pt x="25816" y="15081"/>
                  </a:lnTo>
                  <a:cubicBezTo>
                    <a:pt x="25816" y="15081"/>
                    <a:pt x="25816" y="15081"/>
                    <a:pt x="25816" y="15081"/>
                  </a:cubicBezTo>
                  <a:cubicBezTo>
                    <a:pt x="25816" y="15081"/>
                    <a:pt x="25816" y="15081"/>
                    <a:pt x="25816" y="15081"/>
                  </a:cubicBezTo>
                  <a:cubicBezTo>
                    <a:pt x="25812" y="15173"/>
                    <a:pt x="25812" y="15264"/>
                    <a:pt x="25816" y="15356"/>
                  </a:cubicBezTo>
                  <a:cubicBezTo>
                    <a:pt x="25713" y="15356"/>
                    <a:pt x="25816" y="15218"/>
                    <a:pt x="25816" y="15167"/>
                  </a:cubicBezTo>
                  <a:cubicBezTo>
                    <a:pt x="25816" y="15115"/>
                    <a:pt x="25816" y="14858"/>
                    <a:pt x="25919" y="14823"/>
                  </a:cubicBezTo>
                  <a:cubicBezTo>
                    <a:pt x="26023" y="14789"/>
                    <a:pt x="25919" y="14823"/>
                    <a:pt x="25919" y="14823"/>
                  </a:cubicBezTo>
                  <a:cubicBezTo>
                    <a:pt x="25919" y="14823"/>
                    <a:pt x="25799" y="14978"/>
                    <a:pt x="25731" y="14823"/>
                  </a:cubicBezTo>
                  <a:cubicBezTo>
                    <a:pt x="25662" y="14669"/>
                    <a:pt x="25731" y="14823"/>
                    <a:pt x="25731" y="14823"/>
                  </a:cubicBezTo>
                  <a:cubicBezTo>
                    <a:pt x="25731" y="14823"/>
                    <a:pt x="25731" y="14686"/>
                    <a:pt x="25868" y="14737"/>
                  </a:cubicBezTo>
                  <a:cubicBezTo>
                    <a:pt x="26005" y="14789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lnTo>
                    <a:pt x="25868" y="14737"/>
                  </a:lnTo>
                  <a:lnTo>
                    <a:pt x="25868" y="14652"/>
                  </a:lnTo>
                  <a:cubicBezTo>
                    <a:pt x="25868" y="14652"/>
                    <a:pt x="25868" y="14652"/>
                    <a:pt x="25868" y="14652"/>
                  </a:cubicBezTo>
                  <a:cubicBezTo>
                    <a:pt x="25868" y="14652"/>
                    <a:pt x="25868" y="14566"/>
                    <a:pt x="25868" y="14514"/>
                  </a:cubicBezTo>
                  <a:lnTo>
                    <a:pt x="25868" y="14514"/>
                  </a:lnTo>
                  <a:cubicBezTo>
                    <a:pt x="25868" y="14514"/>
                    <a:pt x="25868" y="14514"/>
                    <a:pt x="25868" y="14514"/>
                  </a:cubicBezTo>
                  <a:cubicBezTo>
                    <a:pt x="25868" y="14514"/>
                    <a:pt x="25868" y="14514"/>
                    <a:pt x="25971" y="14514"/>
                  </a:cubicBezTo>
                  <a:cubicBezTo>
                    <a:pt x="25976" y="14486"/>
                    <a:pt x="25976" y="14457"/>
                    <a:pt x="25971" y="14428"/>
                  </a:cubicBezTo>
                  <a:cubicBezTo>
                    <a:pt x="25971" y="14428"/>
                    <a:pt x="26091" y="14085"/>
                    <a:pt x="26126" y="14291"/>
                  </a:cubicBezTo>
                  <a:cubicBezTo>
                    <a:pt x="26160" y="14497"/>
                    <a:pt x="26126" y="14291"/>
                    <a:pt x="26126" y="14291"/>
                  </a:cubicBezTo>
                  <a:cubicBezTo>
                    <a:pt x="26538" y="14136"/>
                    <a:pt x="26435" y="14291"/>
                    <a:pt x="26126" y="14531"/>
                  </a:cubicBezTo>
                  <a:lnTo>
                    <a:pt x="26126" y="14531"/>
                  </a:lnTo>
                  <a:cubicBezTo>
                    <a:pt x="25902" y="14737"/>
                    <a:pt x="26366" y="14531"/>
                    <a:pt x="26486" y="14531"/>
                  </a:cubicBezTo>
                  <a:cubicBezTo>
                    <a:pt x="26607" y="14531"/>
                    <a:pt x="26486" y="15029"/>
                    <a:pt x="26263" y="14995"/>
                  </a:cubicBezTo>
                  <a:cubicBezTo>
                    <a:pt x="26040" y="14961"/>
                    <a:pt x="26263" y="14995"/>
                    <a:pt x="26263" y="14995"/>
                  </a:cubicBezTo>
                  <a:cubicBezTo>
                    <a:pt x="26263" y="14995"/>
                    <a:pt x="26108" y="15133"/>
                    <a:pt x="26005" y="14995"/>
                  </a:cubicBezTo>
                  <a:cubicBezTo>
                    <a:pt x="26064" y="15057"/>
                    <a:pt x="26162" y="15059"/>
                    <a:pt x="26224" y="15000"/>
                  </a:cubicBezTo>
                  <a:cubicBezTo>
                    <a:pt x="26226" y="14998"/>
                    <a:pt x="26227" y="14997"/>
                    <a:pt x="26229" y="14995"/>
                  </a:cubicBezTo>
                  <a:cubicBezTo>
                    <a:pt x="26486" y="15098"/>
                    <a:pt x="26503" y="15373"/>
                    <a:pt x="26589" y="15579"/>
                  </a:cubicBezTo>
                  <a:cubicBezTo>
                    <a:pt x="26675" y="15785"/>
                    <a:pt x="26830" y="15545"/>
                    <a:pt x="26967" y="15613"/>
                  </a:cubicBezTo>
                  <a:close/>
                  <a:moveTo>
                    <a:pt x="18138" y="47476"/>
                  </a:moveTo>
                  <a:lnTo>
                    <a:pt x="18138" y="47476"/>
                  </a:lnTo>
                  <a:lnTo>
                    <a:pt x="18138" y="47476"/>
                  </a:lnTo>
                  <a:lnTo>
                    <a:pt x="18138" y="47476"/>
                  </a:lnTo>
                  <a:lnTo>
                    <a:pt x="18224" y="47476"/>
                  </a:lnTo>
                  <a:lnTo>
                    <a:pt x="18224" y="47476"/>
                  </a:lnTo>
                  <a:lnTo>
                    <a:pt x="17984" y="47338"/>
                  </a:lnTo>
                  <a:lnTo>
                    <a:pt x="17984" y="47338"/>
                  </a:lnTo>
                  <a:lnTo>
                    <a:pt x="17984" y="47338"/>
                  </a:lnTo>
                  <a:lnTo>
                    <a:pt x="18070" y="47338"/>
                  </a:lnTo>
                  <a:lnTo>
                    <a:pt x="18070" y="47338"/>
                  </a:lnTo>
                  <a:lnTo>
                    <a:pt x="18070" y="47338"/>
                  </a:lnTo>
                  <a:lnTo>
                    <a:pt x="17795" y="47218"/>
                  </a:lnTo>
                  <a:lnTo>
                    <a:pt x="17795" y="47218"/>
                  </a:lnTo>
                  <a:cubicBezTo>
                    <a:pt x="17795" y="47218"/>
                    <a:pt x="17795" y="47218"/>
                    <a:pt x="17795" y="47218"/>
                  </a:cubicBezTo>
                  <a:cubicBezTo>
                    <a:pt x="17762" y="47203"/>
                    <a:pt x="17725" y="47203"/>
                    <a:pt x="17692" y="47218"/>
                  </a:cubicBezTo>
                  <a:lnTo>
                    <a:pt x="17692" y="47218"/>
                  </a:lnTo>
                  <a:lnTo>
                    <a:pt x="17692" y="47218"/>
                  </a:lnTo>
                  <a:lnTo>
                    <a:pt x="17692" y="47218"/>
                  </a:lnTo>
                  <a:lnTo>
                    <a:pt x="17864" y="47218"/>
                  </a:lnTo>
                  <a:lnTo>
                    <a:pt x="17658" y="47218"/>
                  </a:lnTo>
                  <a:lnTo>
                    <a:pt x="17658" y="47218"/>
                  </a:lnTo>
                  <a:lnTo>
                    <a:pt x="17417" y="47115"/>
                  </a:lnTo>
                  <a:lnTo>
                    <a:pt x="17417" y="47115"/>
                  </a:lnTo>
                  <a:lnTo>
                    <a:pt x="17417" y="47115"/>
                  </a:lnTo>
                  <a:lnTo>
                    <a:pt x="17280" y="47115"/>
                  </a:lnTo>
                  <a:lnTo>
                    <a:pt x="17469" y="47218"/>
                  </a:lnTo>
                  <a:lnTo>
                    <a:pt x="17194" y="47081"/>
                  </a:lnTo>
                  <a:lnTo>
                    <a:pt x="17194" y="47081"/>
                  </a:lnTo>
                  <a:lnTo>
                    <a:pt x="17366" y="47081"/>
                  </a:lnTo>
                  <a:lnTo>
                    <a:pt x="17228" y="47081"/>
                  </a:lnTo>
                  <a:lnTo>
                    <a:pt x="17366" y="47081"/>
                  </a:lnTo>
                  <a:lnTo>
                    <a:pt x="17108" y="46961"/>
                  </a:lnTo>
                  <a:lnTo>
                    <a:pt x="17108" y="46961"/>
                  </a:lnTo>
                  <a:lnTo>
                    <a:pt x="17005" y="46961"/>
                  </a:lnTo>
                  <a:lnTo>
                    <a:pt x="17005" y="46961"/>
                  </a:lnTo>
                  <a:lnTo>
                    <a:pt x="16782" y="46858"/>
                  </a:lnTo>
                  <a:lnTo>
                    <a:pt x="16782" y="46858"/>
                  </a:lnTo>
                  <a:lnTo>
                    <a:pt x="16696" y="46858"/>
                  </a:lnTo>
                  <a:lnTo>
                    <a:pt x="16696" y="46858"/>
                  </a:lnTo>
                  <a:cubicBezTo>
                    <a:pt x="16557" y="46803"/>
                    <a:pt x="16425" y="46733"/>
                    <a:pt x="16301" y="46651"/>
                  </a:cubicBezTo>
                  <a:lnTo>
                    <a:pt x="16301" y="46651"/>
                  </a:lnTo>
                  <a:lnTo>
                    <a:pt x="16129" y="46548"/>
                  </a:lnTo>
                  <a:lnTo>
                    <a:pt x="16283" y="46651"/>
                  </a:lnTo>
                  <a:lnTo>
                    <a:pt x="15940" y="46462"/>
                  </a:lnTo>
                  <a:lnTo>
                    <a:pt x="15940" y="46462"/>
                  </a:lnTo>
                  <a:lnTo>
                    <a:pt x="15837" y="46462"/>
                  </a:lnTo>
                  <a:lnTo>
                    <a:pt x="15837" y="46462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510" y="46274"/>
                  </a:lnTo>
                  <a:lnTo>
                    <a:pt x="15510" y="46274"/>
                  </a:lnTo>
                  <a:lnTo>
                    <a:pt x="15339" y="46153"/>
                  </a:lnTo>
                  <a:lnTo>
                    <a:pt x="15339" y="46153"/>
                  </a:lnTo>
                  <a:lnTo>
                    <a:pt x="15201" y="46153"/>
                  </a:lnTo>
                  <a:lnTo>
                    <a:pt x="15201" y="46153"/>
                  </a:lnTo>
                  <a:cubicBezTo>
                    <a:pt x="15162" y="46164"/>
                    <a:pt x="15120" y="46164"/>
                    <a:pt x="15081" y="46153"/>
                  </a:cubicBezTo>
                  <a:lnTo>
                    <a:pt x="15081" y="46153"/>
                  </a:lnTo>
                  <a:lnTo>
                    <a:pt x="15218" y="46239"/>
                  </a:lnTo>
                  <a:lnTo>
                    <a:pt x="15081" y="46153"/>
                  </a:lnTo>
                  <a:lnTo>
                    <a:pt x="15081" y="46153"/>
                  </a:lnTo>
                  <a:lnTo>
                    <a:pt x="14961" y="46153"/>
                  </a:lnTo>
                  <a:lnTo>
                    <a:pt x="14961" y="46153"/>
                  </a:lnTo>
                  <a:lnTo>
                    <a:pt x="14823" y="46067"/>
                  </a:lnTo>
                  <a:cubicBezTo>
                    <a:pt x="14890" y="46095"/>
                    <a:pt x="14953" y="46130"/>
                    <a:pt x="15012" y="46170"/>
                  </a:cubicBezTo>
                  <a:cubicBezTo>
                    <a:pt x="15012" y="46170"/>
                    <a:pt x="15150" y="46274"/>
                    <a:pt x="15184" y="46274"/>
                  </a:cubicBezTo>
                  <a:lnTo>
                    <a:pt x="14720" y="45947"/>
                  </a:lnTo>
                  <a:lnTo>
                    <a:pt x="14720" y="45947"/>
                  </a:lnTo>
                  <a:cubicBezTo>
                    <a:pt x="14446" y="45724"/>
                    <a:pt x="14136" y="45535"/>
                    <a:pt x="13879" y="45312"/>
                  </a:cubicBezTo>
                  <a:lnTo>
                    <a:pt x="13982" y="45312"/>
                  </a:lnTo>
                  <a:lnTo>
                    <a:pt x="13827" y="45191"/>
                  </a:lnTo>
                  <a:lnTo>
                    <a:pt x="13827" y="45191"/>
                  </a:lnTo>
                  <a:cubicBezTo>
                    <a:pt x="13827" y="45191"/>
                    <a:pt x="13827" y="45191"/>
                    <a:pt x="13724" y="45191"/>
                  </a:cubicBezTo>
                  <a:lnTo>
                    <a:pt x="13724" y="45191"/>
                  </a:lnTo>
                  <a:lnTo>
                    <a:pt x="13724" y="45191"/>
                  </a:lnTo>
                  <a:lnTo>
                    <a:pt x="13724" y="45191"/>
                  </a:lnTo>
                  <a:cubicBezTo>
                    <a:pt x="13500" y="45056"/>
                    <a:pt x="13292" y="44895"/>
                    <a:pt x="13106" y="44710"/>
                  </a:cubicBezTo>
                  <a:lnTo>
                    <a:pt x="13106" y="44710"/>
                  </a:lnTo>
                  <a:cubicBezTo>
                    <a:pt x="12865" y="44453"/>
                    <a:pt x="12573" y="44264"/>
                    <a:pt x="12316" y="44023"/>
                  </a:cubicBezTo>
                  <a:cubicBezTo>
                    <a:pt x="12316" y="44023"/>
                    <a:pt x="12316" y="44023"/>
                    <a:pt x="12316" y="44023"/>
                  </a:cubicBezTo>
                  <a:cubicBezTo>
                    <a:pt x="11271" y="42931"/>
                    <a:pt x="10350" y="41727"/>
                    <a:pt x="9567" y="40434"/>
                  </a:cubicBezTo>
                  <a:lnTo>
                    <a:pt x="9567" y="40434"/>
                  </a:lnTo>
                  <a:cubicBezTo>
                    <a:pt x="9215" y="39466"/>
                    <a:pt x="8691" y="38570"/>
                    <a:pt x="8021" y="37788"/>
                  </a:cubicBezTo>
                  <a:lnTo>
                    <a:pt x="8021" y="37788"/>
                  </a:lnTo>
                  <a:cubicBezTo>
                    <a:pt x="6949" y="36560"/>
                    <a:pt x="6200" y="35084"/>
                    <a:pt x="5840" y="33494"/>
                  </a:cubicBezTo>
                  <a:cubicBezTo>
                    <a:pt x="5840" y="33494"/>
                    <a:pt x="5840" y="33494"/>
                    <a:pt x="5840" y="33580"/>
                  </a:cubicBezTo>
                  <a:cubicBezTo>
                    <a:pt x="5850" y="33546"/>
                    <a:pt x="5850" y="33511"/>
                    <a:pt x="5840" y="33477"/>
                  </a:cubicBezTo>
                  <a:cubicBezTo>
                    <a:pt x="5840" y="33477"/>
                    <a:pt x="5840" y="33580"/>
                    <a:pt x="5840" y="33614"/>
                  </a:cubicBezTo>
                  <a:cubicBezTo>
                    <a:pt x="5600" y="33202"/>
                    <a:pt x="5685" y="28461"/>
                    <a:pt x="5222" y="30299"/>
                  </a:cubicBezTo>
                  <a:cubicBezTo>
                    <a:pt x="5222" y="30299"/>
                    <a:pt x="5222" y="30093"/>
                    <a:pt x="5222" y="30042"/>
                  </a:cubicBezTo>
                  <a:cubicBezTo>
                    <a:pt x="5222" y="29990"/>
                    <a:pt x="5222" y="30042"/>
                    <a:pt x="5222" y="30128"/>
                  </a:cubicBezTo>
                  <a:cubicBezTo>
                    <a:pt x="5222" y="30213"/>
                    <a:pt x="5222" y="29887"/>
                    <a:pt x="5067" y="29784"/>
                  </a:cubicBezTo>
                  <a:cubicBezTo>
                    <a:pt x="4913" y="29681"/>
                    <a:pt x="5067" y="29784"/>
                    <a:pt x="5067" y="29784"/>
                  </a:cubicBezTo>
                  <a:lnTo>
                    <a:pt x="5067" y="29784"/>
                  </a:lnTo>
                  <a:cubicBezTo>
                    <a:pt x="5067" y="29784"/>
                    <a:pt x="5067" y="29612"/>
                    <a:pt x="5067" y="29544"/>
                  </a:cubicBezTo>
                  <a:cubicBezTo>
                    <a:pt x="5067" y="29475"/>
                    <a:pt x="5067" y="29664"/>
                    <a:pt x="5067" y="29715"/>
                  </a:cubicBezTo>
                  <a:cubicBezTo>
                    <a:pt x="5067" y="29458"/>
                    <a:pt x="4947" y="29166"/>
                    <a:pt x="4844" y="28908"/>
                  </a:cubicBezTo>
                  <a:cubicBezTo>
                    <a:pt x="4844" y="28994"/>
                    <a:pt x="4844" y="29080"/>
                    <a:pt x="4844" y="29183"/>
                  </a:cubicBezTo>
                  <a:cubicBezTo>
                    <a:pt x="4689" y="28753"/>
                    <a:pt x="4672" y="28290"/>
                    <a:pt x="4552" y="27843"/>
                  </a:cubicBezTo>
                  <a:cubicBezTo>
                    <a:pt x="4552" y="27929"/>
                    <a:pt x="4552" y="27843"/>
                    <a:pt x="4552" y="27740"/>
                  </a:cubicBezTo>
                  <a:cubicBezTo>
                    <a:pt x="4552" y="27637"/>
                    <a:pt x="4552" y="27740"/>
                    <a:pt x="4552" y="27740"/>
                  </a:cubicBezTo>
                  <a:cubicBezTo>
                    <a:pt x="4552" y="27740"/>
                    <a:pt x="4552" y="27740"/>
                    <a:pt x="4552" y="27740"/>
                  </a:cubicBezTo>
                  <a:cubicBezTo>
                    <a:pt x="4552" y="27740"/>
                    <a:pt x="4552" y="27740"/>
                    <a:pt x="4552" y="27740"/>
                  </a:cubicBezTo>
                  <a:cubicBezTo>
                    <a:pt x="4343" y="27287"/>
                    <a:pt x="4226" y="26796"/>
                    <a:pt x="4208" y="26297"/>
                  </a:cubicBezTo>
                  <a:cubicBezTo>
                    <a:pt x="4218" y="26366"/>
                    <a:pt x="4218" y="26435"/>
                    <a:pt x="4208" y="26503"/>
                  </a:cubicBezTo>
                  <a:cubicBezTo>
                    <a:pt x="4218" y="26435"/>
                    <a:pt x="4218" y="26366"/>
                    <a:pt x="4208" y="26297"/>
                  </a:cubicBezTo>
                  <a:lnTo>
                    <a:pt x="4208" y="26297"/>
                  </a:lnTo>
                  <a:cubicBezTo>
                    <a:pt x="4208" y="26297"/>
                    <a:pt x="4208" y="26297"/>
                    <a:pt x="4208" y="26297"/>
                  </a:cubicBezTo>
                  <a:lnTo>
                    <a:pt x="4208" y="26297"/>
                  </a:lnTo>
                  <a:lnTo>
                    <a:pt x="4208" y="26297"/>
                  </a:lnTo>
                  <a:cubicBezTo>
                    <a:pt x="4208" y="26297"/>
                    <a:pt x="4208" y="26297"/>
                    <a:pt x="4208" y="26400"/>
                  </a:cubicBezTo>
                  <a:cubicBezTo>
                    <a:pt x="4208" y="26503"/>
                    <a:pt x="4208" y="26400"/>
                    <a:pt x="4208" y="26400"/>
                  </a:cubicBezTo>
                  <a:lnTo>
                    <a:pt x="4208" y="26400"/>
                  </a:lnTo>
                  <a:lnTo>
                    <a:pt x="4208" y="26400"/>
                  </a:lnTo>
                  <a:cubicBezTo>
                    <a:pt x="4208" y="26314"/>
                    <a:pt x="4208" y="26194"/>
                    <a:pt x="4208" y="26091"/>
                  </a:cubicBezTo>
                  <a:lnTo>
                    <a:pt x="4208" y="26091"/>
                  </a:lnTo>
                  <a:cubicBezTo>
                    <a:pt x="4200" y="26034"/>
                    <a:pt x="4200" y="25976"/>
                    <a:pt x="4208" y="25919"/>
                  </a:cubicBezTo>
                  <a:lnTo>
                    <a:pt x="4208" y="25919"/>
                  </a:lnTo>
                  <a:cubicBezTo>
                    <a:pt x="4191" y="25679"/>
                    <a:pt x="4191" y="25438"/>
                    <a:pt x="4208" y="25198"/>
                  </a:cubicBezTo>
                  <a:lnTo>
                    <a:pt x="4208" y="25198"/>
                  </a:lnTo>
                  <a:cubicBezTo>
                    <a:pt x="4208" y="25198"/>
                    <a:pt x="4208" y="25112"/>
                    <a:pt x="4208" y="25078"/>
                  </a:cubicBezTo>
                  <a:lnTo>
                    <a:pt x="4208" y="25078"/>
                  </a:lnTo>
                  <a:cubicBezTo>
                    <a:pt x="4764" y="15747"/>
                    <a:pt x="10928" y="7687"/>
                    <a:pt x="19787" y="4706"/>
                  </a:cubicBezTo>
                  <a:lnTo>
                    <a:pt x="19787" y="4706"/>
                  </a:lnTo>
                  <a:lnTo>
                    <a:pt x="19994" y="4706"/>
                  </a:lnTo>
                  <a:lnTo>
                    <a:pt x="19994" y="4706"/>
                  </a:lnTo>
                  <a:lnTo>
                    <a:pt x="20217" y="4706"/>
                  </a:lnTo>
                  <a:lnTo>
                    <a:pt x="20062" y="4706"/>
                  </a:lnTo>
                  <a:lnTo>
                    <a:pt x="20337" y="4706"/>
                  </a:lnTo>
                  <a:lnTo>
                    <a:pt x="20234" y="4706"/>
                  </a:lnTo>
                  <a:lnTo>
                    <a:pt x="20234" y="4706"/>
                  </a:lnTo>
                  <a:lnTo>
                    <a:pt x="20423" y="4706"/>
                  </a:lnTo>
                  <a:lnTo>
                    <a:pt x="20423" y="4706"/>
                  </a:lnTo>
                  <a:lnTo>
                    <a:pt x="21711" y="4414"/>
                  </a:lnTo>
                  <a:lnTo>
                    <a:pt x="21711" y="4414"/>
                  </a:lnTo>
                  <a:lnTo>
                    <a:pt x="22038" y="4414"/>
                  </a:lnTo>
                  <a:lnTo>
                    <a:pt x="21814" y="4414"/>
                  </a:lnTo>
                  <a:lnTo>
                    <a:pt x="21814" y="4414"/>
                  </a:lnTo>
                  <a:lnTo>
                    <a:pt x="22415" y="4414"/>
                  </a:lnTo>
                  <a:lnTo>
                    <a:pt x="22415" y="4414"/>
                  </a:lnTo>
                  <a:lnTo>
                    <a:pt x="22106" y="4414"/>
                  </a:lnTo>
                  <a:lnTo>
                    <a:pt x="22398" y="4414"/>
                  </a:lnTo>
                  <a:lnTo>
                    <a:pt x="22398" y="4414"/>
                  </a:lnTo>
                  <a:lnTo>
                    <a:pt x="22690" y="4414"/>
                  </a:lnTo>
                  <a:lnTo>
                    <a:pt x="22587" y="4414"/>
                  </a:lnTo>
                  <a:lnTo>
                    <a:pt x="22484" y="4414"/>
                  </a:lnTo>
                  <a:lnTo>
                    <a:pt x="22725" y="4414"/>
                  </a:lnTo>
                  <a:lnTo>
                    <a:pt x="22347" y="4414"/>
                  </a:lnTo>
                  <a:lnTo>
                    <a:pt x="22244" y="4414"/>
                  </a:lnTo>
                  <a:lnTo>
                    <a:pt x="22055" y="4414"/>
                  </a:lnTo>
                  <a:lnTo>
                    <a:pt x="22415" y="4414"/>
                  </a:lnTo>
                  <a:lnTo>
                    <a:pt x="22020" y="4414"/>
                  </a:lnTo>
                  <a:lnTo>
                    <a:pt x="22020" y="4414"/>
                  </a:lnTo>
                  <a:lnTo>
                    <a:pt x="21608" y="4414"/>
                  </a:lnTo>
                  <a:lnTo>
                    <a:pt x="21608" y="4414"/>
                  </a:lnTo>
                  <a:lnTo>
                    <a:pt x="21213" y="4500"/>
                  </a:lnTo>
                  <a:lnTo>
                    <a:pt x="21385" y="4500"/>
                  </a:lnTo>
                  <a:lnTo>
                    <a:pt x="21385" y="4500"/>
                  </a:lnTo>
                  <a:cubicBezTo>
                    <a:pt x="21251" y="4544"/>
                    <a:pt x="21113" y="4572"/>
                    <a:pt x="20973" y="4586"/>
                  </a:cubicBezTo>
                  <a:lnTo>
                    <a:pt x="21144" y="4586"/>
                  </a:lnTo>
                  <a:lnTo>
                    <a:pt x="20955" y="4586"/>
                  </a:lnTo>
                  <a:lnTo>
                    <a:pt x="20955" y="4586"/>
                  </a:lnTo>
                  <a:lnTo>
                    <a:pt x="20835" y="4586"/>
                  </a:lnTo>
                  <a:lnTo>
                    <a:pt x="20835" y="4586"/>
                  </a:lnTo>
                  <a:lnTo>
                    <a:pt x="20835" y="4586"/>
                  </a:lnTo>
                  <a:cubicBezTo>
                    <a:pt x="20835" y="4586"/>
                    <a:pt x="20835" y="4586"/>
                    <a:pt x="20835" y="4586"/>
                  </a:cubicBezTo>
                  <a:lnTo>
                    <a:pt x="20835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560" y="4586"/>
                  </a:lnTo>
                  <a:lnTo>
                    <a:pt x="20560" y="4586"/>
                  </a:lnTo>
                  <a:lnTo>
                    <a:pt x="20114" y="4706"/>
                  </a:lnTo>
                  <a:lnTo>
                    <a:pt x="20114" y="4706"/>
                  </a:lnTo>
                  <a:lnTo>
                    <a:pt x="19787" y="4827"/>
                  </a:lnTo>
                  <a:lnTo>
                    <a:pt x="19787" y="4827"/>
                  </a:lnTo>
                  <a:lnTo>
                    <a:pt x="19392" y="4947"/>
                  </a:lnTo>
                  <a:lnTo>
                    <a:pt x="19392" y="4947"/>
                  </a:lnTo>
                  <a:lnTo>
                    <a:pt x="19100" y="5153"/>
                  </a:lnTo>
                  <a:lnTo>
                    <a:pt x="19100" y="5153"/>
                  </a:lnTo>
                  <a:lnTo>
                    <a:pt x="18997" y="5153"/>
                  </a:lnTo>
                  <a:lnTo>
                    <a:pt x="18997" y="5153"/>
                  </a:lnTo>
                  <a:lnTo>
                    <a:pt x="18430" y="5359"/>
                  </a:lnTo>
                  <a:lnTo>
                    <a:pt x="18568" y="5359"/>
                  </a:lnTo>
                  <a:lnTo>
                    <a:pt x="18568" y="5359"/>
                  </a:lnTo>
                  <a:cubicBezTo>
                    <a:pt x="18763" y="5286"/>
                    <a:pt x="18964" y="5229"/>
                    <a:pt x="19169" y="5187"/>
                  </a:cubicBezTo>
                  <a:lnTo>
                    <a:pt x="19169" y="5187"/>
                  </a:lnTo>
                  <a:lnTo>
                    <a:pt x="19341" y="5187"/>
                  </a:lnTo>
                  <a:lnTo>
                    <a:pt x="19461" y="5187"/>
                  </a:lnTo>
                  <a:lnTo>
                    <a:pt x="19186" y="5187"/>
                  </a:lnTo>
                  <a:lnTo>
                    <a:pt x="19186" y="5187"/>
                  </a:lnTo>
                  <a:lnTo>
                    <a:pt x="19032" y="5187"/>
                  </a:lnTo>
                  <a:lnTo>
                    <a:pt x="19032" y="5187"/>
                  </a:lnTo>
                  <a:lnTo>
                    <a:pt x="18911" y="5187"/>
                  </a:lnTo>
                  <a:lnTo>
                    <a:pt x="18911" y="5187"/>
                  </a:lnTo>
                  <a:lnTo>
                    <a:pt x="18740" y="5187"/>
                  </a:lnTo>
                  <a:lnTo>
                    <a:pt x="18740" y="5187"/>
                  </a:lnTo>
                  <a:lnTo>
                    <a:pt x="18894" y="5187"/>
                  </a:lnTo>
                  <a:lnTo>
                    <a:pt x="18894" y="5187"/>
                  </a:lnTo>
                  <a:lnTo>
                    <a:pt x="19049" y="5187"/>
                  </a:lnTo>
                  <a:lnTo>
                    <a:pt x="19049" y="5187"/>
                  </a:lnTo>
                  <a:lnTo>
                    <a:pt x="18860" y="5187"/>
                  </a:lnTo>
                  <a:cubicBezTo>
                    <a:pt x="18997" y="5187"/>
                    <a:pt x="19392" y="5067"/>
                    <a:pt x="19032" y="5187"/>
                  </a:cubicBezTo>
                  <a:lnTo>
                    <a:pt x="19186" y="5187"/>
                  </a:lnTo>
                  <a:lnTo>
                    <a:pt x="19289" y="5187"/>
                  </a:lnTo>
                  <a:lnTo>
                    <a:pt x="19650" y="5084"/>
                  </a:lnTo>
                  <a:cubicBezTo>
                    <a:pt x="19252" y="5196"/>
                    <a:pt x="18862" y="5334"/>
                    <a:pt x="18482" y="5497"/>
                  </a:cubicBezTo>
                  <a:lnTo>
                    <a:pt x="18654" y="5497"/>
                  </a:lnTo>
                  <a:lnTo>
                    <a:pt x="18654" y="5497"/>
                  </a:lnTo>
                  <a:cubicBezTo>
                    <a:pt x="18654" y="5497"/>
                    <a:pt x="18860" y="5497"/>
                    <a:pt x="18740" y="5497"/>
                  </a:cubicBezTo>
                  <a:lnTo>
                    <a:pt x="18894" y="5497"/>
                  </a:lnTo>
                  <a:lnTo>
                    <a:pt x="18894" y="5497"/>
                  </a:lnTo>
                  <a:lnTo>
                    <a:pt x="19032" y="5497"/>
                  </a:lnTo>
                  <a:cubicBezTo>
                    <a:pt x="18929" y="5497"/>
                    <a:pt x="18808" y="5497"/>
                    <a:pt x="18722" y="5617"/>
                  </a:cubicBezTo>
                  <a:lnTo>
                    <a:pt x="18722" y="5617"/>
                  </a:lnTo>
                  <a:lnTo>
                    <a:pt x="18585" y="5617"/>
                  </a:lnTo>
                  <a:lnTo>
                    <a:pt x="18585" y="5617"/>
                  </a:lnTo>
                  <a:lnTo>
                    <a:pt x="18413" y="5617"/>
                  </a:lnTo>
                  <a:cubicBezTo>
                    <a:pt x="18505" y="5624"/>
                    <a:pt x="18597" y="5624"/>
                    <a:pt x="18688" y="5617"/>
                  </a:cubicBezTo>
                  <a:cubicBezTo>
                    <a:pt x="18396" y="5771"/>
                    <a:pt x="18035" y="5909"/>
                    <a:pt x="17743" y="6098"/>
                  </a:cubicBezTo>
                  <a:lnTo>
                    <a:pt x="17743" y="6098"/>
                  </a:lnTo>
                  <a:lnTo>
                    <a:pt x="17554" y="6201"/>
                  </a:lnTo>
                  <a:lnTo>
                    <a:pt x="17743" y="6201"/>
                  </a:lnTo>
                  <a:lnTo>
                    <a:pt x="17743" y="6201"/>
                  </a:lnTo>
                  <a:cubicBezTo>
                    <a:pt x="17743" y="6201"/>
                    <a:pt x="17743" y="6201"/>
                    <a:pt x="17743" y="6201"/>
                  </a:cubicBezTo>
                  <a:cubicBezTo>
                    <a:pt x="17557" y="6309"/>
                    <a:pt x="17362" y="6402"/>
                    <a:pt x="17159" y="6476"/>
                  </a:cubicBezTo>
                  <a:cubicBezTo>
                    <a:pt x="17159" y="6476"/>
                    <a:pt x="17159" y="6476"/>
                    <a:pt x="17159" y="6476"/>
                  </a:cubicBezTo>
                  <a:cubicBezTo>
                    <a:pt x="17159" y="6476"/>
                    <a:pt x="17056" y="6476"/>
                    <a:pt x="17039" y="6476"/>
                  </a:cubicBezTo>
                  <a:lnTo>
                    <a:pt x="17039" y="6476"/>
                  </a:lnTo>
                  <a:cubicBezTo>
                    <a:pt x="16976" y="6499"/>
                    <a:pt x="16918" y="6534"/>
                    <a:pt x="16867" y="6579"/>
                  </a:cubicBezTo>
                  <a:lnTo>
                    <a:pt x="16867" y="6579"/>
                  </a:lnTo>
                  <a:cubicBezTo>
                    <a:pt x="16867" y="6579"/>
                    <a:pt x="16627" y="6750"/>
                    <a:pt x="16730" y="6716"/>
                  </a:cubicBezTo>
                  <a:lnTo>
                    <a:pt x="16730" y="6716"/>
                  </a:lnTo>
                  <a:lnTo>
                    <a:pt x="16730" y="6716"/>
                  </a:lnTo>
                  <a:lnTo>
                    <a:pt x="16730" y="6716"/>
                  </a:lnTo>
                  <a:cubicBezTo>
                    <a:pt x="16730" y="6716"/>
                    <a:pt x="16730" y="6716"/>
                    <a:pt x="16730" y="6716"/>
                  </a:cubicBezTo>
                  <a:lnTo>
                    <a:pt x="16885" y="6716"/>
                  </a:lnTo>
                  <a:lnTo>
                    <a:pt x="16627" y="6853"/>
                  </a:lnTo>
                  <a:lnTo>
                    <a:pt x="16627" y="6853"/>
                  </a:lnTo>
                  <a:cubicBezTo>
                    <a:pt x="16627" y="6853"/>
                    <a:pt x="16455" y="6853"/>
                    <a:pt x="16386" y="6991"/>
                  </a:cubicBezTo>
                  <a:cubicBezTo>
                    <a:pt x="16318" y="7128"/>
                    <a:pt x="16507" y="6991"/>
                    <a:pt x="16558" y="6991"/>
                  </a:cubicBezTo>
                  <a:cubicBezTo>
                    <a:pt x="16389" y="7066"/>
                    <a:pt x="16228" y="7158"/>
                    <a:pt x="16077" y="7266"/>
                  </a:cubicBezTo>
                  <a:lnTo>
                    <a:pt x="16077" y="7266"/>
                  </a:lnTo>
                  <a:lnTo>
                    <a:pt x="16077" y="7266"/>
                  </a:lnTo>
                  <a:cubicBezTo>
                    <a:pt x="16317" y="7116"/>
                    <a:pt x="16570" y="6989"/>
                    <a:pt x="16833" y="6888"/>
                  </a:cubicBezTo>
                  <a:lnTo>
                    <a:pt x="16833" y="6888"/>
                  </a:lnTo>
                  <a:cubicBezTo>
                    <a:pt x="16833" y="6888"/>
                    <a:pt x="16833" y="6888"/>
                    <a:pt x="16833" y="6888"/>
                  </a:cubicBezTo>
                  <a:lnTo>
                    <a:pt x="16833" y="6888"/>
                  </a:lnTo>
                  <a:lnTo>
                    <a:pt x="16936" y="6888"/>
                  </a:lnTo>
                  <a:lnTo>
                    <a:pt x="16833" y="6888"/>
                  </a:lnTo>
                  <a:cubicBezTo>
                    <a:pt x="16833" y="6888"/>
                    <a:pt x="16988" y="6785"/>
                    <a:pt x="17056" y="6785"/>
                  </a:cubicBezTo>
                  <a:lnTo>
                    <a:pt x="17056" y="6785"/>
                  </a:lnTo>
                  <a:cubicBezTo>
                    <a:pt x="17056" y="6785"/>
                    <a:pt x="17314" y="6682"/>
                    <a:pt x="17159" y="6785"/>
                  </a:cubicBezTo>
                  <a:lnTo>
                    <a:pt x="17039" y="6785"/>
                  </a:lnTo>
                  <a:cubicBezTo>
                    <a:pt x="17073" y="6775"/>
                    <a:pt x="17109" y="6775"/>
                    <a:pt x="17142" y="6785"/>
                  </a:cubicBezTo>
                  <a:lnTo>
                    <a:pt x="17022" y="6785"/>
                  </a:lnTo>
                  <a:lnTo>
                    <a:pt x="17022" y="6785"/>
                  </a:lnTo>
                  <a:cubicBezTo>
                    <a:pt x="17022" y="6785"/>
                    <a:pt x="17022" y="6785"/>
                    <a:pt x="16885" y="6785"/>
                  </a:cubicBezTo>
                  <a:cubicBezTo>
                    <a:pt x="16747" y="6785"/>
                    <a:pt x="17074" y="6785"/>
                    <a:pt x="17005" y="6785"/>
                  </a:cubicBezTo>
                  <a:cubicBezTo>
                    <a:pt x="17104" y="6745"/>
                    <a:pt x="17215" y="6745"/>
                    <a:pt x="17314" y="6785"/>
                  </a:cubicBezTo>
                  <a:lnTo>
                    <a:pt x="17314" y="6785"/>
                  </a:lnTo>
                  <a:cubicBezTo>
                    <a:pt x="17125" y="6922"/>
                    <a:pt x="16902" y="7025"/>
                    <a:pt x="16696" y="7145"/>
                  </a:cubicBezTo>
                  <a:lnTo>
                    <a:pt x="16696" y="7145"/>
                  </a:lnTo>
                  <a:lnTo>
                    <a:pt x="16696" y="7145"/>
                  </a:lnTo>
                  <a:lnTo>
                    <a:pt x="16696" y="7145"/>
                  </a:lnTo>
                  <a:cubicBezTo>
                    <a:pt x="16696" y="7145"/>
                    <a:pt x="16696" y="7145"/>
                    <a:pt x="16696" y="7145"/>
                  </a:cubicBezTo>
                  <a:lnTo>
                    <a:pt x="16696" y="7145"/>
                  </a:lnTo>
                  <a:lnTo>
                    <a:pt x="16696" y="7145"/>
                  </a:lnTo>
                  <a:lnTo>
                    <a:pt x="16455" y="7300"/>
                  </a:lnTo>
                  <a:lnTo>
                    <a:pt x="16455" y="7300"/>
                  </a:lnTo>
                  <a:cubicBezTo>
                    <a:pt x="16455" y="7300"/>
                    <a:pt x="16455" y="7300"/>
                    <a:pt x="16455" y="7386"/>
                  </a:cubicBezTo>
                  <a:lnTo>
                    <a:pt x="16610" y="7386"/>
                  </a:lnTo>
                  <a:lnTo>
                    <a:pt x="16610" y="7386"/>
                  </a:lnTo>
                  <a:lnTo>
                    <a:pt x="16610" y="7489"/>
                  </a:lnTo>
                  <a:cubicBezTo>
                    <a:pt x="16610" y="7489"/>
                    <a:pt x="16610" y="7489"/>
                    <a:pt x="16610" y="7489"/>
                  </a:cubicBezTo>
                  <a:lnTo>
                    <a:pt x="16610" y="7489"/>
                  </a:lnTo>
                  <a:cubicBezTo>
                    <a:pt x="16953" y="7266"/>
                    <a:pt x="16713" y="7489"/>
                    <a:pt x="16610" y="7592"/>
                  </a:cubicBezTo>
                  <a:cubicBezTo>
                    <a:pt x="16730" y="7592"/>
                    <a:pt x="16833" y="7386"/>
                    <a:pt x="16970" y="7334"/>
                  </a:cubicBezTo>
                  <a:lnTo>
                    <a:pt x="16970" y="7334"/>
                  </a:lnTo>
                  <a:cubicBezTo>
                    <a:pt x="16970" y="7334"/>
                    <a:pt x="17280" y="7145"/>
                    <a:pt x="17108" y="7334"/>
                  </a:cubicBezTo>
                  <a:lnTo>
                    <a:pt x="17245" y="7334"/>
                  </a:lnTo>
                  <a:lnTo>
                    <a:pt x="17142" y="7334"/>
                  </a:lnTo>
                  <a:cubicBezTo>
                    <a:pt x="17142" y="7334"/>
                    <a:pt x="17142" y="7334"/>
                    <a:pt x="17142" y="7334"/>
                  </a:cubicBezTo>
                  <a:cubicBezTo>
                    <a:pt x="17142" y="7334"/>
                    <a:pt x="17022" y="7334"/>
                    <a:pt x="16988" y="7437"/>
                  </a:cubicBezTo>
                  <a:lnTo>
                    <a:pt x="16988" y="7437"/>
                  </a:lnTo>
                  <a:cubicBezTo>
                    <a:pt x="16988" y="7437"/>
                    <a:pt x="16885" y="7437"/>
                    <a:pt x="16867" y="7437"/>
                  </a:cubicBezTo>
                  <a:cubicBezTo>
                    <a:pt x="17211" y="7317"/>
                    <a:pt x="16747" y="7437"/>
                    <a:pt x="16610" y="7575"/>
                  </a:cubicBezTo>
                  <a:lnTo>
                    <a:pt x="16610" y="7575"/>
                  </a:lnTo>
                  <a:lnTo>
                    <a:pt x="16421" y="7678"/>
                  </a:lnTo>
                  <a:lnTo>
                    <a:pt x="16421" y="7678"/>
                  </a:lnTo>
                  <a:lnTo>
                    <a:pt x="16283" y="7678"/>
                  </a:lnTo>
                  <a:cubicBezTo>
                    <a:pt x="16438" y="7678"/>
                    <a:pt x="16283" y="7678"/>
                    <a:pt x="16283" y="7678"/>
                  </a:cubicBezTo>
                  <a:lnTo>
                    <a:pt x="16283" y="7678"/>
                  </a:lnTo>
                  <a:lnTo>
                    <a:pt x="16129" y="7678"/>
                  </a:lnTo>
                  <a:lnTo>
                    <a:pt x="16129" y="7678"/>
                  </a:lnTo>
                  <a:lnTo>
                    <a:pt x="16129" y="7678"/>
                  </a:lnTo>
                  <a:lnTo>
                    <a:pt x="16129" y="7678"/>
                  </a:lnTo>
                  <a:cubicBezTo>
                    <a:pt x="16026" y="7678"/>
                    <a:pt x="15923" y="7833"/>
                    <a:pt x="15820" y="7867"/>
                  </a:cubicBezTo>
                  <a:cubicBezTo>
                    <a:pt x="15717" y="7901"/>
                    <a:pt x="15974" y="7764"/>
                    <a:pt x="16043" y="7747"/>
                  </a:cubicBezTo>
                  <a:cubicBezTo>
                    <a:pt x="16112" y="7729"/>
                    <a:pt x="16043" y="7747"/>
                    <a:pt x="16043" y="7747"/>
                  </a:cubicBezTo>
                  <a:cubicBezTo>
                    <a:pt x="16131" y="7705"/>
                    <a:pt x="16223" y="7670"/>
                    <a:pt x="16318" y="7644"/>
                  </a:cubicBezTo>
                  <a:lnTo>
                    <a:pt x="16198" y="7644"/>
                  </a:lnTo>
                  <a:cubicBezTo>
                    <a:pt x="16386" y="7558"/>
                    <a:pt x="16558" y="7420"/>
                    <a:pt x="16747" y="7352"/>
                  </a:cubicBezTo>
                  <a:lnTo>
                    <a:pt x="16747" y="7352"/>
                  </a:lnTo>
                  <a:lnTo>
                    <a:pt x="16747" y="7352"/>
                  </a:lnTo>
                  <a:cubicBezTo>
                    <a:pt x="16976" y="7288"/>
                    <a:pt x="17195" y="7196"/>
                    <a:pt x="17400" y="7077"/>
                  </a:cubicBezTo>
                  <a:cubicBezTo>
                    <a:pt x="17400" y="7077"/>
                    <a:pt x="17400" y="7077"/>
                    <a:pt x="17262" y="7077"/>
                  </a:cubicBezTo>
                  <a:lnTo>
                    <a:pt x="17262" y="7077"/>
                  </a:lnTo>
                  <a:cubicBezTo>
                    <a:pt x="17366" y="7077"/>
                    <a:pt x="17761" y="6836"/>
                    <a:pt x="17520" y="6991"/>
                  </a:cubicBezTo>
                  <a:cubicBezTo>
                    <a:pt x="17692" y="6991"/>
                    <a:pt x="17692" y="6819"/>
                    <a:pt x="17846" y="6768"/>
                  </a:cubicBezTo>
                  <a:cubicBezTo>
                    <a:pt x="17692" y="6768"/>
                    <a:pt x="17846" y="6768"/>
                    <a:pt x="17846" y="6768"/>
                  </a:cubicBezTo>
                  <a:lnTo>
                    <a:pt x="17846" y="6768"/>
                  </a:lnTo>
                  <a:cubicBezTo>
                    <a:pt x="18036" y="6628"/>
                    <a:pt x="18252" y="6528"/>
                    <a:pt x="18482" y="6476"/>
                  </a:cubicBezTo>
                  <a:lnTo>
                    <a:pt x="18482" y="6476"/>
                  </a:lnTo>
                  <a:cubicBezTo>
                    <a:pt x="18662" y="6364"/>
                    <a:pt x="18859" y="6282"/>
                    <a:pt x="19066" y="6235"/>
                  </a:cubicBezTo>
                  <a:lnTo>
                    <a:pt x="18911" y="6321"/>
                  </a:lnTo>
                  <a:cubicBezTo>
                    <a:pt x="19100" y="6321"/>
                    <a:pt x="19238" y="6149"/>
                    <a:pt x="19427" y="6115"/>
                  </a:cubicBezTo>
                  <a:lnTo>
                    <a:pt x="19238" y="6252"/>
                  </a:lnTo>
                  <a:cubicBezTo>
                    <a:pt x="20286" y="5617"/>
                    <a:pt x="22038" y="4998"/>
                    <a:pt x="20303" y="5909"/>
                  </a:cubicBezTo>
                  <a:cubicBezTo>
                    <a:pt x="20578" y="5823"/>
                    <a:pt x="21230" y="5411"/>
                    <a:pt x="21024" y="5651"/>
                  </a:cubicBezTo>
                  <a:cubicBezTo>
                    <a:pt x="21780" y="5393"/>
                    <a:pt x="20629" y="6012"/>
                    <a:pt x="20303" y="6149"/>
                  </a:cubicBezTo>
                  <a:cubicBezTo>
                    <a:pt x="20698" y="6012"/>
                    <a:pt x="20303" y="6149"/>
                    <a:pt x="20303" y="6149"/>
                  </a:cubicBezTo>
                  <a:cubicBezTo>
                    <a:pt x="20303" y="6149"/>
                    <a:pt x="20560" y="5977"/>
                    <a:pt x="20406" y="6149"/>
                  </a:cubicBezTo>
                  <a:cubicBezTo>
                    <a:pt x="20663" y="5857"/>
                    <a:pt x="20921" y="6149"/>
                    <a:pt x="20492" y="6235"/>
                  </a:cubicBezTo>
                  <a:cubicBezTo>
                    <a:pt x="20448" y="6218"/>
                    <a:pt x="20398" y="6218"/>
                    <a:pt x="20354" y="6235"/>
                  </a:cubicBezTo>
                  <a:cubicBezTo>
                    <a:pt x="20612" y="6235"/>
                    <a:pt x="20251" y="6321"/>
                    <a:pt x="20165" y="6355"/>
                  </a:cubicBezTo>
                  <a:cubicBezTo>
                    <a:pt x="20818" y="6149"/>
                    <a:pt x="19616" y="6647"/>
                    <a:pt x="20337" y="6355"/>
                  </a:cubicBezTo>
                  <a:cubicBezTo>
                    <a:pt x="19427" y="6750"/>
                    <a:pt x="20749" y="6355"/>
                    <a:pt x="19856" y="6716"/>
                  </a:cubicBezTo>
                  <a:cubicBezTo>
                    <a:pt x="19856" y="6819"/>
                    <a:pt x="19856" y="6716"/>
                    <a:pt x="20097" y="6716"/>
                  </a:cubicBezTo>
                  <a:cubicBezTo>
                    <a:pt x="19967" y="6814"/>
                    <a:pt x="19822" y="6889"/>
                    <a:pt x="19667" y="6939"/>
                  </a:cubicBezTo>
                  <a:cubicBezTo>
                    <a:pt x="19564" y="6939"/>
                    <a:pt x="20423" y="6939"/>
                    <a:pt x="19495" y="7145"/>
                  </a:cubicBezTo>
                  <a:cubicBezTo>
                    <a:pt x="19392" y="7145"/>
                    <a:pt x="19959" y="7145"/>
                    <a:pt x="19358" y="7266"/>
                  </a:cubicBezTo>
                  <a:cubicBezTo>
                    <a:pt x="19856" y="7094"/>
                    <a:pt x="19925" y="7266"/>
                    <a:pt x="19358" y="7352"/>
                  </a:cubicBezTo>
                  <a:cubicBezTo>
                    <a:pt x="19581" y="7541"/>
                    <a:pt x="19255" y="7592"/>
                    <a:pt x="19358" y="7523"/>
                  </a:cubicBezTo>
                  <a:cubicBezTo>
                    <a:pt x="19083" y="7523"/>
                    <a:pt x="19358" y="7747"/>
                    <a:pt x="19049" y="7626"/>
                  </a:cubicBezTo>
                  <a:cubicBezTo>
                    <a:pt x="18860" y="7953"/>
                    <a:pt x="19186" y="7764"/>
                    <a:pt x="18860" y="7918"/>
                  </a:cubicBezTo>
                  <a:cubicBezTo>
                    <a:pt x="19118" y="7833"/>
                    <a:pt x="18654" y="8193"/>
                    <a:pt x="18860" y="8039"/>
                  </a:cubicBezTo>
                  <a:cubicBezTo>
                    <a:pt x="18534" y="8365"/>
                    <a:pt x="19152" y="7850"/>
                    <a:pt x="18705" y="8399"/>
                  </a:cubicBezTo>
                  <a:cubicBezTo>
                    <a:pt x="18482" y="8520"/>
                    <a:pt x="19066" y="8399"/>
                    <a:pt x="18551" y="8588"/>
                  </a:cubicBezTo>
                  <a:cubicBezTo>
                    <a:pt x="18929" y="8434"/>
                    <a:pt x="18637" y="8966"/>
                    <a:pt x="18396" y="8829"/>
                  </a:cubicBezTo>
                  <a:cubicBezTo>
                    <a:pt x="18396" y="8966"/>
                    <a:pt x="18242" y="9069"/>
                    <a:pt x="18190" y="8966"/>
                  </a:cubicBezTo>
                  <a:cubicBezTo>
                    <a:pt x="18138" y="8863"/>
                    <a:pt x="18018" y="9155"/>
                    <a:pt x="18190" y="8966"/>
                  </a:cubicBezTo>
                  <a:cubicBezTo>
                    <a:pt x="18362" y="8777"/>
                    <a:pt x="17692" y="9447"/>
                    <a:pt x="17846" y="9155"/>
                  </a:cubicBezTo>
                  <a:cubicBezTo>
                    <a:pt x="17709" y="8966"/>
                    <a:pt x="18173" y="8709"/>
                    <a:pt x="18224" y="8605"/>
                  </a:cubicBezTo>
                  <a:cubicBezTo>
                    <a:pt x="17915" y="8777"/>
                    <a:pt x="18104" y="8605"/>
                    <a:pt x="18224" y="8434"/>
                  </a:cubicBezTo>
                  <a:cubicBezTo>
                    <a:pt x="18345" y="8262"/>
                    <a:pt x="17967" y="8640"/>
                    <a:pt x="18053" y="8434"/>
                  </a:cubicBezTo>
                  <a:cubicBezTo>
                    <a:pt x="17761" y="8709"/>
                    <a:pt x="17589" y="8743"/>
                    <a:pt x="17486" y="9155"/>
                  </a:cubicBezTo>
                  <a:cubicBezTo>
                    <a:pt x="17383" y="9567"/>
                    <a:pt x="16816" y="10065"/>
                    <a:pt x="16747" y="9842"/>
                  </a:cubicBezTo>
                  <a:cubicBezTo>
                    <a:pt x="16678" y="9619"/>
                    <a:pt x="16867" y="9722"/>
                    <a:pt x="16747" y="9396"/>
                  </a:cubicBezTo>
                  <a:cubicBezTo>
                    <a:pt x="16524" y="9791"/>
                    <a:pt x="16524" y="10306"/>
                    <a:pt x="16524" y="10306"/>
                  </a:cubicBezTo>
                  <a:cubicBezTo>
                    <a:pt x="15820" y="10461"/>
                    <a:pt x="16644" y="9104"/>
                    <a:pt x="16799" y="9069"/>
                  </a:cubicBezTo>
                  <a:cubicBezTo>
                    <a:pt x="16524" y="9172"/>
                    <a:pt x="16799" y="9069"/>
                    <a:pt x="16558" y="9069"/>
                  </a:cubicBezTo>
                  <a:cubicBezTo>
                    <a:pt x="16678" y="8897"/>
                    <a:pt x="16386" y="9155"/>
                    <a:pt x="16301" y="9069"/>
                  </a:cubicBezTo>
                  <a:cubicBezTo>
                    <a:pt x="16215" y="8983"/>
                    <a:pt x="17005" y="8382"/>
                    <a:pt x="16850" y="8794"/>
                  </a:cubicBezTo>
                  <a:cubicBezTo>
                    <a:pt x="18310" y="8485"/>
                    <a:pt x="19203" y="7077"/>
                    <a:pt x="19530" y="6733"/>
                  </a:cubicBezTo>
                  <a:cubicBezTo>
                    <a:pt x="19032" y="7145"/>
                    <a:pt x="19169" y="6733"/>
                    <a:pt x="18980" y="6733"/>
                  </a:cubicBezTo>
                  <a:cubicBezTo>
                    <a:pt x="18791" y="6733"/>
                    <a:pt x="19238" y="6579"/>
                    <a:pt x="18980" y="6561"/>
                  </a:cubicBezTo>
                  <a:cubicBezTo>
                    <a:pt x="19203" y="6321"/>
                    <a:pt x="18980" y="6561"/>
                    <a:pt x="18980" y="6373"/>
                  </a:cubicBezTo>
                  <a:lnTo>
                    <a:pt x="19083" y="6373"/>
                  </a:lnTo>
                  <a:lnTo>
                    <a:pt x="18929" y="6458"/>
                  </a:lnTo>
                  <a:cubicBezTo>
                    <a:pt x="18671" y="6579"/>
                    <a:pt x="18430" y="6733"/>
                    <a:pt x="18173" y="6871"/>
                  </a:cubicBezTo>
                  <a:lnTo>
                    <a:pt x="18173" y="6871"/>
                  </a:lnTo>
                  <a:lnTo>
                    <a:pt x="18293" y="6871"/>
                  </a:lnTo>
                  <a:lnTo>
                    <a:pt x="18242" y="6871"/>
                  </a:lnTo>
                  <a:lnTo>
                    <a:pt x="18242" y="6871"/>
                  </a:lnTo>
                  <a:cubicBezTo>
                    <a:pt x="18242" y="6957"/>
                    <a:pt x="17984" y="6871"/>
                    <a:pt x="17898" y="7025"/>
                  </a:cubicBezTo>
                  <a:lnTo>
                    <a:pt x="17898" y="7025"/>
                  </a:lnTo>
                  <a:lnTo>
                    <a:pt x="17898" y="7025"/>
                  </a:lnTo>
                  <a:lnTo>
                    <a:pt x="18001" y="7025"/>
                  </a:lnTo>
                  <a:cubicBezTo>
                    <a:pt x="18001" y="7025"/>
                    <a:pt x="18001" y="7025"/>
                    <a:pt x="18001" y="7025"/>
                  </a:cubicBezTo>
                  <a:lnTo>
                    <a:pt x="18001" y="7025"/>
                  </a:lnTo>
                  <a:cubicBezTo>
                    <a:pt x="18001" y="7025"/>
                    <a:pt x="17881" y="7025"/>
                    <a:pt x="17829" y="7025"/>
                  </a:cubicBezTo>
                  <a:lnTo>
                    <a:pt x="17829" y="7025"/>
                  </a:lnTo>
                  <a:lnTo>
                    <a:pt x="17829" y="7025"/>
                  </a:lnTo>
                  <a:cubicBezTo>
                    <a:pt x="17623" y="7180"/>
                    <a:pt x="17400" y="7300"/>
                    <a:pt x="17177" y="7437"/>
                  </a:cubicBezTo>
                  <a:lnTo>
                    <a:pt x="17434" y="7334"/>
                  </a:lnTo>
                  <a:lnTo>
                    <a:pt x="17434" y="7334"/>
                  </a:lnTo>
                  <a:lnTo>
                    <a:pt x="17864" y="7111"/>
                  </a:lnTo>
                  <a:cubicBezTo>
                    <a:pt x="17702" y="7258"/>
                    <a:pt x="17523" y="7385"/>
                    <a:pt x="17331" y="7489"/>
                  </a:cubicBezTo>
                  <a:lnTo>
                    <a:pt x="17331" y="7489"/>
                  </a:lnTo>
                  <a:cubicBezTo>
                    <a:pt x="17075" y="7607"/>
                    <a:pt x="16843" y="7770"/>
                    <a:pt x="16644" y="7970"/>
                  </a:cubicBezTo>
                  <a:cubicBezTo>
                    <a:pt x="16644" y="7970"/>
                    <a:pt x="16747" y="7884"/>
                    <a:pt x="16799" y="7884"/>
                  </a:cubicBezTo>
                  <a:lnTo>
                    <a:pt x="16799" y="7884"/>
                  </a:lnTo>
                  <a:lnTo>
                    <a:pt x="17675" y="7437"/>
                  </a:lnTo>
                  <a:lnTo>
                    <a:pt x="17675" y="7437"/>
                  </a:lnTo>
                  <a:lnTo>
                    <a:pt x="17675" y="7437"/>
                  </a:lnTo>
                  <a:cubicBezTo>
                    <a:pt x="17675" y="7437"/>
                    <a:pt x="17675" y="7334"/>
                    <a:pt x="17812" y="7352"/>
                  </a:cubicBezTo>
                  <a:lnTo>
                    <a:pt x="17812" y="7352"/>
                  </a:lnTo>
                  <a:cubicBezTo>
                    <a:pt x="17812" y="7352"/>
                    <a:pt x="17812" y="7352"/>
                    <a:pt x="17932" y="7352"/>
                  </a:cubicBezTo>
                  <a:lnTo>
                    <a:pt x="17932" y="7352"/>
                  </a:lnTo>
                  <a:lnTo>
                    <a:pt x="18362" y="7111"/>
                  </a:lnTo>
                  <a:cubicBezTo>
                    <a:pt x="18362" y="7111"/>
                    <a:pt x="18362" y="7111"/>
                    <a:pt x="18362" y="7266"/>
                  </a:cubicBezTo>
                  <a:lnTo>
                    <a:pt x="18362" y="7266"/>
                  </a:lnTo>
                  <a:cubicBezTo>
                    <a:pt x="18341" y="7321"/>
                    <a:pt x="18297" y="7365"/>
                    <a:pt x="18242" y="7386"/>
                  </a:cubicBezTo>
                  <a:cubicBezTo>
                    <a:pt x="18242" y="7300"/>
                    <a:pt x="18242" y="7472"/>
                    <a:pt x="18104" y="7489"/>
                  </a:cubicBezTo>
                  <a:cubicBezTo>
                    <a:pt x="17967" y="7506"/>
                    <a:pt x="17967" y="7626"/>
                    <a:pt x="17898" y="7626"/>
                  </a:cubicBezTo>
                  <a:cubicBezTo>
                    <a:pt x="17829" y="7626"/>
                    <a:pt x="17898" y="7626"/>
                    <a:pt x="17898" y="7626"/>
                  </a:cubicBezTo>
                  <a:lnTo>
                    <a:pt x="17898" y="7626"/>
                  </a:lnTo>
                  <a:cubicBezTo>
                    <a:pt x="17898" y="7626"/>
                    <a:pt x="17606" y="7764"/>
                    <a:pt x="17692" y="7626"/>
                  </a:cubicBezTo>
                  <a:lnTo>
                    <a:pt x="17692" y="7626"/>
                  </a:lnTo>
                  <a:cubicBezTo>
                    <a:pt x="17692" y="7626"/>
                    <a:pt x="17692" y="7712"/>
                    <a:pt x="17537" y="7729"/>
                  </a:cubicBezTo>
                  <a:lnTo>
                    <a:pt x="17537" y="7729"/>
                  </a:lnTo>
                  <a:cubicBezTo>
                    <a:pt x="17537" y="7729"/>
                    <a:pt x="17417" y="7729"/>
                    <a:pt x="17537" y="7729"/>
                  </a:cubicBezTo>
                  <a:cubicBezTo>
                    <a:pt x="17222" y="8004"/>
                    <a:pt x="16845" y="8199"/>
                    <a:pt x="16438" y="8296"/>
                  </a:cubicBezTo>
                  <a:cubicBezTo>
                    <a:pt x="16466" y="8278"/>
                    <a:pt x="16495" y="8261"/>
                    <a:pt x="16524" y="8245"/>
                  </a:cubicBezTo>
                  <a:lnTo>
                    <a:pt x="16524" y="8245"/>
                  </a:lnTo>
                  <a:lnTo>
                    <a:pt x="16661" y="8125"/>
                  </a:lnTo>
                  <a:lnTo>
                    <a:pt x="16661" y="8125"/>
                  </a:lnTo>
                  <a:cubicBezTo>
                    <a:pt x="16661" y="8125"/>
                    <a:pt x="16490" y="8210"/>
                    <a:pt x="16661" y="8125"/>
                  </a:cubicBezTo>
                  <a:cubicBezTo>
                    <a:pt x="16557" y="8250"/>
                    <a:pt x="16436" y="8360"/>
                    <a:pt x="16301" y="8451"/>
                  </a:cubicBezTo>
                  <a:lnTo>
                    <a:pt x="16404" y="8296"/>
                  </a:lnTo>
                  <a:cubicBezTo>
                    <a:pt x="16404" y="8296"/>
                    <a:pt x="16404" y="8382"/>
                    <a:pt x="16283" y="8399"/>
                  </a:cubicBezTo>
                  <a:cubicBezTo>
                    <a:pt x="16163" y="8417"/>
                    <a:pt x="16283" y="8399"/>
                    <a:pt x="16283" y="8399"/>
                  </a:cubicBezTo>
                  <a:lnTo>
                    <a:pt x="16283" y="8399"/>
                  </a:lnTo>
                  <a:lnTo>
                    <a:pt x="16438" y="8279"/>
                  </a:lnTo>
                  <a:cubicBezTo>
                    <a:pt x="16438" y="8279"/>
                    <a:pt x="16335" y="8279"/>
                    <a:pt x="16438" y="8279"/>
                  </a:cubicBezTo>
                  <a:lnTo>
                    <a:pt x="16438" y="8279"/>
                  </a:lnTo>
                  <a:lnTo>
                    <a:pt x="16438" y="8279"/>
                  </a:lnTo>
                  <a:cubicBezTo>
                    <a:pt x="16260" y="8438"/>
                    <a:pt x="16057" y="8566"/>
                    <a:pt x="15837" y="8657"/>
                  </a:cubicBezTo>
                  <a:lnTo>
                    <a:pt x="15837" y="8657"/>
                  </a:lnTo>
                  <a:cubicBezTo>
                    <a:pt x="15510" y="8846"/>
                    <a:pt x="15837" y="8520"/>
                    <a:pt x="15837" y="8365"/>
                  </a:cubicBezTo>
                  <a:cubicBezTo>
                    <a:pt x="15545" y="8537"/>
                    <a:pt x="15614" y="8846"/>
                    <a:pt x="15287" y="8932"/>
                  </a:cubicBezTo>
                  <a:lnTo>
                    <a:pt x="15287" y="8932"/>
                  </a:lnTo>
                  <a:lnTo>
                    <a:pt x="14841" y="9138"/>
                  </a:lnTo>
                  <a:cubicBezTo>
                    <a:pt x="14841" y="9138"/>
                    <a:pt x="14841" y="9138"/>
                    <a:pt x="14841" y="9138"/>
                  </a:cubicBezTo>
                  <a:lnTo>
                    <a:pt x="14841" y="9138"/>
                  </a:lnTo>
                  <a:lnTo>
                    <a:pt x="14841" y="9138"/>
                  </a:lnTo>
                  <a:cubicBezTo>
                    <a:pt x="14841" y="9138"/>
                    <a:pt x="14841" y="9138"/>
                    <a:pt x="14961" y="9035"/>
                  </a:cubicBezTo>
                  <a:cubicBezTo>
                    <a:pt x="15081" y="8932"/>
                    <a:pt x="14841" y="9035"/>
                    <a:pt x="14806" y="9121"/>
                  </a:cubicBezTo>
                  <a:cubicBezTo>
                    <a:pt x="14849" y="9096"/>
                    <a:pt x="14884" y="9060"/>
                    <a:pt x="14909" y="9018"/>
                  </a:cubicBezTo>
                  <a:cubicBezTo>
                    <a:pt x="14909" y="9018"/>
                    <a:pt x="14514" y="9344"/>
                    <a:pt x="14686" y="9138"/>
                  </a:cubicBezTo>
                  <a:lnTo>
                    <a:pt x="14531" y="9258"/>
                  </a:lnTo>
                  <a:cubicBezTo>
                    <a:pt x="14601" y="9111"/>
                    <a:pt x="14687" y="8973"/>
                    <a:pt x="14789" y="8846"/>
                  </a:cubicBezTo>
                  <a:lnTo>
                    <a:pt x="14789" y="8846"/>
                  </a:lnTo>
                  <a:lnTo>
                    <a:pt x="14789" y="8846"/>
                  </a:lnTo>
                  <a:lnTo>
                    <a:pt x="14703" y="8949"/>
                  </a:lnTo>
                  <a:cubicBezTo>
                    <a:pt x="14909" y="8794"/>
                    <a:pt x="14600" y="9138"/>
                    <a:pt x="14549" y="9121"/>
                  </a:cubicBezTo>
                  <a:lnTo>
                    <a:pt x="14686" y="9121"/>
                  </a:lnTo>
                  <a:cubicBezTo>
                    <a:pt x="14549" y="9361"/>
                    <a:pt x="13999" y="9653"/>
                    <a:pt x="14411" y="9121"/>
                  </a:cubicBezTo>
                  <a:cubicBezTo>
                    <a:pt x="14274" y="9207"/>
                    <a:pt x="14205" y="9361"/>
                    <a:pt x="14085" y="9447"/>
                  </a:cubicBezTo>
                  <a:lnTo>
                    <a:pt x="14085" y="9447"/>
                  </a:lnTo>
                  <a:lnTo>
                    <a:pt x="14085" y="9447"/>
                  </a:lnTo>
                  <a:lnTo>
                    <a:pt x="14085" y="9447"/>
                  </a:lnTo>
                  <a:lnTo>
                    <a:pt x="13930" y="9585"/>
                  </a:lnTo>
                  <a:cubicBezTo>
                    <a:pt x="13930" y="9585"/>
                    <a:pt x="13930" y="9585"/>
                    <a:pt x="13930" y="9585"/>
                  </a:cubicBezTo>
                  <a:cubicBezTo>
                    <a:pt x="13930" y="9585"/>
                    <a:pt x="13810" y="9585"/>
                    <a:pt x="13776" y="9585"/>
                  </a:cubicBezTo>
                  <a:cubicBezTo>
                    <a:pt x="13741" y="9585"/>
                    <a:pt x="13260" y="9911"/>
                    <a:pt x="13123" y="9945"/>
                  </a:cubicBezTo>
                  <a:lnTo>
                    <a:pt x="13123" y="9945"/>
                  </a:lnTo>
                  <a:cubicBezTo>
                    <a:pt x="12737" y="10291"/>
                    <a:pt x="12330" y="10612"/>
                    <a:pt x="11903" y="10907"/>
                  </a:cubicBezTo>
                  <a:cubicBezTo>
                    <a:pt x="12900" y="10254"/>
                    <a:pt x="11749" y="11405"/>
                    <a:pt x="11525" y="11405"/>
                  </a:cubicBezTo>
                  <a:cubicBezTo>
                    <a:pt x="11972" y="11405"/>
                    <a:pt x="11732" y="11783"/>
                    <a:pt x="11525" y="12092"/>
                  </a:cubicBezTo>
                  <a:lnTo>
                    <a:pt x="11525" y="12092"/>
                  </a:lnTo>
                  <a:cubicBezTo>
                    <a:pt x="11512" y="12253"/>
                    <a:pt x="11471" y="12409"/>
                    <a:pt x="11405" y="12556"/>
                  </a:cubicBezTo>
                  <a:cubicBezTo>
                    <a:pt x="11525" y="12556"/>
                    <a:pt x="11508" y="12693"/>
                    <a:pt x="11629" y="12693"/>
                  </a:cubicBezTo>
                  <a:lnTo>
                    <a:pt x="11629" y="12693"/>
                  </a:lnTo>
                  <a:cubicBezTo>
                    <a:pt x="11143" y="13178"/>
                    <a:pt x="10727" y="13727"/>
                    <a:pt x="10392" y="14325"/>
                  </a:cubicBezTo>
                  <a:cubicBezTo>
                    <a:pt x="10598" y="14325"/>
                    <a:pt x="10546" y="14325"/>
                    <a:pt x="10753" y="14188"/>
                  </a:cubicBezTo>
                  <a:cubicBezTo>
                    <a:pt x="10753" y="14274"/>
                    <a:pt x="10546" y="14445"/>
                    <a:pt x="10649" y="14514"/>
                  </a:cubicBezTo>
                  <a:cubicBezTo>
                    <a:pt x="11067" y="13670"/>
                    <a:pt x="11757" y="12992"/>
                    <a:pt x="12608" y="12590"/>
                  </a:cubicBezTo>
                  <a:cubicBezTo>
                    <a:pt x="13106" y="12024"/>
                    <a:pt x="13484" y="11337"/>
                    <a:pt x="13999" y="11148"/>
                  </a:cubicBezTo>
                  <a:lnTo>
                    <a:pt x="13999" y="11148"/>
                  </a:lnTo>
                  <a:cubicBezTo>
                    <a:pt x="14085" y="11148"/>
                    <a:pt x="14119" y="10976"/>
                    <a:pt x="14205" y="10976"/>
                  </a:cubicBezTo>
                  <a:cubicBezTo>
                    <a:pt x="14291" y="10976"/>
                    <a:pt x="14205" y="10873"/>
                    <a:pt x="14325" y="10856"/>
                  </a:cubicBezTo>
                  <a:cubicBezTo>
                    <a:pt x="14446" y="10838"/>
                    <a:pt x="15493" y="9808"/>
                    <a:pt x="15081" y="10409"/>
                  </a:cubicBezTo>
                  <a:cubicBezTo>
                    <a:pt x="15081" y="10409"/>
                    <a:pt x="15253" y="10409"/>
                    <a:pt x="15201" y="10409"/>
                  </a:cubicBezTo>
                  <a:lnTo>
                    <a:pt x="15201" y="10409"/>
                  </a:lnTo>
                  <a:cubicBezTo>
                    <a:pt x="15510" y="10409"/>
                    <a:pt x="15201" y="10409"/>
                    <a:pt x="15304" y="10564"/>
                  </a:cubicBezTo>
                  <a:cubicBezTo>
                    <a:pt x="15407" y="10718"/>
                    <a:pt x="15201" y="10649"/>
                    <a:pt x="15167" y="10701"/>
                  </a:cubicBezTo>
                  <a:lnTo>
                    <a:pt x="15167" y="10701"/>
                  </a:lnTo>
                  <a:cubicBezTo>
                    <a:pt x="15167" y="10701"/>
                    <a:pt x="15167" y="10804"/>
                    <a:pt x="15167" y="10856"/>
                  </a:cubicBezTo>
                  <a:lnTo>
                    <a:pt x="15167" y="10856"/>
                  </a:lnTo>
                  <a:cubicBezTo>
                    <a:pt x="15167" y="10856"/>
                    <a:pt x="15167" y="10941"/>
                    <a:pt x="15167" y="10941"/>
                  </a:cubicBezTo>
                  <a:lnTo>
                    <a:pt x="15167" y="10941"/>
                  </a:lnTo>
                  <a:cubicBezTo>
                    <a:pt x="15167" y="10941"/>
                    <a:pt x="15167" y="11027"/>
                    <a:pt x="15047" y="11079"/>
                  </a:cubicBez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cubicBezTo>
                    <a:pt x="15201" y="11079"/>
                    <a:pt x="15047" y="11165"/>
                    <a:pt x="15047" y="11216"/>
                  </a:cubicBezTo>
                  <a:cubicBezTo>
                    <a:pt x="15047" y="11268"/>
                    <a:pt x="15150" y="11113"/>
                    <a:pt x="15201" y="11130"/>
                  </a:cubicBezTo>
                  <a:cubicBezTo>
                    <a:pt x="15253" y="11148"/>
                    <a:pt x="14909" y="11337"/>
                    <a:pt x="14789" y="11508"/>
                  </a:cubicBezTo>
                  <a:lnTo>
                    <a:pt x="14789" y="11508"/>
                  </a:lnTo>
                  <a:cubicBezTo>
                    <a:pt x="14789" y="11508"/>
                    <a:pt x="14652" y="11629"/>
                    <a:pt x="14583" y="11508"/>
                  </a:cubicBezTo>
                  <a:cubicBezTo>
                    <a:pt x="14772" y="11680"/>
                    <a:pt x="14308" y="12041"/>
                    <a:pt x="14325" y="11989"/>
                  </a:cubicBezTo>
                  <a:cubicBezTo>
                    <a:pt x="14342" y="11938"/>
                    <a:pt x="14325" y="12144"/>
                    <a:pt x="14325" y="11989"/>
                  </a:cubicBezTo>
                  <a:cubicBezTo>
                    <a:pt x="14325" y="11835"/>
                    <a:pt x="14119" y="12264"/>
                    <a:pt x="14016" y="12367"/>
                  </a:cubicBezTo>
                  <a:cubicBezTo>
                    <a:pt x="14291" y="12178"/>
                    <a:pt x="14360" y="12144"/>
                    <a:pt x="14016" y="12367"/>
                  </a:cubicBezTo>
                  <a:cubicBezTo>
                    <a:pt x="14016" y="12367"/>
                    <a:pt x="14308" y="12127"/>
                    <a:pt x="14308" y="12230"/>
                  </a:cubicBezTo>
                  <a:cubicBezTo>
                    <a:pt x="14308" y="12333"/>
                    <a:pt x="14463" y="12109"/>
                    <a:pt x="14549" y="12075"/>
                  </a:cubicBezTo>
                  <a:cubicBezTo>
                    <a:pt x="14564" y="12131"/>
                    <a:pt x="14564" y="12191"/>
                    <a:pt x="14549" y="12247"/>
                  </a:cubicBezTo>
                  <a:cubicBezTo>
                    <a:pt x="14549" y="12161"/>
                    <a:pt x="14961" y="11800"/>
                    <a:pt x="14995" y="11921"/>
                  </a:cubicBezTo>
                  <a:cubicBezTo>
                    <a:pt x="15030" y="12041"/>
                    <a:pt x="14995" y="11921"/>
                    <a:pt x="14995" y="11921"/>
                  </a:cubicBezTo>
                  <a:cubicBezTo>
                    <a:pt x="14995" y="11921"/>
                    <a:pt x="14995" y="11817"/>
                    <a:pt x="15133" y="11817"/>
                  </a:cubicBezTo>
                  <a:lnTo>
                    <a:pt x="15133" y="11817"/>
                  </a:lnTo>
                  <a:cubicBezTo>
                    <a:pt x="15133" y="11732"/>
                    <a:pt x="15579" y="11457"/>
                    <a:pt x="15442" y="11577"/>
                  </a:cubicBezTo>
                  <a:lnTo>
                    <a:pt x="15442" y="11577"/>
                  </a:lnTo>
                  <a:cubicBezTo>
                    <a:pt x="15442" y="11577"/>
                    <a:pt x="15442" y="11697"/>
                    <a:pt x="15322" y="11697"/>
                  </a:cubicBezTo>
                  <a:cubicBezTo>
                    <a:pt x="15201" y="11697"/>
                    <a:pt x="15322" y="11697"/>
                    <a:pt x="15322" y="11783"/>
                  </a:cubicBezTo>
                  <a:lnTo>
                    <a:pt x="15322" y="11783"/>
                  </a:lnTo>
                  <a:cubicBezTo>
                    <a:pt x="15218" y="11783"/>
                    <a:pt x="15322" y="11955"/>
                    <a:pt x="15150" y="12006"/>
                  </a:cubicBezTo>
                  <a:cubicBezTo>
                    <a:pt x="14978" y="12058"/>
                    <a:pt x="15150" y="12127"/>
                    <a:pt x="15150" y="12006"/>
                  </a:cubicBezTo>
                  <a:cubicBezTo>
                    <a:pt x="15150" y="11886"/>
                    <a:pt x="14789" y="12161"/>
                    <a:pt x="15150" y="12144"/>
                  </a:cubicBezTo>
                  <a:cubicBezTo>
                    <a:pt x="15510" y="12127"/>
                    <a:pt x="14961" y="12298"/>
                    <a:pt x="15150" y="12247"/>
                  </a:cubicBezTo>
                  <a:cubicBezTo>
                    <a:pt x="15339" y="12195"/>
                    <a:pt x="14995" y="12419"/>
                    <a:pt x="14978" y="12247"/>
                  </a:cubicBezTo>
                  <a:cubicBezTo>
                    <a:pt x="14961" y="12075"/>
                    <a:pt x="14978" y="12333"/>
                    <a:pt x="14978" y="12350"/>
                  </a:cubicBezTo>
                  <a:cubicBezTo>
                    <a:pt x="14978" y="12367"/>
                    <a:pt x="15098" y="12350"/>
                    <a:pt x="15150" y="12350"/>
                  </a:cubicBezTo>
                  <a:cubicBezTo>
                    <a:pt x="15201" y="12350"/>
                    <a:pt x="14961" y="12350"/>
                    <a:pt x="14892" y="12505"/>
                  </a:cubicBezTo>
                  <a:cubicBezTo>
                    <a:pt x="15133" y="12505"/>
                    <a:pt x="15047" y="12505"/>
                    <a:pt x="14892" y="12608"/>
                  </a:cubicBezTo>
                  <a:cubicBezTo>
                    <a:pt x="14738" y="12711"/>
                    <a:pt x="14892" y="12608"/>
                    <a:pt x="14995" y="12608"/>
                  </a:cubicBezTo>
                  <a:cubicBezTo>
                    <a:pt x="15011" y="12682"/>
                    <a:pt x="14963" y="12755"/>
                    <a:pt x="14889" y="12770"/>
                  </a:cubicBezTo>
                  <a:cubicBezTo>
                    <a:pt x="14861" y="12776"/>
                    <a:pt x="14832" y="12773"/>
                    <a:pt x="14806" y="12762"/>
                  </a:cubicBezTo>
                  <a:cubicBezTo>
                    <a:pt x="14806" y="12762"/>
                    <a:pt x="14961" y="12848"/>
                    <a:pt x="14806" y="12917"/>
                  </a:cubicBezTo>
                  <a:cubicBezTo>
                    <a:pt x="14995" y="13020"/>
                    <a:pt x="14600" y="13157"/>
                    <a:pt x="14566" y="13089"/>
                  </a:cubicBezTo>
                  <a:cubicBezTo>
                    <a:pt x="14531" y="13020"/>
                    <a:pt x="14566" y="13363"/>
                    <a:pt x="14411" y="13312"/>
                  </a:cubicBezTo>
                  <a:cubicBezTo>
                    <a:pt x="14257" y="13260"/>
                    <a:pt x="14669" y="13312"/>
                    <a:pt x="14531" y="13415"/>
                  </a:cubicBezTo>
                  <a:cubicBezTo>
                    <a:pt x="14394" y="13518"/>
                    <a:pt x="14531" y="13415"/>
                    <a:pt x="14531" y="13501"/>
                  </a:cubicBezTo>
                  <a:cubicBezTo>
                    <a:pt x="14531" y="13587"/>
                    <a:pt x="14531" y="13501"/>
                    <a:pt x="14531" y="13621"/>
                  </a:cubicBezTo>
                  <a:lnTo>
                    <a:pt x="14634" y="13621"/>
                  </a:lnTo>
                  <a:cubicBezTo>
                    <a:pt x="14634" y="13707"/>
                    <a:pt x="14428" y="13879"/>
                    <a:pt x="14325" y="13844"/>
                  </a:cubicBezTo>
                  <a:cubicBezTo>
                    <a:pt x="14222" y="13810"/>
                    <a:pt x="14480" y="13844"/>
                    <a:pt x="14549" y="13844"/>
                  </a:cubicBezTo>
                  <a:cubicBezTo>
                    <a:pt x="14325" y="14050"/>
                    <a:pt x="14549" y="13844"/>
                    <a:pt x="14549" y="13844"/>
                  </a:cubicBezTo>
                  <a:cubicBezTo>
                    <a:pt x="14549" y="13844"/>
                    <a:pt x="14549" y="13844"/>
                    <a:pt x="14394" y="13999"/>
                  </a:cubicBezTo>
                  <a:cubicBezTo>
                    <a:pt x="14394" y="13999"/>
                    <a:pt x="14686" y="13810"/>
                    <a:pt x="14549" y="13999"/>
                  </a:cubicBezTo>
                  <a:lnTo>
                    <a:pt x="14549" y="13999"/>
                  </a:lnTo>
                  <a:cubicBezTo>
                    <a:pt x="14549" y="13999"/>
                    <a:pt x="14463" y="14102"/>
                    <a:pt x="14446" y="14153"/>
                  </a:cubicBezTo>
                  <a:cubicBezTo>
                    <a:pt x="14428" y="14205"/>
                    <a:pt x="14755" y="14153"/>
                    <a:pt x="14549" y="14153"/>
                  </a:cubicBezTo>
                  <a:cubicBezTo>
                    <a:pt x="14806" y="14342"/>
                    <a:pt x="14205" y="14239"/>
                    <a:pt x="14119" y="14360"/>
                  </a:cubicBezTo>
                  <a:cubicBezTo>
                    <a:pt x="14566" y="14360"/>
                    <a:pt x="13982" y="14360"/>
                    <a:pt x="13896" y="14497"/>
                  </a:cubicBezTo>
                  <a:cubicBezTo>
                    <a:pt x="13870" y="14437"/>
                    <a:pt x="13870" y="14368"/>
                    <a:pt x="13896" y="14308"/>
                  </a:cubicBezTo>
                  <a:cubicBezTo>
                    <a:pt x="13896" y="14445"/>
                    <a:pt x="13896" y="14531"/>
                    <a:pt x="13793" y="14634"/>
                  </a:cubicBezTo>
                  <a:cubicBezTo>
                    <a:pt x="13982" y="14634"/>
                    <a:pt x="14188" y="14342"/>
                    <a:pt x="14428" y="14411"/>
                  </a:cubicBezTo>
                  <a:cubicBezTo>
                    <a:pt x="14308" y="14257"/>
                    <a:pt x="14806" y="14411"/>
                    <a:pt x="14428" y="14617"/>
                  </a:cubicBezTo>
                  <a:cubicBezTo>
                    <a:pt x="14428" y="14617"/>
                    <a:pt x="14428" y="14617"/>
                    <a:pt x="14428" y="14617"/>
                  </a:cubicBezTo>
                  <a:cubicBezTo>
                    <a:pt x="14428" y="14617"/>
                    <a:pt x="14703" y="14463"/>
                    <a:pt x="14566" y="14617"/>
                  </a:cubicBezTo>
                  <a:cubicBezTo>
                    <a:pt x="14428" y="14772"/>
                    <a:pt x="14669" y="14617"/>
                    <a:pt x="14652" y="14617"/>
                  </a:cubicBezTo>
                  <a:cubicBezTo>
                    <a:pt x="14634" y="14617"/>
                    <a:pt x="14652" y="14789"/>
                    <a:pt x="14497" y="14772"/>
                  </a:cubicBezTo>
                  <a:cubicBezTo>
                    <a:pt x="14600" y="14772"/>
                    <a:pt x="14360" y="14995"/>
                    <a:pt x="14360" y="14875"/>
                  </a:cubicBezTo>
                  <a:cubicBezTo>
                    <a:pt x="14360" y="14755"/>
                    <a:pt x="14549" y="15047"/>
                    <a:pt x="14360" y="15012"/>
                  </a:cubicBezTo>
                  <a:cubicBezTo>
                    <a:pt x="14583" y="15115"/>
                    <a:pt x="13879" y="15407"/>
                    <a:pt x="13844" y="15287"/>
                  </a:cubicBezTo>
                  <a:cubicBezTo>
                    <a:pt x="13810" y="15167"/>
                    <a:pt x="13724" y="15287"/>
                    <a:pt x="13844" y="15287"/>
                  </a:cubicBezTo>
                  <a:cubicBezTo>
                    <a:pt x="13381" y="15682"/>
                    <a:pt x="13003" y="15734"/>
                    <a:pt x="12590" y="15407"/>
                  </a:cubicBezTo>
                  <a:cubicBezTo>
                    <a:pt x="12590" y="15407"/>
                    <a:pt x="12213" y="15407"/>
                    <a:pt x="12247" y="15253"/>
                  </a:cubicBezTo>
                  <a:cubicBezTo>
                    <a:pt x="11629" y="15631"/>
                    <a:pt x="11062" y="16026"/>
                    <a:pt x="10426" y="16369"/>
                  </a:cubicBezTo>
                  <a:cubicBezTo>
                    <a:pt x="10849" y="16193"/>
                    <a:pt x="11326" y="16193"/>
                    <a:pt x="11749" y="16369"/>
                  </a:cubicBezTo>
                  <a:cubicBezTo>
                    <a:pt x="11704" y="16429"/>
                    <a:pt x="11645" y="16477"/>
                    <a:pt x="11577" y="16507"/>
                  </a:cubicBezTo>
                  <a:cubicBezTo>
                    <a:pt x="11749" y="16507"/>
                    <a:pt x="11354" y="16885"/>
                    <a:pt x="11577" y="16936"/>
                  </a:cubicBezTo>
                  <a:cubicBezTo>
                    <a:pt x="11405" y="17022"/>
                    <a:pt x="11732" y="17262"/>
                    <a:pt x="11835" y="17125"/>
                  </a:cubicBezTo>
                  <a:cubicBezTo>
                    <a:pt x="11835" y="17125"/>
                    <a:pt x="11972" y="17262"/>
                    <a:pt x="11835" y="17245"/>
                  </a:cubicBezTo>
                  <a:cubicBezTo>
                    <a:pt x="12075" y="17245"/>
                    <a:pt x="11182" y="17520"/>
                    <a:pt x="11251" y="17365"/>
                  </a:cubicBezTo>
                  <a:cubicBezTo>
                    <a:pt x="11101" y="17505"/>
                    <a:pt x="10940" y="17631"/>
                    <a:pt x="10770" y="17743"/>
                  </a:cubicBezTo>
                  <a:lnTo>
                    <a:pt x="10770" y="17743"/>
                  </a:lnTo>
                  <a:cubicBezTo>
                    <a:pt x="10667" y="17743"/>
                    <a:pt x="10770" y="17589"/>
                    <a:pt x="10770" y="17640"/>
                  </a:cubicBezTo>
                  <a:cubicBezTo>
                    <a:pt x="10770" y="17417"/>
                    <a:pt x="11371" y="16988"/>
                    <a:pt x="11371" y="17280"/>
                  </a:cubicBezTo>
                  <a:cubicBezTo>
                    <a:pt x="11371" y="17177"/>
                    <a:pt x="11491" y="17280"/>
                    <a:pt x="11543" y="17194"/>
                  </a:cubicBezTo>
                  <a:cubicBezTo>
                    <a:pt x="11233" y="17073"/>
                    <a:pt x="11233" y="17194"/>
                    <a:pt x="11543" y="16970"/>
                  </a:cubicBezTo>
                  <a:lnTo>
                    <a:pt x="11543" y="16970"/>
                  </a:lnTo>
                  <a:lnTo>
                    <a:pt x="11543" y="16970"/>
                  </a:lnTo>
                  <a:cubicBezTo>
                    <a:pt x="11543" y="17073"/>
                    <a:pt x="11045" y="17245"/>
                    <a:pt x="11233" y="16970"/>
                  </a:cubicBezTo>
                  <a:cubicBezTo>
                    <a:pt x="11096" y="17125"/>
                    <a:pt x="11045" y="17073"/>
                    <a:pt x="10924" y="16970"/>
                  </a:cubicBezTo>
                  <a:cubicBezTo>
                    <a:pt x="10804" y="16867"/>
                    <a:pt x="10924" y="17091"/>
                    <a:pt x="10924" y="17159"/>
                  </a:cubicBezTo>
                  <a:cubicBezTo>
                    <a:pt x="10924" y="17228"/>
                    <a:pt x="10924" y="17331"/>
                    <a:pt x="10924" y="17159"/>
                  </a:cubicBezTo>
                  <a:cubicBezTo>
                    <a:pt x="10924" y="16988"/>
                    <a:pt x="10598" y="17314"/>
                    <a:pt x="10667" y="17159"/>
                  </a:cubicBezTo>
                  <a:cubicBezTo>
                    <a:pt x="10735" y="17005"/>
                    <a:pt x="10478" y="17245"/>
                    <a:pt x="10667" y="17159"/>
                  </a:cubicBezTo>
                  <a:cubicBezTo>
                    <a:pt x="10856" y="17073"/>
                    <a:pt x="10546" y="17297"/>
                    <a:pt x="10478" y="17331"/>
                  </a:cubicBezTo>
                  <a:lnTo>
                    <a:pt x="10478" y="17331"/>
                  </a:lnTo>
                  <a:cubicBezTo>
                    <a:pt x="10478" y="17331"/>
                    <a:pt x="10478" y="17417"/>
                    <a:pt x="10478" y="17331"/>
                  </a:cubicBezTo>
                  <a:cubicBezTo>
                    <a:pt x="10478" y="17245"/>
                    <a:pt x="10357" y="17469"/>
                    <a:pt x="10478" y="17331"/>
                  </a:cubicBezTo>
                  <a:cubicBezTo>
                    <a:pt x="10254" y="17331"/>
                    <a:pt x="9722" y="18345"/>
                    <a:pt x="10083" y="18001"/>
                  </a:cubicBezTo>
                  <a:cubicBezTo>
                    <a:pt x="10083" y="18138"/>
                    <a:pt x="9842" y="18327"/>
                    <a:pt x="9911" y="18087"/>
                  </a:cubicBezTo>
                  <a:cubicBezTo>
                    <a:pt x="9773" y="18259"/>
                    <a:pt x="9791" y="18241"/>
                    <a:pt x="9808" y="18087"/>
                  </a:cubicBezTo>
                  <a:cubicBezTo>
                    <a:pt x="9360" y="18252"/>
                    <a:pt x="8984" y="18568"/>
                    <a:pt x="8743" y="18980"/>
                  </a:cubicBezTo>
                  <a:lnTo>
                    <a:pt x="8743" y="18980"/>
                  </a:lnTo>
                  <a:lnTo>
                    <a:pt x="8743" y="18980"/>
                  </a:lnTo>
                  <a:cubicBezTo>
                    <a:pt x="8743" y="18980"/>
                    <a:pt x="8743" y="18825"/>
                    <a:pt x="8743" y="18740"/>
                  </a:cubicBezTo>
                  <a:cubicBezTo>
                    <a:pt x="8605" y="18980"/>
                    <a:pt x="8588" y="19289"/>
                    <a:pt x="8365" y="19495"/>
                  </a:cubicBezTo>
                  <a:lnTo>
                    <a:pt x="8365" y="19495"/>
                  </a:lnTo>
                  <a:lnTo>
                    <a:pt x="8262" y="19650"/>
                  </a:lnTo>
                  <a:cubicBezTo>
                    <a:pt x="8298" y="19536"/>
                    <a:pt x="8356" y="19431"/>
                    <a:pt x="8434" y="19341"/>
                  </a:cubicBezTo>
                  <a:cubicBezTo>
                    <a:pt x="8434" y="19341"/>
                    <a:pt x="8434" y="19255"/>
                    <a:pt x="8434" y="19221"/>
                  </a:cubicBezTo>
                  <a:lnTo>
                    <a:pt x="8434" y="19221"/>
                  </a:lnTo>
                  <a:cubicBezTo>
                    <a:pt x="8434" y="19014"/>
                    <a:pt x="8605" y="18860"/>
                    <a:pt x="8674" y="18671"/>
                  </a:cubicBezTo>
                  <a:cubicBezTo>
                    <a:pt x="8545" y="18838"/>
                    <a:pt x="8441" y="19023"/>
                    <a:pt x="8365" y="19221"/>
                  </a:cubicBezTo>
                  <a:cubicBezTo>
                    <a:pt x="8365" y="19117"/>
                    <a:pt x="8365" y="19032"/>
                    <a:pt x="8365" y="18929"/>
                  </a:cubicBezTo>
                  <a:cubicBezTo>
                    <a:pt x="8365" y="18825"/>
                    <a:pt x="8365" y="19581"/>
                    <a:pt x="8365" y="19324"/>
                  </a:cubicBezTo>
                  <a:cubicBezTo>
                    <a:pt x="8365" y="19324"/>
                    <a:pt x="8365" y="19598"/>
                    <a:pt x="8365" y="19530"/>
                  </a:cubicBezTo>
                  <a:cubicBezTo>
                    <a:pt x="8365" y="19461"/>
                    <a:pt x="8365" y="19616"/>
                    <a:pt x="8365" y="19650"/>
                  </a:cubicBezTo>
                  <a:cubicBezTo>
                    <a:pt x="8374" y="19605"/>
                    <a:pt x="8374" y="19558"/>
                    <a:pt x="8365" y="19513"/>
                  </a:cubicBezTo>
                  <a:cubicBezTo>
                    <a:pt x="8365" y="19650"/>
                    <a:pt x="8502" y="19719"/>
                    <a:pt x="8365" y="19856"/>
                  </a:cubicBezTo>
                  <a:lnTo>
                    <a:pt x="8365" y="19856"/>
                  </a:lnTo>
                  <a:cubicBezTo>
                    <a:pt x="8365" y="19993"/>
                    <a:pt x="8176" y="20148"/>
                    <a:pt x="8210" y="19976"/>
                  </a:cubicBezTo>
                  <a:cubicBezTo>
                    <a:pt x="8245" y="19805"/>
                    <a:pt x="8210" y="20079"/>
                    <a:pt x="8210" y="20097"/>
                  </a:cubicBezTo>
                  <a:cubicBezTo>
                    <a:pt x="8210" y="20114"/>
                    <a:pt x="8296" y="20097"/>
                    <a:pt x="8313" y="20234"/>
                  </a:cubicBezTo>
                  <a:cubicBezTo>
                    <a:pt x="8304" y="20200"/>
                    <a:pt x="8304" y="20165"/>
                    <a:pt x="8313" y="20131"/>
                  </a:cubicBezTo>
                  <a:cubicBezTo>
                    <a:pt x="8313" y="20234"/>
                    <a:pt x="8313" y="20285"/>
                    <a:pt x="8176" y="20354"/>
                  </a:cubicBezTo>
                  <a:cubicBezTo>
                    <a:pt x="8039" y="20423"/>
                    <a:pt x="8176" y="20354"/>
                    <a:pt x="8176" y="20251"/>
                  </a:cubicBezTo>
                  <a:cubicBezTo>
                    <a:pt x="8176" y="20148"/>
                    <a:pt x="8176" y="20251"/>
                    <a:pt x="8176" y="20251"/>
                  </a:cubicBezTo>
                  <a:cubicBezTo>
                    <a:pt x="8176" y="20251"/>
                    <a:pt x="8176" y="20474"/>
                    <a:pt x="8176" y="20389"/>
                  </a:cubicBezTo>
                  <a:lnTo>
                    <a:pt x="8176" y="20389"/>
                  </a:lnTo>
                  <a:lnTo>
                    <a:pt x="8176" y="20389"/>
                  </a:lnTo>
                  <a:lnTo>
                    <a:pt x="8176" y="20389"/>
                  </a:lnTo>
                  <a:cubicBezTo>
                    <a:pt x="6991" y="20389"/>
                    <a:pt x="6458" y="24992"/>
                    <a:pt x="6579" y="22982"/>
                  </a:cubicBezTo>
                  <a:cubicBezTo>
                    <a:pt x="6579" y="22982"/>
                    <a:pt x="6579" y="22982"/>
                    <a:pt x="6579" y="22982"/>
                  </a:cubicBezTo>
                  <a:cubicBezTo>
                    <a:pt x="6579" y="22982"/>
                    <a:pt x="6579" y="22982"/>
                    <a:pt x="6579" y="22982"/>
                  </a:cubicBezTo>
                  <a:lnTo>
                    <a:pt x="6579" y="22982"/>
                  </a:lnTo>
                  <a:cubicBezTo>
                    <a:pt x="6579" y="22879"/>
                    <a:pt x="6579" y="22707"/>
                    <a:pt x="6579" y="22604"/>
                  </a:cubicBezTo>
                  <a:cubicBezTo>
                    <a:pt x="6579" y="22501"/>
                    <a:pt x="6579" y="22604"/>
                    <a:pt x="6579" y="22707"/>
                  </a:cubicBezTo>
                  <a:cubicBezTo>
                    <a:pt x="6579" y="22810"/>
                    <a:pt x="6853" y="21780"/>
                    <a:pt x="6579" y="21745"/>
                  </a:cubicBezTo>
                  <a:cubicBezTo>
                    <a:pt x="6304" y="21711"/>
                    <a:pt x="6476" y="21849"/>
                    <a:pt x="6579" y="21745"/>
                  </a:cubicBezTo>
                  <a:lnTo>
                    <a:pt x="6579" y="21745"/>
                  </a:lnTo>
                  <a:lnTo>
                    <a:pt x="6579" y="21745"/>
                  </a:lnTo>
                  <a:cubicBezTo>
                    <a:pt x="6579" y="21745"/>
                    <a:pt x="6579" y="21574"/>
                    <a:pt x="6579" y="21642"/>
                  </a:cubicBezTo>
                  <a:cubicBezTo>
                    <a:pt x="6587" y="21603"/>
                    <a:pt x="6587" y="21562"/>
                    <a:pt x="6579" y="21522"/>
                  </a:cubicBezTo>
                  <a:lnTo>
                    <a:pt x="6579" y="21522"/>
                  </a:lnTo>
                  <a:cubicBezTo>
                    <a:pt x="6579" y="21522"/>
                    <a:pt x="6579" y="21436"/>
                    <a:pt x="6579" y="21385"/>
                  </a:cubicBezTo>
                  <a:lnTo>
                    <a:pt x="6579" y="21385"/>
                  </a:lnTo>
                  <a:cubicBezTo>
                    <a:pt x="6579" y="21385"/>
                    <a:pt x="6579" y="21385"/>
                    <a:pt x="6579" y="21385"/>
                  </a:cubicBezTo>
                  <a:cubicBezTo>
                    <a:pt x="6579" y="21385"/>
                    <a:pt x="6579" y="21385"/>
                    <a:pt x="6579" y="21385"/>
                  </a:cubicBezTo>
                  <a:cubicBezTo>
                    <a:pt x="6579" y="21385"/>
                    <a:pt x="6579" y="21282"/>
                    <a:pt x="6579" y="21230"/>
                  </a:cubicBezTo>
                  <a:lnTo>
                    <a:pt x="6579" y="21333"/>
                  </a:lnTo>
                  <a:cubicBezTo>
                    <a:pt x="6579" y="21230"/>
                    <a:pt x="6390" y="21333"/>
                    <a:pt x="6373" y="21453"/>
                  </a:cubicBezTo>
                  <a:lnTo>
                    <a:pt x="6373" y="21453"/>
                  </a:lnTo>
                  <a:cubicBezTo>
                    <a:pt x="6373" y="21642"/>
                    <a:pt x="6373" y="21763"/>
                    <a:pt x="6373" y="21849"/>
                  </a:cubicBezTo>
                  <a:cubicBezTo>
                    <a:pt x="6373" y="21934"/>
                    <a:pt x="6373" y="21471"/>
                    <a:pt x="6373" y="21763"/>
                  </a:cubicBezTo>
                  <a:lnTo>
                    <a:pt x="6373" y="21660"/>
                  </a:lnTo>
                  <a:cubicBezTo>
                    <a:pt x="6373" y="21539"/>
                    <a:pt x="6373" y="21471"/>
                    <a:pt x="6373" y="21350"/>
                  </a:cubicBezTo>
                  <a:cubicBezTo>
                    <a:pt x="6373" y="21230"/>
                    <a:pt x="6373" y="21350"/>
                    <a:pt x="6373" y="21350"/>
                  </a:cubicBezTo>
                  <a:cubicBezTo>
                    <a:pt x="6373" y="21591"/>
                    <a:pt x="6373" y="21076"/>
                    <a:pt x="6184" y="21350"/>
                  </a:cubicBezTo>
                  <a:cubicBezTo>
                    <a:pt x="6184" y="21350"/>
                    <a:pt x="6184" y="21196"/>
                    <a:pt x="6184" y="21127"/>
                  </a:cubicBezTo>
                  <a:cubicBezTo>
                    <a:pt x="6184" y="21058"/>
                    <a:pt x="6184" y="21247"/>
                    <a:pt x="6184" y="21127"/>
                  </a:cubicBezTo>
                  <a:cubicBezTo>
                    <a:pt x="6193" y="21213"/>
                    <a:pt x="6193" y="21299"/>
                    <a:pt x="6184" y="21385"/>
                  </a:cubicBezTo>
                  <a:lnTo>
                    <a:pt x="6184" y="21385"/>
                  </a:lnTo>
                  <a:lnTo>
                    <a:pt x="6184" y="21505"/>
                  </a:lnTo>
                  <a:lnTo>
                    <a:pt x="6184" y="21505"/>
                  </a:lnTo>
                  <a:cubicBezTo>
                    <a:pt x="6184" y="21591"/>
                    <a:pt x="6184" y="21505"/>
                    <a:pt x="6184" y="21505"/>
                  </a:cubicBezTo>
                  <a:lnTo>
                    <a:pt x="6184" y="21505"/>
                  </a:lnTo>
                  <a:cubicBezTo>
                    <a:pt x="6184" y="21505"/>
                    <a:pt x="6184" y="21505"/>
                    <a:pt x="6184" y="21505"/>
                  </a:cubicBezTo>
                  <a:lnTo>
                    <a:pt x="6184" y="21505"/>
                  </a:lnTo>
                  <a:cubicBezTo>
                    <a:pt x="6184" y="21505"/>
                    <a:pt x="6184" y="21608"/>
                    <a:pt x="6184" y="21608"/>
                  </a:cubicBezTo>
                  <a:lnTo>
                    <a:pt x="6184" y="21608"/>
                  </a:lnTo>
                  <a:cubicBezTo>
                    <a:pt x="6085" y="21918"/>
                    <a:pt x="6005" y="22233"/>
                    <a:pt x="5943" y="22553"/>
                  </a:cubicBezTo>
                  <a:cubicBezTo>
                    <a:pt x="5943" y="22553"/>
                    <a:pt x="5943" y="22433"/>
                    <a:pt x="5943" y="22398"/>
                  </a:cubicBezTo>
                  <a:cubicBezTo>
                    <a:pt x="5943" y="22364"/>
                    <a:pt x="5840" y="22862"/>
                    <a:pt x="5943" y="22621"/>
                  </a:cubicBezTo>
                  <a:cubicBezTo>
                    <a:pt x="5838" y="23115"/>
                    <a:pt x="5758" y="23614"/>
                    <a:pt x="5703" y="24116"/>
                  </a:cubicBezTo>
                  <a:cubicBezTo>
                    <a:pt x="5668" y="24579"/>
                    <a:pt x="5668" y="25044"/>
                    <a:pt x="5703" y="25507"/>
                  </a:cubicBezTo>
                  <a:cubicBezTo>
                    <a:pt x="5703" y="25507"/>
                    <a:pt x="5703" y="25507"/>
                    <a:pt x="5703" y="25507"/>
                  </a:cubicBezTo>
                  <a:cubicBezTo>
                    <a:pt x="5709" y="25479"/>
                    <a:pt x="5709" y="25449"/>
                    <a:pt x="5703" y="25421"/>
                  </a:cubicBezTo>
                  <a:lnTo>
                    <a:pt x="5703" y="25421"/>
                  </a:lnTo>
                  <a:cubicBezTo>
                    <a:pt x="5703" y="25421"/>
                    <a:pt x="5703" y="25421"/>
                    <a:pt x="5703" y="25421"/>
                  </a:cubicBezTo>
                  <a:lnTo>
                    <a:pt x="5703" y="25421"/>
                  </a:lnTo>
                  <a:cubicBezTo>
                    <a:pt x="5703" y="25421"/>
                    <a:pt x="5703" y="25559"/>
                    <a:pt x="5703" y="25627"/>
                  </a:cubicBezTo>
                  <a:lnTo>
                    <a:pt x="5703" y="25627"/>
                  </a:lnTo>
                  <a:lnTo>
                    <a:pt x="5703" y="25627"/>
                  </a:lnTo>
                  <a:cubicBezTo>
                    <a:pt x="5711" y="25553"/>
                    <a:pt x="5711" y="25478"/>
                    <a:pt x="5703" y="25404"/>
                  </a:cubicBezTo>
                  <a:lnTo>
                    <a:pt x="5703" y="25404"/>
                  </a:lnTo>
                  <a:cubicBezTo>
                    <a:pt x="5857" y="25249"/>
                    <a:pt x="5703" y="24511"/>
                    <a:pt x="5995" y="24665"/>
                  </a:cubicBezTo>
                  <a:cubicBezTo>
                    <a:pt x="5995" y="24665"/>
                    <a:pt x="5995" y="24562"/>
                    <a:pt x="5995" y="24665"/>
                  </a:cubicBezTo>
                  <a:cubicBezTo>
                    <a:pt x="5995" y="24769"/>
                    <a:pt x="5995" y="24665"/>
                    <a:pt x="5995" y="24665"/>
                  </a:cubicBezTo>
                  <a:cubicBezTo>
                    <a:pt x="5995" y="24665"/>
                    <a:pt x="5995" y="24820"/>
                    <a:pt x="5995" y="24665"/>
                  </a:cubicBezTo>
                  <a:cubicBezTo>
                    <a:pt x="6098" y="24957"/>
                    <a:pt x="5806" y="25284"/>
                    <a:pt x="5857" y="25593"/>
                  </a:cubicBezTo>
                  <a:cubicBezTo>
                    <a:pt x="5857" y="25593"/>
                    <a:pt x="5857" y="25868"/>
                    <a:pt x="5857" y="25919"/>
                  </a:cubicBezTo>
                  <a:cubicBezTo>
                    <a:pt x="5814" y="26294"/>
                    <a:pt x="5476" y="26563"/>
                    <a:pt x="5101" y="26521"/>
                  </a:cubicBezTo>
                  <a:cubicBezTo>
                    <a:pt x="4727" y="26478"/>
                    <a:pt x="4457" y="26140"/>
                    <a:pt x="4500" y="25765"/>
                  </a:cubicBezTo>
                  <a:cubicBezTo>
                    <a:pt x="4500" y="25954"/>
                    <a:pt x="4500" y="26349"/>
                    <a:pt x="4397" y="26658"/>
                  </a:cubicBezTo>
                  <a:lnTo>
                    <a:pt x="4397" y="26658"/>
                  </a:lnTo>
                  <a:cubicBezTo>
                    <a:pt x="4380" y="26726"/>
                    <a:pt x="4380" y="26796"/>
                    <a:pt x="4397" y="26864"/>
                  </a:cubicBezTo>
                  <a:lnTo>
                    <a:pt x="4397" y="26864"/>
                  </a:lnTo>
                  <a:cubicBezTo>
                    <a:pt x="4397" y="26864"/>
                    <a:pt x="4397" y="26864"/>
                    <a:pt x="4397" y="26950"/>
                  </a:cubicBezTo>
                  <a:cubicBezTo>
                    <a:pt x="4397" y="27036"/>
                    <a:pt x="4603" y="27139"/>
                    <a:pt x="4586" y="26950"/>
                  </a:cubicBezTo>
                  <a:cubicBezTo>
                    <a:pt x="4586" y="27053"/>
                    <a:pt x="4586" y="27105"/>
                    <a:pt x="4724" y="27190"/>
                  </a:cubicBezTo>
                  <a:lnTo>
                    <a:pt x="4724" y="27190"/>
                  </a:lnTo>
                  <a:cubicBezTo>
                    <a:pt x="4738" y="27241"/>
                    <a:pt x="4738" y="27295"/>
                    <a:pt x="4724" y="27345"/>
                  </a:cubicBezTo>
                  <a:cubicBezTo>
                    <a:pt x="4724" y="27208"/>
                    <a:pt x="4724" y="27345"/>
                    <a:pt x="4724" y="27448"/>
                  </a:cubicBezTo>
                  <a:lnTo>
                    <a:pt x="4724" y="27448"/>
                  </a:lnTo>
                  <a:cubicBezTo>
                    <a:pt x="4767" y="27681"/>
                    <a:pt x="4767" y="27920"/>
                    <a:pt x="4724" y="28152"/>
                  </a:cubicBezTo>
                  <a:lnTo>
                    <a:pt x="4724" y="28152"/>
                  </a:lnTo>
                  <a:cubicBezTo>
                    <a:pt x="4732" y="28307"/>
                    <a:pt x="4732" y="28462"/>
                    <a:pt x="4724" y="28616"/>
                  </a:cubicBezTo>
                  <a:cubicBezTo>
                    <a:pt x="4724" y="28616"/>
                    <a:pt x="4724" y="28513"/>
                    <a:pt x="4724" y="28444"/>
                  </a:cubicBezTo>
                  <a:cubicBezTo>
                    <a:pt x="4715" y="28564"/>
                    <a:pt x="4715" y="28685"/>
                    <a:pt x="4724" y="28805"/>
                  </a:cubicBezTo>
                  <a:cubicBezTo>
                    <a:pt x="4734" y="28777"/>
                    <a:pt x="4734" y="28747"/>
                    <a:pt x="4724" y="28719"/>
                  </a:cubicBezTo>
                  <a:cubicBezTo>
                    <a:pt x="4697" y="28861"/>
                    <a:pt x="4697" y="29007"/>
                    <a:pt x="4724" y="29149"/>
                  </a:cubicBezTo>
                  <a:cubicBezTo>
                    <a:pt x="4724" y="29063"/>
                    <a:pt x="4947" y="30042"/>
                    <a:pt x="4930" y="29733"/>
                  </a:cubicBezTo>
                  <a:cubicBezTo>
                    <a:pt x="5136" y="30265"/>
                    <a:pt x="5170" y="29131"/>
                    <a:pt x="5634" y="30471"/>
                  </a:cubicBezTo>
                  <a:cubicBezTo>
                    <a:pt x="5634" y="30368"/>
                    <a:pt x="5634" y="29337"/>
                    <a:pt x="5960" y="29595"/>
                  </a:cubicBezTo>
                  <a:cubicBezTo>
                    <a:pt x="5960" y="29818"/>
                    <a:pt x="5960" y="29595"/>
                    <a:pt x="5960" y="29475"/>
                  </a:cubicBezTo>
                  <a:cubicBezTo>
                    <a:pt x="5960" y="29355"/>
                    <a:pt x="6252" y="29303"/>
                    <a:pt x="6355" y="29234"/>
                  </a:cubicBezTo>
                  <a:cubicBezTo>
                    <a:pt x="6476" y="29458"/>
                    <a:pt x="6355" y="29836"/>
                    <a:pt x="6355" y="30145"/>
                  </a:cubicBezTo>
                  <a:cubicBezTo>
                    <a:pt x="6630" y="30901"/>
                    <a:pt x="6355" y="29681"/>
                    <a:pt x="6665" y="29664"/>
                  </a:cubicBezTo>
                  <a:cubicBezTo>
                    <a:pt x="6974" y="29647"/>
                    <a:pt x="6527" y="29544"/>
                    <a:pt x="6665" y="29441"/>
                  </a:cubicBezTo>
                  <a:cubicBezTo>
                    <a:pt x="6802" y="29337"/>
                    <a:pt x="6665" y="29664"/>
                    <a:pt x="6785" y="29733"/>
                  </a:cubicBezTo>
                  <a:cubicBezTo>
                    <a:pt x="6933" y="29741"/>
                    <a:pt x="7051" y="29859"/>
                    <a:pt x="7060" y="30007"/>
                  </a:cubicBezTo>
                  <a:cubicBezTo>
                    <a:pt x="6939" y="30213"/>
                    <a:pt x="7352" y="30145"/>
                    <a:pt x="7472" y="30196"/>
                  </a:cubicBezTo>
                  <a:cubicBezTo>
                    <a:pt x="7558" y="30660"/>
                    <a:pt x="8090" y="30042"/>
                    <a:pt x="8262" y="30402"/>
                  </a:cubicBezTo>
                  <a:cubicBezTo>
                    <a:pt x="8004" y="30402"/>
                    <a:pt x="8073" y="30402"/>
                    <a:pt x="8262" y="30643"/>
                  </a:cubicBezTo>
                  <a:cubicBezTo>
                    <a:pt x="8262" y="30471"/>
                    <a:pt x="8863" y="31107"/>
                    <a:pt x="8434" y="31107"/>
                  </a:cubicBezTo>
                  <a:cubicBezTo>
                    <a:pt x="8885" y="31152"/>
                    <a:pt x="9220" y="31547"/>
                    <a:pt x="9189" y="32000"/>
                  </a:cubicBezTo>
                  <a:cubicBezTo>
                    <a:pt x="9189" y="31673"/>
                    <a:pt x="9550" y="32154"/>
                    <a:pt x="9550" y="32309"/>
                  </a:cubicBezTo>
                  <a:cubicBezTo>
                    <a:pt x="9464" y="32103"/>
                    <a:pt x="10461" y="32309"/>
                    <a:pt x="10220" y="32532"/>
                  </a:cubicBezTo>
                  <a:cubicBezTo>
                    <a:pt x="10443" y="32361"/>
                    <a:pt x="10976" y="33030"/>
                    <a:pt x="10856" y="33151"/>
                  </a:cubicBezTo>
                  <a:cubicBezTo>
                    <a:pt x="11010" y="32893"/>
                    <a:pt x="11130" y="33735"/>
                    <a:pt x="11302" y="33924"/>
                  </a:cubicBezTo>
                  <a:cubicBezTo>
                    <a:pt x="11474" y="34113"/>
                    <a:pt x="10976" y="34559"/>
                    <a:pt x="11045" y="34868"/>
                  </a:cubicBezTo>
                  <a:cubicBezTo>
                    <a:pt x="11045" y="34611"/>
                    <a:pt x="11233" y="34628"/>
                    <a:pt x="11148" y="34868"/>
                  </a:cubicBezTo>
                  <a:cubicBezTo>
                    <a:pt x="11148" y="34868"/>
                    <a:pt x="11268" y="34559"/>
                    <a:pt x="11337" y="34731"/>
                  </a:cubicBezTo>
                  <a:cubicBezTo>
                    <a:pt x="11405" y="34903"/>
                    <a:pt x="11337" y="34731"/>
                    <a:pt x="11337" y="34731"/>
                  </a:cubicBezTo>
                  <a:cubicBezTo>
                    <a:pt x="11337" y="34216"/>
                    <a:pt x="12401" y="35143"/>
                    <a:pt x="11337" y="35092"/>
                  </a:cubicBezTo>
                  <a:cubicBezTo>
                    <a:pt x="11749" y="35092"/>
                    <a:pt x="11543" y="35315"/>
                    <a:pt x="11680" y="35624"/>
                  </a:cubicBezTo>
                  <a:cubicBezTo>
                    <a:pt x="11543" y="35074"/>
                    <a:pt x="12075" y="34576"/>
                    <a:pt x="12419" y="35074"/>
                  </a:cubicBezTo>
                  <a:cubicBezTo>
                    <a:pt x="12419" y="35074"/>
                    <a:pt x="12608" y="35177"/>
                    <a:pt x="12642" y="35263"/>
                  </a:cubicBezTo>
                  <a:cubicBezTo>
                    <a:pt x="12676" y="35349"/>
                    <a:pt x="12986" y="35366"/>
                    <a:pt x="12882" y="35469"/>
                  </a:cubicBezTo>
                  <a:cubicBezTo>
                    <a:pt x="12779" y="35573"/>
                    <a:pt x="12882" y="35727"/>
                    <a:pt x="12968" y="35830"/>
                  </a:cubicBezTo>
                  <a:cubicBezTo>
                    <a:pt x="13054" y="35933"/>
                    <a:pt x="12968" y="35487"/>
                    <a:pt x="12968" y="35710"/>
                  </a:cubicBezTo>
                  <a:cubicBezTo>
                    <a:pt x="12968" y="35555"/>
                    <a:pt x="13106" y="35607"/>
                    <a:pt x="12968" y="35504"/>
                  </a:cubicBezTo>
                  <a:cubicBezTo>
                    <a:pt x="12831" y="35401"/>
                    <a:pt x="13363" y="35761"/>
                    <a:pt x="13363" y="35641"/>
                  </a:cubicBezTo>
                  <a:cubicBezTo>
                    <a:pt x="13363" y="35521"/>
                    <a:pt x="13363" y="35641"/>
                    <a:pt x="13466" y="35744"/>
                  </a:cubicBezTo>
                  <a:cubicBezTo>
                    <a:pt x="13569" y="35847"/>
                    <a:pt x="13466" y="35744"/>
                    <a:pt x="13466" y="35744"/>
                  </a:cubicBezTo>
                  <a:lnTo>
                    <a:pt x="13466" y="35744"/>
                  </a:lnTo>
                  <a:lnTo>
                    <a:pt x="13466" y="35744"/>
                  </a:lnTo>
                  <a:cubicBezTo>
                    <a:pt x="14841" y="36157"/>
                    <a:pt x="16438" y="37462"/>
                    <a:pt x="14926" y="38922"/>
                  </a:cubicBezTo>
                  <a:cubicBezTo>
                    <a:pt x="14926" y="38836"/>
                    <a:pt x="14926" y="38682"/>
                    <a:pt x="14926" y="38819"/>
                  </a:cubicBezTo>
                  <a:cubicBezTo>
                    <a:pt x="14926" y="38956"/>
                    <a:pt x="14823" y="38819"/>
                    <a:pt x="14806" y="38819"/>
                  </a:cubicBezTo>
                  <a:lnTo>
                    <a:pt x="14806" y="38819"/>
                  </a:lnTo>
                  <a:cubicBezTo>
                    <a:pt x="15133" y="39386"/>
                    <a:pt x="15717" y="41619"/>
                    <a:pt x="14806" y="41447"/>
                  </a:cubicBezTo>
                  <a:cubicBezTo>
                    <a:pt x="14806" y="41447"/>
                    <a:pt x="14514" y="41447"/>
                    <a:pt x="14806" y="41447"/>
                  </a:cubicBezTo>
                  <a:cubicBezTo>
                    <a:pt x="15098" y="41447"/>
                    <a:pt x="14652" y="41447"/>
                    <a:pt x="14600" y="41447"/>
                  </a:cubicBezTo>
                  <a:cubicBezTo>
                    <a:pt x="14549" y="41447"/>
                    <a:pt x="14600" y="41533"/>
                    <a:pt x="14600" y="41687"/>
                  </a:cubicBezTo>
                  <a:cubicBezTo>
                    <a:pt x="14360" y="41498"/>
                    <a:pt x="14257" y="41997"/>
                    <a:pt x="14154" y="41962"/>
                  </a:cubicBezTo>
                  <a:cubicBezTo>
                    <a:pt x="14050" y="41928"/>
                    <a:pt x="14154" y="41962"/>
                    <a:pt x="14154" y="41962"/>
                  </a:cubicBezTo>
                  <a:cubicBezTo>
                    <a:pt x="14154" y="41962"/>
                    <a:pt x="14291" y="42048"/>
                    <a:pt x="14154" y="42048"/>
                  </a:cubicBezTo>
                  <a:cubicBezTo>
                    <a:pt x="14016" y="42048"/>
                    <a:pt x="14154" y="42048"/>
                    <a:pt x="14154" y="42048"/>
                  </a:cubicBezTo>
                  <a:cubicBezTo>
                    <a:pt x="14154" y="42048"/>
                    <a:pt x="14446" y="42426"/>
                    <a:pt x="14411" y="42529"/>
                  </a:cubicBezTo>
                  <a:cubicBezTo>
                    <a:pt x="14377" y="42632"/>
                    <a:pt x="14411" y="43697"/>
                    <a:pt x="14411" y="43336"/>
                  </a:cubicBezTo>
                  <a:cubicBezTo>
                    <a:pt x="14411" y="43336"/>
                    <a:pt x="14411" y="43336"/>
                    <a:pt x="14411" y="43250"/>
                  </a:cubicBezTo>
                  <a:cubicBezTo>
                    <a:pt x="14411" y="43165"/>
                    <a:pt x="14411" y="43113"/>
                    <a:pt x="14411" y="43113"/>
                  </a:cubicBezTo>
                  <a:cubicBezTo>
                    <a:pt x="14338" y="43042"/>
                    <a:pt x="14257" y="42979"/>
                    <a:pt x="14171" y="42924"/>
                  </a:cubicBezTo>
                  <a:cubicBezTo>
                    <a:pt x="14231" y="42979"/>
                    <a:pt x="14283" y="43043"/>
                    <a:pt x="14325" y="43113"/>
                  </a:cubicBezTo>
                  <a:cubicBezTo>
                    <a:pt x="14325" y="43113"/>
                    <a:pt x="14446" y="43354"/>
                    <a:pt x="14325" y="43250"/>
                  </a:cubicBezTo>
                  <a:cubicBezTo>
                    <a:pt x="14858" y="44041"/>
                    <a:pt x="14325" y="44264"/>
                    <a:pt x="13844" y="43817"/>
                  </a:cubicBezTo>
                  <a:lnTo>
                    <a:pt x="14549" y="44418"/>
                  </a:lnTo>
                  <a:lnTo>
                    <a:pt x="14549" y="44418"/>
                  </a:lnTo>
                  <a:cubicBezTo>
                    <a:pt x="14637" y="44494"/>
                    <a:pt x="14707" y="44587"/>
                    <a:pt x="14755" y="44693"/>
                  </a:cubicBezTo>
                  <a:lnTo>
                    <a:pt x="14755" y="44693"/>
                  </a:lnTo>
                  <a:cubicBezTo>
                    <a:pt x="14755" y="44693"/>
                    <a:pt x="14944" y="44951"/>
                    <a:pt x="14755" y="44882"/>
                  </a:cubicBezTo>
                  <a:cubicBezTo>
                    <a:pt x="14566" y="44814"/>
                    <a:pt x="14394" y="44882"/>
                    <a:pt x="14291" y="44882"/>
                  </a:cubicBezTo>
                  <a:cubicBezTo>
                    <a:pt x="14188" y="44882"/>
                    <a:pt x="14480" y="45037"/>
                    <a:pt x="14566" y="45123"/>
                  </a:cubicBezTo>
                  <a:lnTo>
                    <a:pt x="14566" y="45123"/>
                  </a:lnTo>
                  <a:cubicBezTo>
                    <a:pt x="14909" y="45466"/>
                    <a:pt x="14995" y="45569"/>
                    <a:pt x="14463" y="45294"/>
                  </a:cubicBezTo>
                  <a:cubicBezTo>
                    <a:pt x="14621" y="45462"/>
                    <a:pt x="14807" y="45602"/>
                    <a:pt x="15012" y="45707"/>
                  </a:cubicBezTo>
                  <a:cubicBezTo>
                    <a:pt x="15012" y="45707"/>
                    <a:pt x="15012" y="45707"/>
                    <a:pt x="15012" y="45707"/>
                  </a:cubicBezTo>
                  <a:lnTo>
                    <a:pt x="15012" y="45707"/>
                  </a:lnTo>
                  <a:cubicBezTo>
                    <a:pt x="15304" y="45930"/>
                    <a:pt x="15133" y="45947"/>
                    <a:pt x="15717" y="46359"/>
                  </a:cubicBezTo>
                  <a:lnTo>
                    <a:pt x="15717" y="46359"/>
                  </a:lnTo>
                  <a:lnTo>
                    <a:pt x="15717" y="46359"/>
                  </a:lnTo>
                  <a:lnTo>
                    <a:pt x="15717" y="46359"/>
                  </a:lnTo>
                  <a:cubicBezTo>
                    <a:pt x="15991" y="46669"/>
                    <a:pt x="16438" y="46737"/>
                    <a:pt x="16730" y="47012"/>
                  </a:cubicBezTo>
                  <a:lnTo>
                    <a:pt x="16730" y="47012"/>
                  </a:lnTo>
                  <a:lnTo>
                    <a:pt x="16730" y="47012"/>
                  </a:lnTo>
                  <a:lnTo>
                    <a:pt x="16730" y="47012"/>
                  </a:lnTo>
                  <a:lnTo>
                    <a:pt x="16885" y="47132"/>
                  </a:lnTo>
                  <a:lnTo>
                    <a:pt x="16885" y="47132"/>
                  </a:lnTo>
                  <a:lnTo>
                    <a:pt x="17091" y="47270"/>
                  </a:lnTo>
                  <a:cubicBezTo>
                    <a:pt x="17091" y="47270"/>
                    <a:pt x="17091" y="47270"/>
                    <a:pt x="16988" y="47270"/>
                  </a:cubicBezTo>
                  <a:cubicBezTo>
                    <a:pt x="17278" y="47454"/>
                    <a:pt x="17582" y="47614"/>
                    <a:pt x="17898" y="47751"/>
                  </a:cubicBezTo>
                  <a:lnTo>
                    <a:pt x="17898" y="47751"/>
                  </a:lnTo>
                  <a:cubicBezTo>
                    <a:pt x="17795" y="47751"/>
                    <a:pt x="17898" y="47751"/>
                    <a:pt x="17898" y="47751"/>
                  </a:cubicBezTo>
                  <a:lnTo>
                    <a:pt x="17898" y="47751"/>
                  </a:lnTo>
                  <a:cubicBezTo>
                    <a:pt x="18059" y="47847"/>
                    <a:pt x="18225" y="47933"/>
                    <a:pt x="18396" y="48008"/>
                  </a:cubicBezTo>
                  <a:lnTo>
                    <a:pt x="18173" y="48008"/>
                  </a:lnTo>
                  <a:close/>
                  <a:moveTo>
                    <a:pt x="20560" y="10117"/>
                  </a:moveTo>
                  <a:cubicBezTo>
                    <a:pt x="20286" y="10409"/>
                    <a:pt x="20560" y="10014"/>
                    <a:pt x="20560" y="9980"/>
                  </a:cubicBezTo>
                  <a:cubicBezTo>
                    <a:pt x="20560" y="9945"/>
                    <a:pt x="20423" y="10134"/>
                    <a:pt x="20286" y="10323"/>
                  </a:cubicBezTo>
                  <a:cubicBezTo>
                    <a:pt x="19822" y="10083"/>
                    <a:pt x="19581" y="10976"/>
                    <a:pt x="19289" y="10907"/>
                  </a:cubicBezTo>
                  <a:cubicBezTo>
                    <a:pt x="19530" y="11165"/>
                    <a:pt x="19100" y="10907"/>
                    <a:pt x="19152" y="11165"/>
                  </a:cubicBezTo>
                  <a:cubicBezTo>
                    <a:pt x="19014" y="10959"/>
                    <a:pt x="19152" y="11165"/>
                    <a:pt x="19152" y="11165"/>
                  </a:cubicBezTo>
                  <a:cubicBezTo>
                    <a:pt x="19152" y="10907"/>
                    <a:pt x="19152" y="11457"/>
                    <a:pt x="18997" y="11165"/>
                  </a:cubicBezTo>
                  <a:cubicBezTo>
                    <a:pt x="18688" y="11165"/>
                    <a:pt x="18997" y="11577"/>
                    <a:pt x="18585" y="11577"/>
                  </a:cubicBezTo>
                  <a:cubicBezTo>
                    <a:pt x="18585" y="11577"/>
                    <a:pt x="18327" y="12024"/>
                    <a:pt x="18259" y="11903"/>
                  </a:cubicBezTo>
                  <a:cubicBezTo>
                    <a:pt x="18190" y="11783"/>
                    <a:pt x="17846" y="12453"/>
                    <a:pt x="18001" y="12109"/>
                  </a:cubicBezTo>
                  <a:cubicBezTo>
                    <a:pt x="17537" y="12401"/>
                    <a:pt x="18104" y="11938"/>
                    <a:pt x="17743" y="12006"/>
                  </a:cubicBezTo>
                  <a:cubicBezTo>
                    <a:pt x="18173" y="11680"/>
                    <a:pt x="18070" y="11749"/>
                    <a:pt x="17503" y="11783"/>
                  </a:cubicBezTo>
                  <a:cubicBezTo>
                    <a:pt x="17588" y="11313"/>
                    <a:pt x="17763" y="10864"/>
                    <a:pt x="18018" y="10461"/>
                  </a:cubicBezTo>
                  <a:cubicBezTo>
                    <a:pt x="18018" y="10220"/>
                    <a:pt x="18224" y="10461"/>
                    <a:pt x="18448" y="10134"/>
                  </a:cubicBezTo>
                  <a:cubicBezTo>
                    <a:pt x="17984" y="10306"/>
                    <a:pt x="17984" y="10134"/>
                    <a:pt x="18448" y="9739"/>
                  </a:cubicBezTo>
                  <a:cubicBezTo>
                    <a:pt x="18345" y="9739"/>
                    <a:pt x="18207" y="9739"/>
                    <a:pt x="18345" y="9739"/>
                  </a:cubicBezTo>
                  <a:cubicBezTo>
                    <a:pt x="18482" y="9739"/>
                    <a:pt x="18345" y="9636"/>
                    <a:pt x="18963" y="9344"/>
                  </a:cubicBezTo>
                  <a:cubicBezTo>
                    <a:pt x="17709" y="9808"/>
                    <a:pt x="19392" y="8966"/>
                    <a:pt x="18774" y="9104"/>
                  </a:cubicBezTo>
                  <a:cubicBezTo>
                    <a:pt x="19272" y="8657"/>
                    <a:pt x="19152" y="9293"/>
                    <a:pt x="19324" y="9104"/>
                  </a:cubicBezTo>
                  <a:cubicBezTo>
                    <a:pt x="18997" y="9104"/>
                    <a:pt x="19667" y="8863"/>
                    <a:pt x="19324" y="8966"/>
                  </a:cubicBezTo>
                  <a:cubicBezTo>
                    <a:pt x="19444" y="8846"/>
                    <a:pt x="19169" y="8966"/>
                    <a:pt x="18946" y="8966"/>
                  </a:cubicBezTo>
                  <a:cubicBezTo>
                    <a:pt x="19427" y="8537"/>
                    <a:pt x="19238" y="9086"/>
                    <a:pt x="19598" y="8674"/>
                  </a:cubicBezTo>
                  <a:cubicBezTo>
                    <a:pt x="19289" y="8846"/>
                    <a:pt x="19341" y="8554"/>
                    <a:pt x="19598" y="8674"/>
                  </a:cubicBezTo>
                  <a:cubicBezTo>
                    <a:pt x="19808" y="8533"/>
                    <a:pt x="20004" y="8372"/>
                    <a:pt x="20182" y="8193"/>
                  </a:cubicBezTo>
                  <a:cubicBezTo>
                    <a:pt x="19994" y="8193"/>
                    <a:pt x="20182" y="7266"/>
                    <a:pt x="20354" y="7953"/>
                  </a:cubicBezTo>
                  <a:cubicBezTo>
                    <a:pt x="20354" y="7953"/>
                    <a:pt x="20509" y="7712"/>
                    <a:pt x="20560" y="7764"/>
                  </a:cubicBezTo>
                  <a:cubicBezTo>
                    <a:pt x="20612" y="7815"/>
                    <a:pt x="21144" y="6991"/>
                    <a:pt x="20681" y="7386"/>
                  </a:cubicBezTo>
                  <a:cubicBezTo>
                    <a:pt x="20217" y="7781"/>
                    <a:pt x="21162" y="6922"/>
                    <a:pt x="21746" y="6338"/>
                  </a:cubicBezTo>
                  <a:cubicBezTo>
                    <a:pt x="23154" y="5256"/>
                    <a:pt x="21746" y="5497"/>
                    <a:pt x="22914" y="4981"/>
                  </a:cubicBezTo>
                  <a:cubicBezTo>
                    <a:pt x="23085" y="4981"/>
                    <a:pt x="23206" y="5067"/>
                    <a:pt x="23326" y="4844"/>
                  </a:cubicBezTo>
                  <a:cubicBezTo>
                    <a:pt x="26332" y="3556"/>
                    <a:pt x="25576" y="4260"/>
                    <a:pt x="26761" y="3693"/>
                  </a:cubicBezTo>
                  <a:cubicBezTo>
                    <a:pt x="26418" y="3882"/>
                    <a:pt x="26761" y="3693"/>
                    <a:pt x="26881" y="3693"/>
                  </a:cubicBezTo>
                  <a:cubicBezTo>
                    <a:pt x="26503" y="3951"/>
                    <a:pt x="26710" y="3693"/>
                    <a:pt x="26607" y="3951"/>
                  </a:cubicBezTo>
                  <a:cubicBezTo>
                    <a:pt x="26761" y="4140"/>
                    <a:pt x="25765" y="4243"/>
                    <a:pt x="26211" y="4208"/>
                  </a:cubicBezTo>
                  <a:cubicBezTo>
                    <a:pt x="26658" y="4174"/>
                    <a:pt x="26057" y="4346"/>
                    <a:pt x="26211" y="4329"/>
                  </a:cubicBezTo>
                  <a:cubicBezTo>
                    <a:pt x="26555" y="4054"/>
                    <a:pt x="26211" y="4483"/>
                    <a:pt x="26074" y="4500"/>
                  </a:cubicBezTo>
                  <a:cubicBezTo>
                    <a:pt x="25284" y="5119"/>
                    <a:pt x="27036" y="3744"/>
                    <a:pt x="26383" y="4621"/>
                  </a:cubicBezTo>
                  <a:cubicBezTo>
                    <a:pt x="26108" y="4844"/>
                    <a:pt x="25816" y="4861"/>
                    <a:pt x="26057" y="4947"/>
                  </a:cubicBezTo>
                  <a:cubicBezTo>
                    <a:pt x="25672" y="5283"/>
                    <a:pt x="25406" y="5735"/>
                    <a:pt x="25301" y="6235"/>
                  </a:cubicBezTo>
                  <a:cubicBezTo>
                    <a:pt x="25198" y="5874"/>
                    <a:pt x="24751" y="6424"/>
                    <a:pt x="25112" y="6373"/>
                  </a:cubicBezTo>
                  <a:cubicBezTo>
                    <a:pt x="24837" y="6596"/>
                    <a:pt x="25112" y="6373"/>
                    <a:pt x="25009" y="6596"/>
                  </a:cubicBezTo>
                  <a:cubicBezTo>
                    <a:pt x="24906" y="6819"/>
                    <a:pt x="24837" y="6596"/>
                    <a:pt x="24751" y="6596"/>
                  </a:cubicBezTo>
                  <a:cubicBezTo>
                    <a:pt x="24666" y="6596"/>
                    <a:pt x="24751" y="6957"/>
                    <a:pt x="24751" y="6768"/>
                  </a:cubicBezTo>
                  <a:cubicBezTo>
                    <a:pt x="24751" y="6871"/>
                    <a:pt x="25061" y="7128"/>
                    <a:pt x="24751" y="7180"/>
                  </a:cubicBezTo>
                  <a:cubicBezTo>
                    <a:pt x="24271" y="6750"/>
                    <a:pt x="24751" y="7575"/>
                    <a:pt x="24442" y="7489"/>
                  </a:cubicBezTo>
                  <a:cubicBezTo>
                    <a:pt x="23961" y="7729"/>
                    <a:pt x="24442" y="7060"/>
                    <a:pt x="24133" y="7489"/>
                  </a:cubicBezTo>
                  <a:cubicBezTo>
                    <a:pt x="24133" y="7283"/>
                    <a:pt x="23807" y="7609"/>
                    <a:pt x="23738" y="7626"/>
                  </a:cubicBezTo>
                  <a:cubicBezTo>
                    <a:pt x="24150" y="7626"/>
                    <a:pt x="23738" y="7764"/>
                    <a:pt x="23738" y="7781"/>
                  </a:cubicBezTo>
                  <a:cubicBezTo>
                    <a:pt x="24236" y="7781"/>
                    <a:pt x="23738" y="7918"/>
                    <a:pt x="23824" y="7987"/>
                  </a:cubicBezTo>
                  <a:cubicBezTo>
                    <a:pt x="24442" y="8090"/>
                    <a:pt x="23515" y="9705"/>
                    <a:pt x="23583" y="8262"/>
                  </a:cubicBezTo>
                  <a:cubicBezTo>
                    <a:pt x="23034" y="7901"/>
                    <a:pt x="23978" y="8657"/>
                    <a:pt x="23137" y="8520"/>
                  </a:cubicBezTo>
                  <a:cubicBezTo>
                    <a:pt x="23291" y="8640"/>
                    <a:pt x="22673" y="8777"/>
                    <a:pt x="22931" y="8726"/>
                  </a:cubicBezTo>
                  <a:cubicBezTo>
                    <a:pt x="23188" y="8674"/>
                    <a:pt x="23326" y="8915"/>
                    <a:pt x="22931" y="8846"/>
                  </a:cubicBezTo>
                  <a:cubicBezTo>
                    <a:pt x="22536" y="8777"/>
                    <a:pt x="24082" y="8846"/>
                    <a:pt x="23446" y="9121"/>
                  </a:cubicBezTo>
                  <a:cubicBezTo>
                    <a:pt x="23446" y="9121"/>
                    <a:pt x="23171" y="9327"/>
                    <a:pt x="23137" y="9275"/>
                  </a:cubicBezTo>
                  <a:cubicBezTo>
                    <a:pt x="23103" y="9224"/>
                    <a:pt x="21866" y="9859"/>
                    <a:pt x="21952" y="9396"/>
                  </a:cubicBezTo>
                  <a:cubicBezTo>
                    <a:pt x="22038" y="8932"/>
                    <a:pt x="21952" y="9636"/>
                    <a:pt x="21831" y="9653"/>
                  </a:cubicBezTo>
                  <a:cubicBezTo>
                    <a:pt x="21385" y="9688"/>
                    <a:pt x="20612" y="10529"/>
                    <a:pt x="20560" y="10117"/>
                  </a:cubicBezTo>
                  <a:close/>
                  <a:moveTo>
                    <a:pt x="23669" y="11440"/>
                  </a:moveTo>
                  <a:cubicBezTo>
                    <a:pt x="23669" y="11577"/>
                    <a:pt x="23463" y="11543"/>
                    <a:pt x="23412" y="11440"/>
                  </a:cubicBezTo>
                  <a:cubicBezTo>
                    <a:pt x="23360" y="11337"/>
                    <a:pt x="23223" y="11440"/>
                    <a:pt x="23274" y="11319"/>
                  </a:cubicBezTo>
                  <a:cubicBezTo>
                    <a:pt x="23326" y="11199"/>
                    <a:pt x="23188" y="11319"/>
                    <a:pt x="23274" y="11319"/>
                  </a:cubicBezTo>
                  <a:cubicBezTo>
                    <a:pt x="23173" y="11345"/>
                    <a:pt x="23067" y="11345"/>
                    <a:pt x="22965" y="11319"/>
                  </a:cubicBezTo>
                  <a:cubicBezTo>
                    <a:pt x="22965" y="11319"/>
                    <a:pt x="22965" y="11319"/>
                    <a:pt x="22965" y="11319"/>
                  </a:cubicBezTo>
                  <a:cubicBezTo>
                    <a:pt x="22965" y="11319"/>
                    <a:pt x="22965" y="11319"/>
                    <a:pt x="22965" y="11233"/>
                  </a:cubicBezTo>
                  <a:cubicBezTo>
                    <a:pt x="22965" y="11148"/>
                    <a:pt x="22965" y="11233"/>
                    <a:pt x="22965" y="11233"/>
                  </a:cubicBezTo>
                  <a:cubicBezTo>
                    <a:pt x="22965" y="11233"/>
                    <a:pt x="23120" y="11096"/>
                    <a:pt x="23206" y="11148"/>
                  </a:cubicBezTo>
                  <a:cubicBezTo>
                    <a:pt x="23291" y="11199"/>
                    <a:pt x="22948" y="11251"/>
                    <a:pt x="23206" y="11027"/>
                  </a:cubicBezTo>
                  <a:cubicBezTo>
                    <a:pt x="23206" y="11113"/>
                    <a:pt x="23051" y="11027"/>
                    <a:pt x="23206" y="10941"/>
                  </a:cubicBezTo>
                  <a:cubicBezTo>
                    <a:pt x="23360" y="10856"/>
                    <a:pt x="22948" y="10941"/>
                    <a:pt x="22948" y="10821"/>
                  </a:cubicBezTo>
                  <a:cubicBezTo>
                    <a:pt x="22948" y="10701"/>
                    <a:pt x="23206" y="10735"/>
                    <a:pt x="23223" y="10821"/>
                  </a:cubicBezTo>
                  <a:cubicBezTo>
                    <a:pt x="23240" y="10907"/>
                    <a:pt x="23395" y="10821"/>
                    <a:pt x="23412" y="10718"/>
                  </a:cubicBezTo>
                  <a:cubicBezTo>
                    <a:pt x="23429" y="10615"/>
                    <a:pt x="23291" y="10718"/>
                    <a:pt x="23412" y="10718"/>
                  </a:cubicBezTo>
                  <a:cubicBezTo>
                    <a:pt x="23532" y="10718"/>
                    <a:pt x="23291" y="10718"/>
                    <a:pt x="23412" y="10632"/>
                  </a:cubicBezTo>
                  <a:cubicBezTo>
                    <a:pt x="23532" y="10546"/>
                    <a:pt x="23412" y="10632"/>
                    <a:pt x="23412" y="10632"/>
                  </a:cubicBezTo>
                  <a:cubicBezTo>
                    <a:pt x="23412" y="10632"/>
                    <a:pt x="23412" y="10718"/>
                    <a:pt x="23412" y="10632"/>
                  </a:cubicBezTo>
                  <a:cubicBezTo>
                    <a:pt x="23412" y="10546"/>
                    <a:pt x="23412" y="10632"/>
                    <a:pt x="23412" y="10632"/>
                  </a:cubicBezTo>
                  <a:cubicBezTo>
                    <a:pt x="23223" y="10873"/>
                    <a:pt x="23120" y="10478"/>
                    <a:pt x="23291" y="10632"/>
                  </a:cubicBezTo>
                  <a:cubicBezTo>
                    <a:pt x="23463" y="10787"/>
                    <a:pt x="23291" y="10478"/>
                    <a:pt x="23291" y="10632"/>
                  </a:cubicBezTo>
                  <a:cubicBezTo>
                    <a:pt x="23291" y="10787"/>
                    <a:pt x="23291" y="10632"/>
                    <a:pt x="23291" y="10632"/>
                  </a:cubicBezTo>
                  <a:cubicBezTo>
                    <a:pt x="23291" y="10632"/>
                    <a:pt x="23291" y="10529"/>
                    <a:pt x="23291" y="10632"/>
                  </a:cubicBezTo>
                  <a:cubicBezTo>
                    <a:pt x="23291" y="10735"/>
                    <a:pt x="23291" y="10478"/>
                    <a:pt x="23291" y="10632"/>
                  </a:cubicBezTo>
                  <a:cubicBezTo>
                    <a:pt x="23291" y="10787"/>
                    <a:pt x="23412" y="10632"/>
                    <a:pt x="23291" y="10632"/>
                  </a:cubicBezTo>
                  <a:cubicBezTo>
                    <a:pt x="23171" y="10632"/>
                    <a:pt x="23395" y="10632"/>
                    <a:pt x="23291" y="10632"/>
                  </a:cubicBezTo>
                  <a:cubicBezTo>
                    <a:pt x="23188" y="10632"/>
                    <a:pt x="23120" y="10478"/>
                    <a:pt x="23291" y="10478"/>
                  </a:cubicBezTo>
                  <a:cubicBezTo>
                    <a:pt x="22999" y="10375"/>
                    <a:pt x="23395" y="10375"/>
                    <a:pt x="23291" y="10581"/>
                  </a:cubicBezTo>
                  <a:cubicBezTo>
                    <a:pt x="23291" y="10581"/>
                    <a:pt x="23291" y="10581"/>
                    <a:pt x="23291" y="10581"/>
                  </a:cubicBezTo>
                  <a:cubicBezTo>
                    <a:pt x="23291" y="10581"/>
                    <a:pt x="23291" y="10701"/>
                    <a:pt x="23291" y="10581"/>
                  </a:cubicBezTo>
                  <a:cubicBezTo>
                    <a:pt x="23302" y="10608"/>
                    <a:pt x="23302" y="10639"/>
                    <a:pt x="23291" y="10667"/>
                  </a:cubicBezTo>
                  <a:cubicBezTo>
                    <a:pt x="23291" y="10667"/>
                    <a:pt x="23291" y="10753"/>
                    <a:pt x="23291" y="10787"/>
                  </a:cubicBezTo>
                  <a:cubicBezTo>
                    <a:pt x="23291" y="10821"/>
                    <a:pt x="23291" y="10787"/>
                    <a:pt x="23291" y="10873"/>
                  </a:cubicBezTo>
                  <a:cubicBezTo>
                    <a:pt x="23311" y="10799"/>
                    <a:pt x="23361" y="10737"/>
                    <a:pt x="23429" y="10701"/>
                  </a:cubicBezTo>
                  <a:cubicBezTo>
                    <a:pt x="23429" y="10907"/>
                    <a:pt x="23429" y="10478"/>
                    <a:pt x="23601" y="10461"/>
                  </a:cubicBezTo>
                  <a:cubicBezTo>
                    <a:pt x="23772" y="10443"/>
                    <a:pt x="23601" y="10581"/>
                    <a:pt x="23601" y="10598"/>
                  </a:cubicBezTo>
                  <a:cubicBezTo>
                    <a:pt x="23601" y="10615"/>
                    <a:pt x="23687" y="10461"/>
                    <a:pt x="23790" y="10478"/>
                  </a:cubicBezTo>
                  <a:cubicBezTo>
                    <a:pt x="23832" y="10576"/>
                    <a:pt x="23832" y="10688"/>
                    <a:pt x="23790" y="10787"/>
                  </a:cubicBezTo>
                  <a:cubicBezTo>
                    <a:pt x="23893" y="10701"/>
                    <a:pt x="23790" y="10461"/>
                    <a:pt x="23961" y="10512"/>
                  </a:cubicBezTo>
                  <a:cubicBezTo>
                    <a:pt x="24133" y="10564"/>
                    <a:pt x="24116" y="10375"/>
                    <a:pt x="24099" y="10512"/>
                  </a:cubicBezTo>
                  <a:cubicBezTo>
                    <a:pt x="24082" y="10649"/>
                    <a:pt x="24356" y="10220"/>
                    <a:pt x="24322" y="10512"/>
                  </a:cubicBezTo>
                  <a:cubicBezTo>
                    <a:pt x="24288" y="10804"/>
                    <a:pt x="24442" y="10357"/>
                    <a:pt x="24528" y="10512"/>
                  </a:cubicBezTo>
                  <a:cubicBezTo>
                    <a:pt x="24614" y="10667"/>
                    <a:pt x="24356" y="10667"/>
                    <a:pt x="24528" y="10632"/>
                  </a:cubicBezTo>
                  <a:cubicBezTo>
                    <a:pt x="24700" y="10598"/>
                    <a:pt x="24425" y="10632"/>
                    <a:pt x="24528" y="10804"/>
                  </a:cubicBezTo>
                  <a:cubicBezTo>
                    <a:pt x="24631" y="10976"/>
                    <a:pt x="24528" y="10804"/>
                    <a:pt x="24528" y="10804"/>
                  </a:cubicBezTo>
                  <a:cubicBezTo>
                    <a:pt x="24751" y="10804"/>
                    <a:pt x="24614" y="10804"/>
                    <a:pt x="24528" y="10924"/>
                  </a:cubicBezTo>
                  <a:cubicBezTo>
                    <a:pt x="24442" y="11045"/>
                    <a:pt x="24528" y="11079"/>
                    <a:pt x="24528" y="11148"/>
                  </a:cubicBezTo>
                  <a:cubicBezTo>
                    <a:pt x="24374" y="10924"/>
                    <a:pt x="24528" y="11440"/>
                    <a:pt x="24288" y="11148"/>
                  </a:cubicBezTo>
                  <a:cubicBezTo>
                    <a:pt x="24288" y="11268"/>
                    <a:pt x="24064" y="11268"/>
                    <a:pt x="23978" y="11388"/>
                  </a:cubicBezTo>
                  <a:lnTo>
                    <a:pt x="23978" y="11388"/>
                  </a:lnTo>
                  <a:cubicBezTo>
                    <a:pt x="23978" y="11388"/>
                    <a:pt x="23841" y="11388"/>
                    <a:pt x="23790" y="11388"/>
                  </a:cubicBezTo>
                  <a:cubicBezTo>
                    <a:pt x="23738" y="11388"/>
                    <a:pt x="23790" y="11388"/>
                    <a:pt x="23790" y="11388"/>
                  </a:cubicBezTo>
                  <a:cubicBezTo>
                    <a:pt x="23790" y="11388"/>
                    <a:pt x="23738" y="11594"/>
                    <a:pt x="23669" y="11440"/>
                  </a:cubicBezTo>
                  <a:close/>
                  <a:moveTo>
                    <a:pt x="38184" y="41533"/>
                  </a:moveTo>
                  <a:cubicBezTo>
                    <a:pt x="38063" y="41224"/>
                    <a:pt x="38579" y="40880"/>
                    <a:pt x="38802" y="40640"/>
                  </a:cubicBezTo>
                  <a:cubicBezTo>
                    <a:pt x="39025" y="40399"/>
                    <a:pt x="39025" y="39729"/>
                    <a:pt x="39540" y="39523"/>
                  </a:cubicBezTo>
                  <a:lnTo>
                    <a:pt x="39540" y="39523"/>
                  </a:lnTo>
                  <a:cubicBezTo>
                    <a:pt x="39540" y="39523"/>
                    <a:pt x="39540" y="39523"/>
                    <a:pt x="39540" y="39523"/>
                  </a:cubicBezTo>
                  <a:cubicBezTo>
                    <a:pt x="39540" y="39523"/>
                    <a:pt x="39644" y="39523"/>
                    <a:pt x="39781" y="39386"/>
                  </a:cubicBezTo>
                  <a:cubicBezTo>
                    <a:pt x="39661" y="39678"/>
                    <a:pt x="40073" y="39077"/>
                    <a:pt x="39953" y="39386"/>
                  </a:cubicBezTo>
                  <a:cubicBezTo>
                    <a:pt x="39832" y="39695"/>
                    <a:pt x="39953" y="39386"/>
                    <a:pt x="39953" y="39386"/>
                  </a:cubicBezTo>
                  <a:cubicBezTo>
                    <a:pt x="39953" y="39386"/>
                    <a:pt x="39953" y="39386"/>
                    <a:pt x="39953" y="39248"/>
                  </a:cubicBezTo>
                  <a:cubicBezTo>
                    <a:pt x="39953" y="39111"/>
                    <a:pt x="40073" y="39248"/>
                    <a:pt x="39953" y="39248"/>
                  </a:cubicBezTo>
                  <a:lnTo>
                    <a:pt x="39953" y="39248"/>
                  </a:lnTo>
                  <a:cubicBezTo>
                    <a:pt x="39953" y="39248"/>
                    <a:pt x="39953" y="39248"/>
                    <a:pt x="39953" y="39369"/>
                  </a:cubicBezTo>
                  <a:cubicBezTo>
                    <a:pt x="39953" y="39489"/>
                    <a:pt x="40090" y="39197"/>
                    <a:pt x="40107" y="39266"/>
                  </a:cubicBezTo>
                  <a:cubicBezTo>
                    <a:pt x="40124" y="39334"/>
                    <a:pt x="40107" y="39266"/>
                    <a:pt x="40107" y="39145"/>
                  </a:cubicBezTo>
                  <a:cubicBezTo>
                    <a:pt x="40107" y="39025"/>
                    <a:pt x="40262" y="39145"/>
                    <a:pt x="40107" y="39042"/>
                  </a:cubicBezTo>
                  <a:cubicBezTo>
                    <a:pt x="39953" y="38939"/>
                    <a:pt x="40107" y="39145"/>
                    <a:pt x="40262" y="38939"/>
                  </a:cubicBezTo>
                  <a:cubicBezTo>
                    <a:pt x="40416" y="38733"/>
                    <a:pt x="40537" y="38733"/>
                    <a:pt x="40485" y="38561"/>
                  </a:cubicBezTo>
                  <a:cubicBezTo>
                    <a:pt x="40434" y="38389"/>
                    <a:pt x="40588" y="38561"/>
                    <a:pt x="40674" y="38441"/>
                  </a:cubicBezTo>
                  <a:cubicBezTo>
                    <a:pt x="40760" y="38321"/>
                    <a:pt x="40674" y="38664"/>
                    <a:pt x="40674" y="38664"/>
                  </a:cubicBezTo>
                  <a:cubicBezTo>
                    <a:pt x="41344" y="38922"/>
                    <a:pt x="37514" y="43560"/>
                    <a:pt x="38184" y="41533"/>
                  </a:cubicBezTo>
                  <a:close/>
                  <a:moveTo>
                    <a:pt x="49159" y="26589"/>
                  </a:moveTo>
                  <a:cubicBezTo>
                    <a:pt x="49159" y="26589"/>
                    <a:pt x="49159" y="26589"/>
                    <a:pt x="49159" y="26589"/>
                  </a:cubicBezTo>
                  <a:cubicBezTo>
                    <a:pt x="48810" y="27921"/>
                    <a:pt x="48552" y="29276"/>
                    <a:pt x="48386" y="30643"/>
                  </a:cubicBezTo>
                  <a:cubicBezTo>
                    <a:pt x="48386" y="30540"/>
                    <a:pt x="48215" y="30780"/>
                    <a:pt x="48215" y="30849"/>
                  </a:cubicBezTo>
                  <a:cubicBezTo>
                    <a:pt x="48026" y="31570"/>
                    <a:pt x="47579" y="26864"/>
                    <a:pt x="47613" y="26452"/>
                  </a:cubicBezTo>
                  <a:cubicBezTo>
                    <a:pt x="47459" y="26452"/>
                    <a:pt x="47613" y="26263"/>
                    <a:pt x="47613" y="26160"/>
                  </a:cubicBezTo>
                  <a:cubicBezTo>
                    <a:pt x="47613" y="26057"/>
                    <a:pt x="47528" y="26160"/>
                    <a:pt x="47528" y="26160"/>
                  </a:cubicBezTo>
                  <a:cubicBezTo>
                    <a:pt x="47528" y="26555"/>
                    <a:pt x="47373" y="27362"/>
                    <a:pt x="47098" y="26606"/>
                  </a:cubicBezTo>
                  <a:cubicBezTo>
                    <a:pt x="47098" y="26606"/>
                    <a:pt x="46909" y="26332"/>
                    <a:pt x="46995" y="26383"/>
                  </a:cubicBezTo>
                  <a:lnTo>
                    <a:pt x="46995" y="26383"/>
                  </a:lnTo>
                  <a:cubicBezTo>
                    <a:pt x="46995" y="26538"/>
                    <a:pt x="46995" y="26383"/>
                    <a:pt x="46995" y="26383"/>
                  </a:cubicBezTo>
                  <a:cubicBezTo>
                    <a:pt x="46995" y="26383"/>
                    <a:pt x="47201" y="26074"/>
                    <a:pt x="47081" y="26040"/>
                  </a:cubicBezTo>
                  <a:cubicBezTo>
                    <a:pt x="47081" y="26383"/>
                    <a:pt x="46583" y="26040"/>
                    <a:pt x="46806" y="25833"/>
                  </a:cubicBezTo>
                  <a:cubicBezTo>
                    <a:pt x="46806" y="25833"/>
                    <a:pt x="46806" y="25937"/>
                    <a:pt x="46686" y="25971"/>
                  </a:cubicBezTo>
                  <a:cubicBezTo>
                    <a:pt x="46566" y="26005"/>
                    <a:pt x="46686" y="25885"/>
                    <a:pt x="46549" y="25971"/>
                  </a:cubicBezTo>
                  <a:cubicBezTo>
                    <a:pt x="46411" y="26057"/>
                    <a:pt x="46549" y="25696"/>
                    <a:pt x="46428" y="25559"/>
                  </a:cubicBezTo>
                  <a:cubicBezTo>
                    <a:pt x="46239" y="25730"/>
                    <a:pt x="46428" y="25318"/>
                    <a:pt x="46119" y="25438"/>
                  </a:cubicBezTo>
                  <a:cubicBezTo>
                    <a:pt x="46119" y="25438"/>
                    <a:pt x="45965" y="25524"/>
                    <a:pt x="45913" y="25610"/>
                  </a:cubicBezTo>
                  <a:cubicBezTo>
                    <a:pt x="45861" y="25696"/>
                    <a:pt x="45810" y="25610"/>
                    <a:pt x="45741" y="25610"/>
                  </a:cubicBezTo>
                  <a:cubicBezTo>
                    <a:pt x="45673" y="25610"/>
                    <a:pt x="45604" y="25610"/>
                    <a:pt x="45552" y="25765"/>
                  </a:cubicBezTo>
                  <a:cubicBezTo>
                    <a:pt x="45501" y="25919"/>
                    <a:pt x="45552" y="25765"/>
                    <a:pt x="45432" y="25765"/>
                  </a:cubicBezTo>
                  <a:cubicBezTo>
                    <a:pt x="45312" y="25765"/>
                    <a:pt x="45260" y="25885"/>
                    <a:pt x="45209" y="25679"/>
                  </a:cubicBezTo>
                  <a:cubicBezTo>
                    <a:pt x="45209" y="25782"/>
                    <a:pt x="44814" y="25679"/>
                    <a:pt x="44728" y="25679"/>
                  </a:cubicBezTo>
                  <a:cubicBezTo>
                    <a:pt x="44642" y="25679"/>
                    <a:pt x="44573" y="25679"/>
                    <a:pt x="44453" y="25679"/>
                  </a:cubicBezTo>
                  <a:cubicBezTo>
                    <a:pt x="44178" y="24683"/>
                    <a:pt x="44144" y="25541"/>
                    <a:pt x="43663" y="25404"/>
                  </a:cubicBezTo>
                  <a:cubicBezTo>
                    <a:pt x="43560" y="25404"/>
                    <a:pt x="43251" y="25284"/>
                    <a:pt x="43285" y="25146"/>
                  </a:cubicBezTo>
                  <a:cubicBezTo>
                    <a:pt x="43319" y="25009"/>
                    <a:pt x="42838" y="25146"/>
                    <a:pt x="42804" y="24803"/>
                  </a:cubicBezTo>
                  <a:cubicBezTo>
                    <a:pt x="42804" y="24803"/>
                    <a:pt x="42684" y="24803"/>
                    <a:pt x="42804" y="24803"/>
                  </a:cubicBezTo>
                  <a:cubicBezTo>
                    <a:pt x="42632" y="24803"/>
                    <a:pt x="42564" y="24185"/>
                    <a:pt x="42375" y="24425"/>
                  </a:cubicBezTo>
                  <a:cubicBezTo>
                    <a:pt x="42375" y="24339"/>
                    <a:pt x="42220" y="24425"/>
                    <a:pt x="42272" y="24270"/>
                  </a:cubicBezTo>
                  <a:cubicBezTo>
                    <a:pt x="42323" y="24116"/>
                    <a:pt x="42272" y="24270"/>
                    <a:pt x="42272" y="24270"/>
                  </a:cubicBezTo>
                  <a:cubicBezTo>
                    <a:pt x="42272" y="24270"/>
                    <a:pt x="42272" y="24494"/>
                    <a:pt x="42272" y="24270"/>
                  </a:cubicBezTo>
                  <a:cubicBezTo>
                    <a:pt x="42272" y="24047"/>
                    <a:pt x="42272" y="24580"/>
                    <a:pt x="42100" y="24597"/>
                  </a:cubicBezTo>
                  <a:lnTo>
                    <a:pt x="42220" y="24597"/>
                  </a:lnTo>
                  <a:lnTo>
                    <a:pt x="42220" y="24597"/>
                  </a:lnTo>
                  <a:cubicBezTo>
                    <a:pt x="42220" y="24597"/>
                    <a:pt x="42220" y="24700"/>
                    <a:pt x="42220" y="24734"/>
                  </a:cubicBezTo>
                  <a:cubicBezTo>
                    <a:pt x="42220" y="24769"/>
                    <a:pt x="42220" y="24837"/>
                    <a:pt x="42220" y="24734"/>
                  </a:cubicBezTo>
                  <a:cubicBezTo>
                    <a:pt x="42259" y="24896"/>
                    <a:pt x="42365" y="25033"/>
                    <a:pt x="42512" y="25112"/>
                  </a:cubicBezTo>
                  <a:cubicBezTo>
                    <a:pt x="42512" y="25112"/>
                    <a:pt x="42821" y="25438"/>
                    <a:pt x="42770" y="25610"/>
                  </a:cubicBezTo>
                  <a:lnTo>
                    <a:pt x="42770" y="25610"/>
                  </a:lnTo>
                  <a:cubicBezTo>
                    <a:pt x="42993" y="25851"/>
                    <a:pt x="43027" y="26314"/>
                    <a:pt x="43045" y="25782"/>
                  </a:cubicBezTo>
                  <a:cubicBezTo>
                    <a:pt x="43045" y="25645"/>
                    <a:pt x="43045" y="25438"/>
                    <a:pt x="43165" y="25627"/>
                  </a:cubicBezTo>
                  <a:cubicBezTo>
                    <a:pt x="43133" y="25786"/>
                    <a:pt x="43133" y="25950"/>
                    <a:pt x="43165" y="26108"/>
                  </a:cubicBezTo>
                  <a:cubicBezTo>
                    <a:pt x="43165" y="26108"/>
                    <a:pt x="43165" y="26297"/>
                    <a:pt x="43165" y="26211"/>
                  </a:cubicBezTo>
                  <a:lnTo>
                    <a:pt x="43165" y="26366"/>
                  </a:lnTo>
                  <a:cubicBezTo>
                    <a:pt x="43371" y="26177"/>
                    <a:pt x="43646" y="26366"/>
                    <a:pt x="43766" y="26091"/>
                  </a:cubicBezTo>
                  <a:lnTo>
                    <a:pt x="43766" y="26091"/>
                  </a:lnTo>
                  <a:cubicBezTo>
                    <a:pt x="43766" y="25833"/>
                    <a:pt x="44024" y="25593"/>
                    <a:pt x="44058" y="25318"/>
                  </a:cubicBezTo>
                  <a:lnTo>
                    <a:pt x="44058" y="25318"/>
                  </a:lnTo>
                  <a:cubicBezTo>
                    <a:pt x="44058" y="25318"/>
                    <a:pt x="44058" y="25146"/>
                    <a:pt x="44058" y="25215"/>
                  </a:cubicBezTo>
                  <a:cubicBezTo>
                    <a:pt x="44058" y="25284"/>
                    <a:pt x="44058" y="25559"/>
                    <a:pt x="44058" y="25507"/>
                  </a:cubicBezTo>
                  <a:cubicBezTo>
                    <a:pt x="44058" y="25851"/>
                    <a:pt x="44247" y="26280"/>
                    <a:pt x="44642" y="26091"/>
                  </a:cubicBezTo>
                  <a:cubicBezTo>
                    <a:pt x="44947" y="26440"/>
                    <a:pt x="44947" y="26961"/>
                    <a:pt x="44642" y="27311"/>
                  </a:cubicBezTo>
                  <a:cubicBezTo>
                    <a:pt x="44642" y="27105"/>
                    <a:pt x="44487" y="27757"/>
                    <a:pt x="44642" y="27877"/>
                  </a:cubicBezTo>
                  <a:cubicBezTo>
                    <a:pt x="44230" y="27877"/>
                    <a:pt x="44505" y="28290"/>
                    <a:pt x="44109" y="28376"/>
                  </a:cubicBezTo>
                  <a:cubicBezTo>
                    <a:pt x="44109" y="28496"/>
                    <a:pt x="44109" y="28599"/>
                    <a:pt x="44109" y="28719"/>
                  </a:cubicBezTo>
                  <a:cubicBezTo>
                    <a:pt x="43847" y="28757"/>
                    <a:pt x="43612" y="28900"/>
                    <a:pt x="43457" y="29114"/>
                  </a:cubicBezTo>
                  <a:cubicBezTo>
                    <a:pt x="43457" y="29475"/>
                    <a:pt x="42924" y="29595"/>
                    <a:pt x="42684" y="29767"/>
                  </a:cubicBezTo>
                  <a:cubicBezTo>
                    <a:pt x="42443" y="29939"/>
                    <a:pt x="42495" y="30042"/>
                    <a:pt x="42357" y="29990"/>
                  </a:cubicBezTo>
                  <a:cubicBezTo>
                    <a:pt x="42248" y="30193"/>
                    <a:pt x="42016" y="30299"/>
                    <a:pt x="41791" y="30248"/>
                  </a:cubicBezTo>
                  <a:cubicBezTo>
                    <a:pt x="41649" y="30457"/>
                    <a:pt x="41423" y="30595"/>
                    <a:pt x="41172" y="30626"/>
                  </a:cubicBezTo>
                  <a:cubicBezTo>
                    <a:pt x="41035" y="30317"/>
                    <a:pt x="41172" y="29904"/>
                    <a:pt x="40897" y="29629"/>
                  </a:cubicBezTo>
                  <a:cubicBezTo>
                    <a:pt x="41155" y="29011"/>
                    <a:pt x="40262" y="28204"/>
                    <a:pt x="39850" y="27706"/>
                  </a:cubicBezTo>
                  <a:cubicBezTo>
                    <a:pt x="39850" y="27293"/>
                    <a:pt x="39747" y="26589"/>
                    <a:pt x="39283" y="26606"/>
                  </a:cubicBezTo>
                  <a:cubicBezTo>
                    <a:pt x="39111" y="25799"/>
                    <a:pt x="38166" y="25370"/>
                    <a:pt x="38338" y="24751"/>
                  </a:cubicBezTo>
                  <a:cubicBezTo>
                    <a:pt x="38218" y="24975"/>
                    <a:pt x="38338" y="25249"/>
                    <a:pt x="38201" y="25438"/>
                  </a:cubicBezTo>
                  <a:cubicBezTo>
                    <a:pt x="37948" y="25233"/>
                    <a:pt x="37727" y="24989"/>
                    <a:pt x="37548" y="24717"/>
                  </a:cubicBezTo>
                  <a:cubicBezTo>
                    <a:pt x="37840" y="25370"/>
                    <a:pt x="38304" y="26022"/>
                    <a:pt x="38682" y="26692"/>
                  </a:cubicBezTo>
                  <a:lnTo>
                    <a:pt x="38682" y="26692"/>
                  </a:lnTo>
                  <a:cubicBezTo>
                    <a:pt x="38718" y="26746"/>
                    <a:pt x="38765" y="26793"/>
                    <a:pt x="38819" y="26830"/>
                  </a:cubicBezTo>
                  <a:cubicBezTo>
                    <a:pt x="38819" y="26830"/>
                    <a:pt x="38716" y="26830"/>
                    <a:pt x="38699" y="26830"/>
                  </a:cubicBezTo>
                  <a:cubicBezTo>
                    <a:pt x="38699" y="27328"/>
                    <a:pt x="39231" y="27311"/>
                    <a:pt x="39317" y="27826"/>
                  </a:cubicBezTo>
                  <a:cubicBezTo>
                    <a:pt x="39180" y="27826"/>
                    <a:pt x="39420" y="28187"/>
                    <a:pt x="39317" y="28376"/>
                  </a:cubicBezTo>
                  <a:cubicBezTo>
                    <a:pt x="39214" y="28565"/>
                    <a:pt x="39644" y="28719"/>
                    <a:pt x="39712" y="28891"/>
                  </a:cubicBezTo>
                  <a:cubicBezTo>
                    <a:pt x="39781" y="29063"/>
                    <a:pt x="39884" y="29561"/>
                    <a:pt x="40021" y="29715"/>
                  </a:cubicBezTo>
                  <a:cubicBezTo>
                    <a:pt x="40159" y="29870"/>
                    <a:pt x="40142" y="30007"/>
                    <a:pt x="40021" y="29801"/>
                  </a:cubicBezTo>
                  <a:cubicBezTo>
                    <a:pt x="39901" y="29595"/>
                    <a:pt x="40021" y="30042"/>
                    <a:pt x="40193" y="29939"/>
                  </a:cubicBezTo>
                  <a:cubicBezTo>
                    <a:pt x="40571" y="29939"/>
                    <a:pt x="40708" y="30591"/>
                    <a:pt x="40932" y="30626"/>
                  </a:cubicBezTo>
                  <a:cubicBezTo>
                    <a:pt x="41155" y="30660"/>
                    <a:pt x="40932" y="30746"/>
                    <a:pt x="41035" y="30746"/>
                  </a:cubicBezTo>
                  <a:cubicBezTo>
                    <a:pt x="41037" y="30889"/>
                    <a:pt x="40935" y="31013"/>
                    <a:pt x="40794" y="31038"/>
                  </a:cubicBezTo>
                  <a:cubicBezTo>
                    <a:pt x="41035" y="31038"/>
                    <a:pt x="41086" y="31364"/>
                    <a:pt x="41327" y="31450"/>
                  </a:cubicBezTo>
                  <a:cubicBezTo>
                    <a:pt x="41782" y="31205"/>
                    <a:pt x="42267" y="31020"/>
                    <a:pt x="42770" y="30901"/>
                  </a:cubicBezTo>
                  <a:cubicBezTo>
                    <a:pt x="42857" y="30834"/>
                    <a:pt x="42933" y="30752"/>
                    <a:pt x="42993" y="30660"/>
                  </a:cubicBezTo>
                  <a:cubicBezTo>
                    <a:pt x="43165" y="30660"/>
                    <a:pt x="42993" y="31021"/>
                    <a:pt x="42993" y="31210"/>
                  </a:cubicBezTo>
                  <a:cubicBezTo>
                    <a:pt x="42993" y="31399"/>
                    <a:pt x="42993" y="31210"/>
                    <a:pt x="42993" y="31210"/>
                  </a:cubicBezTo>
                  <a:cubicBezTo>
                    <a:pt x="42684" y="33580"/>
                    <a:pt x="39163" y="34989"/>
                    <a:pt x="38922" y="37033"/>
                  </a:cubicBezTo>
                  <a:cubicBezTo>
                    <a:pt x="38922" y="37033"/>
                    <a:pt x="38716" y="37204"/>
                    <a:pt x="38802" y="37307"/>
                  </a:cubicBezTo>
                  <a:cubicBezTo>
                    <a:pt x="38888" y="37410"/>
                    <a:pt x="38596" y="37874"/>
                    <a:pt x="38802" y="38012"/>
                  </a:cubicBezTo>
                  <a:cubicBezTo>
                    <a:pt x="38630" y="38407"/>
                    <a:pt x="38493" y="38991"/>
                    <a:pt x="38355" y="39248"/>
                  </a:cubicBezTo>
                  <a:cubicBezTo>
                    <a:pt x="38218" y="39506"/>
                    <a:pt x="38149" y="39369"/>
                    <a:pt x="38355" y="39351"/>
                  </a:cubicBezTo>
                  <a:cubicBezTo>
                    <a:pt x="38063" y="39781"/>
                    <a:pt x="37514" y="39901"/>
                    <a:pt x="37119" y="40193"/>
                  </a:cubicBezTo>
                  <a:lnTo>
                    <a:pt x="37119" y="40193"/>
                  </a:lnTo>
                  <a:cubicBezTo>
                    <a:pt x="36902" y="40432"/>
                    <a:pt x="36622" y="40604"/>
                    <a:pt x="36311" y="40691"/>
                  </a:cubicBezTo>
                  <a:cubicBezTo>
                    <a:pt x="36339" y="40751"/>
                    <a:pt x="36339" y="40820"/>
                    <a:pt x="36311" y="40880"/>
                  </a:cubicBezTo>
                  <a:cubicBezTo>
                    <a:pt x="36311" y="40880"/>
                    <a:pt x="36311" y="41000"/>
                    <a:pt x="36311" y="41035"/>
                  </a:cubicBezTo>
                  <a:cubicBezTo>
                    <a:pt x="36311" y="41069"/>
                    <a:pt x="36311" y="41292"/>
                    <a:pt x="36311" y="41395"/>
                  </a:cubicBezTo>
                  <a:cubicBezTo>
                    <a:pt x="36311" y="41498"/>
                    <a:pt x="36311" y="41310"/>
                    <a:pt x="36311" y="41292"/>
                  </a:cubicBezTo>
                  <a:lnTo>
                    <a:pt x="36311" y="41292"/>
                  </a:lnTo>
                  <a:lnTo>
                    <a:pt x="36311" y="41292"/>
                  </a:lnTo>
                  <a:cubicBezTo>
                    <a:pt x="36311" y="41447"/>
                    <a:pt x="36122" y="41567"/>
                    <a:pt x="36054" y="41705"/>
                  </a:cubicBezTo>
                  <a:lnTo>
                    <a:pt x="36054" y="41705"/>
                  </a:lnTo>
                  <a:cubicBezTo>
                    <a:pt x="35865" y="42117"/>
                    <a:pt x="35126" y="41997"/>
                    <a:pt x="35006" y="42392"/>
                  </a:cubicBezTo>
                  <a:lnTo>
                    <a:pt x="35126" y="42392"/>
                  </a:lnTo>
                  <a:cubicBezTo>
                    <a:pt x="35084" y="42471"/>
                    <a:pt x="35025" y="42542"/>
                    <a:pt x="34954" y="42598"/>
                  </a:cubicBezTo>
                  <a:lnTo>
                    <a:pt x="34954" y="42598"/>
                  </a:lnTo>
                  <a:cubicBezTo>
                    <a:pt x="34162" y="43425"/>
                    <a:pt x="33158" y="44019"/>
                    <a:pt x="32051" y="44315"/>
                  </a:cubicBezTo>
                  <a:cubicBezTo>
                    <a:pt x="31588" y="44161"/>
                    <a:pt x="31124" y="44453"/>
                    <a:pt x="30660" y="44418"/>
                  </a:cubicBezTo>
                  <a:cubicBezTo>
                    <a:pt x="30660" y="44333"/>
                    <a:pt x="30660" y="44418"/>
                    <a:pt x="30660" y="44418"/>
                  </a:cubicBezTo>
                  <a:cubicBezTo>
                    <a:pt x="30660" y="44418"/>
                    <a:pt x="30557" y="44333"/>
                    <a:pt x="30660" y="44418"/>
                  </a:cubicBezTo>
                  <a:cubicBezTo>
                    <a:pt x="30763" y="44504"/>
                    <a:pt x="30798" y="44230"/>
                    <a:pt x="30660" y="44092"/>
                  </a:cubicBezTo>
                  <a:cubicBezTo>
                    <a:pt x="30987" y="43938"/>
                    <a:pt x="30660" y="43508"/>
                    <a:pt x="30660" y="43199"/>
                  </a:cubicBezTo>
                  <a:cubicBezTo>
                    <a:pt x="30128" y="42392"/>
                    <a:pt x="30437" y="41189"/>
                    <a:pt x="29836" y="40296"/>
                  </a:cubicBezTo>
                  <a:cubicBezTo>
                    <a:pt x="29836" y="39369"/>
                    <a:pt x="31210" y="38956"/>
                    <a:pt x="30591" y="38046"/>
                  </a:cubicBezTo>
                  <a:cubicBezTo>
                    <a:pt x="30866" y="37840"/>
                    <a:pt x="30591" y="37428"/>
                    <a:pt x="30471" y="37204"/>
                  </a:cubicBezTo>
                  <a:lnTo>
                    <a:pt x="30574" y="37204"/>
                  </a:lnTo>
                  <a:cubicBezTo>
                    <a:pt x="30574" y="37204"/>
                    <a:pt x="30334" y="37204"/>
                    <a:pt x="30454" y="37050"/>
                  </a:cubicBezTo>
                  <a:cubicBezTo>
                    <a:pt x="30248" y="36449"/>
                    <a:pt x="29561" y="36242"/>
                    <a:pt x="29423" y="35607"/>
                  </a:cubicBezTo>
                  <a:cubicBezTo>
                    <a:pt x="29578" y="35607"/>
                    <a:pt x="29612" y="35487"/>
                    <a:pt x="29630" y="35298"/>
                  </a:cubicBezTo>
                  <a:cubicBezTo>
                    <a:pt x="29647" y="35109"/>
                    <a:pt x="29767" y="35298"/>
                    <a:pt x="29819" y="35298"/>
                  </a:cubicBezTo>
                  <a:cubicBezTo>
                    <a:pt x="29741" y="35301"/>
                    <a:pt x="29670" y="35252"/>
                    <a:pt x="29647" y="35177"/>
                  </a:cubicBezTo>
                  <a:cubicBezTo>
                    <a:pt x="29767" y="35177"/>
                    <a:pt x="29750" y="35057"/>
                    <a:pt x="29647" y="35040"/>
                  </a:cubicBezTo>
                  <a:cubicBezTo>
                    <a:pt x="29897" y="34793"/>
                    <a:pt x="29972" y="34419"/>
                    <a:pt x="29836" y="34095"/>
                  </a:cubicBezTo>
                  <a:cubicBezTo>
                    <a:pt x="29681" y="34198"/>
                    <a:pt x="29612" y="34095"/>
                    <a:pt x="29612" y="33906"/>
                  </a:cubicBezTo>
                  <a:cubicBezTo>
                    <a:pt x="29559" y="33957"/>
                    <a:pt x="29477" y="33957"/>
                    <a:pt x="29423" y="33906"/>
                  </a:cubicBezTo>
                  <a:cubicBezTo>
                    <a:pt x="29269" y="34095"/>
                    <a:pt x="28771" y="34078"/>
                    <a:pt x="28496" y="34044"/>
                  </a:cubicBezTo>
                  <a:cubicBezTo>
                    <a:pt x="28118" y="32807"/>
                    <a:pt x="26778" y="33529"/>
                    <a:pt x="25937" y="33821"/>
                  </a:cubicBezTo>
                  <a:cubicBezTo>
                    <a:pt x="24219" y="33305"/>
                    <a:pt x="23961" y="34490"/>
                    <a:pt x="22501" y="32687"/>
                  </a:cubicBezTo>
                  <a:cubicBezTo>
                    <a:pt x="22330" y="32687"/>
                    <a:pt x="22364" y="32429"/>
                    <a:pt x="22226" y="32361"/>
                  </a:cubicBezTo>
                  <a:cubicBezTo>
                    <a:pt x="22089" y="32292"/>
                    <a:pt x="22226" y="32240"/>
                    <a:pt x="22226" y="32137"/>
                  </a:cubicBezTo>
                  <a:cubicBezTo>
                    <a:pt x="22226" y="32034"/>
                    <a:pt x="21883" y="31897"/>
                    <a:pt x="21986" y="31828"/>
                  </a:cubicBezTo>
                  <a:cubicBezTo>
                    <a:pt x="21608" y="31828"/>
                    <a:pt x="21814" y="31485"/>
                    <a:pt x="21591" y="31536"/>
                  </a:cubicBezTo>
                  <a:cubicBezTo>
                    <a:pt x="21368" y="31588"/>
                    <a:pt x="21591" y="31450"/>
                    <a:pt x="21436" y="31450"/>
                  </a:cubicBezTo>
                  <a:lnTo>
                    <a:pt x="21436" y="31450"/>
                  </a:lnTo>
                  <a:lnTo>
                    <a:pt x="21436" y="31450"/>
                  </a:lnTo>
                  <a:cubicBezTo>
                    <a:pt x="21436" y="31450"/>
                    <a:pt x="21436" y="31450"/>
                    <a:pt x="21436" y="31347"/>
                  </a:cubicBezTo>
                  <a:cubicBezTo>
                    <a:pt x="21436" y="31244"/>
                    <a:pt x="21625" y="31347"/>
                    <a:pt x="21642" y="31347"/>
                  </a:cubicBezTo>
                  <a:cubicBezTo>
                    <a:pt x="21660" y="31347"/>
                    <a:pt x="21076" y="31347"/>
                    <a:pt x="21247" y="31158"/>
                  </a:cubicBezTo>
                  <a:cubicBezTo>
                    <a:pt x="21110" y="31158"/>
                    <a:pt x="21076" y="31158"/>
                    <a:pt x="21041" y="30986"/>
                  </a:cubicBezTo>
                  <a:cubicBezTo>
                    <a:pt x="21007" y="30815"/>
                    <a:pt x="21162" y="30986"/>
                    <a:pt x="21213" y="30986"/>
                  </a:cubicBezTo>
                  <a:cubicBezTo>
                    <a:pt x="21265" y="30986"/>
                    <a:pt x="21076" y="30986"/>
                    <a:pt x="21024" y="30986"/>
                  </a:cubicBezTo>
                  <a:cubicBezTo>
                    <a:pt x="20973" y="30986"/>
                    <a:pt x="21024" y="30849"/>
                    <a:pt x="21024" y="30780"/>
                  </a:cubicBezTo>
                  <a:cubicBezTo>
                    <a:pt x="21024" y="30712"/>
                    <a:pt x="21179" y="30935"/>
                    <a:pt x="21299" y="30780"/>
                  </a:cubicBezTo>
                  <a:cubicBezTo>
                    <a:pt x="21419" y="30626"/>
                    <a:pt x="21024" y="30694"/>
                    <a:pt x="21144" y="30626"/>
                  </a:cubicBezTo>
                  <a:lnTo>
                    <a:pt x="21144" y="30626"/>
                  </a:lnTo>
                  <a:cubicBezTo>
                    <a:pt x="21144" y="30626"/>
                    <a:pt x="20990" y="30368"/>
                    <a:pt x="20921" y="30299"/>
                  </a:cubicBezTo>
                  <a:cubicBezTo>
                    <a:pt x="21365" y="29847"/>
                    <a:pt x="21523" y="29187"/>
                    <a:pt x="21333" y="28582"/>
                  </a:cubicBezTo>
                  <a:cubicBezTo>
                    <a:pt x="21471" y="28582"/>
                    <a:pt x="21333" y="28393"/>
                    <a:pt x="21436" y="28358"/>
                  </a:cubicBezTo>
                  <a:cubicBezTo>
                    <a:pt x="21539" y="28324"/>
                    <a:pt x="21265" y="28255"/>
                    <a:pt x="21247" y="28135"/>
                  </a:cubicBezTo>
                  <a:lnTo>
                    <a:pt x="21247" y="28221"/>
                  </a:lnTo>
                  <a:cubicBezTo>
                    <a:pt x="21228" y="27927"/>
                    <a:pt x="21357" y="27644"/>
                    <a:pt x="21591" y="27465"/>
                  </a:cubicBezTo>
                  <a:cubicBezTo>
                    <a:pt x="21952" y="26297"/>
                    <a:pt x="23103" y="25833"/>
                    <a:pt x="23927" y="25043"/>
                  </a:cubicBezTo>
                  <a:cubicBezTo>
                    <a:pt x="23935" y="24883"/>
                    <a:pt x="23935" y="24723"/>
                    <a:pt x="23927" y="24562"/>
                  </a:cubicBezTo>
                  <a:cubicBezTo>
                    <a:pt x="23927" y="24373"/>
                    <a:pt x="24288" y="24288"/>
                    <a:pt x="24133" y="24081"/>
                  </a:cubicBezTo>
                  <a:cubicBezTo>
                    <a:pt x="24677" y="23812"/>
                    <a:pt x="25139" y="23403"/>
                    <a:pt x="25473" y="22896"/>
                  </a:cubicBezTo>
                  <a:cubicBezTo>
                    <a:pt x="25473" y="23240"/>
                    <a:pt x="26005" y="23223"/>
                    <a:pt x="26194" y="23102"/>
                  </a:cubicBezTo>
                  <a:cubicBezTo>
                    <a:pt x="26521" y="23497"/>
                    <a:pt x="27225" y="22828"/>
                    <a:pt x="27586" y="22725"/>
                  </a:cubicBezTo>
                  <a:cubicBezTo>
                    <a:pt x="27946" y="22621"/>
                    <a:pt x="28771" y="22725"/>
                    <a:pt x="29063" y="22587"/>
                  </a:cubicBezTo>
                  <a:cubicBezTo>
                    <a:pt x="29355" y="22450"/>
                    <a:pt x="29286" y="22828"/>
                    <a:pt x="29372" y="22587"/>
                  </a:cubicBezTo>
                  <a:cubicBezTo>
                    <a:pt x="29647" y="22828"/>
                    <a:pt x="29939" y="22450"/>
                    <a:pt x="30162" y="22587"/>
                  </a:cubicBezTo>
                  <a:cubicBezTo>
                    <a:pt x="30162" y="22398"/>
                    <a:pt x="30299" y="22725"/>
                    <a:pt x="30385" y="22776"/>
                  </a:cubicBezTo>
                  <a:cubicBezTo>
                    <a:pt x="30746" y="22415"/>
                    <a:pt x="30488" y="22862"/>
                    <a:pt x="30385" y="23017"/>
                  </a:cubicBezTo>
                  <a:cubicBezTo>
                    <a:pt x="31021" y="23446"/>
                    <a:pt x="29956" y="23618"/>
                    <a:pt x="30385" y="23910"/>
                  </a:cubicBezTo>
                  <a:cubicBezTo>
                    <a:pt x="30385" y="23910"/>
                    <a:pt x="30385" y="23910"/>
                    <a:pt x="30506" y="23910"/>
                  </a:cubicBezTo>
                  <a:cubicBezTo>
                    <a:pt x="30626" y="23910"/>
                    <a:pt x="30506" y="23824"/>
                    <a:pt x="30506" y="23910"/>
                  </a:cubicBezTo>
                  <a:cubicBezTo>
                    <a:pt x="30677" y="24322"/>
                    <a:pt x="31313" y="24013"/>
                    <a:pt x="31622" y="24236"/>
                  </a:cubicBezTo>
                  <a:cubicBezTo>
                    <a:pt x="34851" y="26469"/>
                    <a:pt x="32343" y="23566"/>
                    <a:pt x="34473" y="24236"/>
                  </a:cubicBezTo>
                  <a:cubicBezTo>
                    <a:pt x="34834" y="24580"/>
                    <a:pt x="35641" y="24477"/>
                    <a:pt x="36191" y="24700"/>
                  </a:cubicBezTo>
                  <a:cubicBezTo>
                    <a:pt x="36741" y="24923"/>
                    <a:pt x="36724" y="24597"/>
                    <a:pt x="37084" y="24494"/>
                  </a:cubicBezTo>
                  <a:cubicBezTo>
                    <a:pt x="36844" y="24580"/>
                    <a:pt x="37084" y="24494"/>
                    <a:pt x="37187" y="24494"/>
                  </a:cubicBezTo>
                  <a:cubicBezTo>
                    <a:pt x="37290" y="24494"/>
                    <a:pt x="37187" y="24494"/>
                    <a:pt x="37187" y="24494"/>
                  </a:cubicBezTo>
                  <a:cubicBezTo>
                    <a:pt x="37187" y="24494"/>
                    <a:pt x="37411" y="24494"/>
                    <a:pt x="37462" y="24494"/>
                  </a:cubicBezTo>
                  <a:cubicBezTo>
                    <a:pt x="37514" y="24494"/>
                    <a:pt x="37565" y="24614"/>
                    <a:pt x="37565" y="24665"/>
                  </a:cubicBezTo>
                  <a:cubicBezTo>
                    <a:pt x="37565" y="24717"/>
                    <a:pt x="37565" y="24562"/>
                    <a:pt x="37565" y="24494"/>
                  </a:cubicBezTo>
                  <a:cubicBezTo>
                    <a:pt x="38733" y="24889"/>
                    <a:pt x="38338" y="22776"/>
                    <a:pt x="38407" y="22381"/>
                  </a:cubicBezTo>
                  <a:cubicBezTo>
                    <a:pt x="38218" y="22536"/>
                    <a:pt x="37892" y="22381"/>
                    <a:pt x="37840" y="22656"/>
                  </a:cubicBezTo>
                  <a:cubicBezTo>
                    <a:pt x="37496" y="23051"/>
                    <a:pt x="36775" y="22106"/>
                    <a:pt x="36775" y="22656"/>
                  </a:cubicBezTo>
                  <a:cubicBezTo>
                    <a:pt x="36620" y="22656"/>
                    <a:pt x="36225" y="22828"/>
                    <a:pt x="36277" y="22536"/>
                  </a:cubicBezTo>
                  <a:cubicBezTo>
                    <a:pt x="36277" y="22536"/>
                    <a:pt x="36277" y="22536"/>
                    <a:pt x="36140" y="22536"/>
                  </a:cubicBezTo>
                  <a:cubicBezTo>
                    <a:pt x="36002" y="22536"/>
                    <a:pt x="35951" y="22690"/>
                    <a:pt x="35933" y="22536"/>
                  </a:cubicBezTo>
                  <a:lnTo>
                    <a:pt x="35727" y="22536"/>
                  </a:lnTo>
                  <a:cubicBezTo>
                    <a:pt x="35727" y="22450"/>
                    <a:pt x="35951" y="22536"/>
                    <a:pt x="35951" y="22398"/>
                  </a:cubicBezTo>
                  <a:cubicBezTo>
                    <a:pt x="35951" y="22261"/>
                    <a:pt x="35556" y="22501"/>
                    <a:pt x="35762" y="22398"/>
                  </a:cubicBezTo>
                  <a:cubicBezTo>
                    <a:pt x="35521" y="22244"/>
                    <a:pt x="35762" y="22106"/>
                    <a:pt x="35401" y="22020"/>
                  </a:cubicBezTo>
                  <a:cubicBezTo>
                    <a:pt x="35040" y="21934"/>
                    <a:pt x="35401" y="21883"/>
                    <a:pt x="35401" y="21831"/>
                  </a:cubicBezTo>
                  <a:cubicBezTo>
                    <a:pt x="35401" y="21780"/>
                    <a:pt x="35401" y="21952"/>
                    <a:pt x="35573" y="21831"/>
                  </a:cubicBezTo>
                  <a:lnTo>
                    <a:pt x="35573" y="21831"/>
                  </a:lnTo>
                  <a:cubicBezTo>
                    <a:pt x="35573" y="21831"/>
                    <a:pt x="35710" y="21831"/>
                    <a:pt x="35676" y="21694"/>
                  </a:cubicBezTo>
                  <a:cubicBezTo>
                    <a:pt x="35641" y="21557"/>
                    <a:pt x="35504" y="21522"/>
                    <a:pt x="35676" y="21488"/>
                  </a:cubicBezTo>
                  <a:cubicBezTo>
                    <a:pt x="35195" y="21660"/>
                    <a:pt x="35435" y="20938"/>
                    <a:pt x="35779" y="21179"/>
                  </a:cubicBezTo>
                  <a:cubicBezTo>
                    <a:pt x="35779" y="21041"/>
                    <a:pt x="36071" y="21179"/>
                    <a:pt x="36225" y="21179"/>
                  </a:cubicBezTo>
                  <a:cubicBezTo>
                    <a:pt x="35916" y="21058"/>
                    <a:pt x="36363" y="21076"/>
                    <a:pt x="36397" y="20990"/>
                  </a:cubicBezTo>
                  <a:cubicBezTo>
                    <a:pt x="35676" y="20766"/>
                    <a:pt x="36775" y="20869"/>
                    <a:pt x="36827" y="20784"/>
                  </a:cubicBezTo>
                  <a:cubicBezTo>
                    <a:pt x="36964" y="20406"/>
                    <a:pt x="37479" y="20457"/>
                    <a:pt x="37788" y="20371"/>
                  </a:cubicBezTo>
                  <a:cubicBezTo>
                    <a:pt x="37788" y="20543"/>
                    <a:pt x="37960" y="20560"/>
                    <a:pt x="38063" y="20371"/>
                  </a:cubicBezTo>
                  <a:cubicBezTo>
                    <a:pt x="38166" y="20182"/>
                    <a:pt x="38201" y="20663"/>
                    <a:pt x="38287" y="20526"/>
                  </a:cubicBezTo>
                  <a:cubicBezTo>
                    <a:pt x="40760" y="21024"/>
                    <a:pt x="38991" y="19324"/>
                    <a:pt x="37857" y="19049"/>
                  </a:cubicBezTo>
                  <a:cubicBezTo>
                    <a:pt x="37857" y="19049"/>
                    <a:pt x="37857" y="19049"/>
                    <a:pt x="37857" y="18911"/>
                  </a:cubicBezTo>
                  <a:cubicBezTo>
                    <a:pt x="37857" y="18774"/>
                    <a:pt x="38063" y="18911"/>
                    <a:pt x="37977" y="18791"/>
                  </a:cubicBezTo>
                  <a:cubicBezTo>
                    <a:pt x="37892" y="18671"/>
                    <a:pt x="38201" y="18637"/>
                    <a:pt x="37977" y="18551"/>
                  </a:cubicBezTo>
                  <a:cubicBezTo>
                    <a:pt x="37754" y="18465"/>
                    <a:pt x="37874" y="18551"/>
                    <a:pt x="37857" y="18448"/>
                  </a:cubicBezTo>
                  <a:cubicBezTo>
                    <a:pt x="37840" y="18345"/>
                    <a:pt x="38029" y="18448"/>
                    <a:pt x="38029" y="18448"/>
                  </a:cubicBezTo>
                  <a:cubicBezTo>
                    <a:pt x="38029" y="18448"/>
                    <a:pt x="38166" y="18310"/>
                    <a:pt x="38132" y="18224"/>
                  </a:cubicBezTo>
                  <a:cubicBezTo>
                    <a:pt x="38098" y="18138"/>
                    <a:pt x="37651" y="18224"/>
                    <a:pt x="37548" y="18499"/>
                  </a:cubicBezTo>
                  <a:cubicBezTo>
                    <a:pt x="37548" y="18499"/>
                    <a:pt x="37445" y="18585"/>
                    <a:pt x="37359" y="18499"/>
                  </a:cubicBezTo>
                  <a:cubicBezTo>
                    <a:pt x="37273" y="18413"/>
                    <a:pt x="37256" y="18499"/>
                    <a:pt x="37204" y="18499"/>
                  </a:cubicBezTo>
                  <a:cubicBezTo>
                    <a:pt x="37153" y="18499"/>
                    <a:pt x="37204" y="18774"/>
                    <a:pt x="37204" y="18705"/>
                  </a:cubicBezTo>
                  <a:cubicBezTo>
                    <a:pt x="37204" y="18637"/>
                    <a:pt x="37204" y="18585"/>
                    <a:pt x="37204" y="18568"/>
                  </a:cubicBezTo>
                  <a:cubicBezTo>
                    <a:pt x="37204" y="18551"/>
                    <a:pt x="36964" y="18722"/>
                    <a:pt x="36878" y="18791"/>
                  </a:cubicBezTo>
                  <a:cubicBezTo>
                    <a:pt x="36792" y="18860"/>
                    <a:pt x="37170" y="18791"/>
                    <a:pt x="37136" y="18946"/>
                  </a:cubicBezTo>
                  <a:cubicBezTo>
                    <a:pt x="37101" y="19100"/>
                    <a:pt x="37136" y="18946"/>
                    <a:pt x="37136" y="18946"/>
                  </a:cubicBezTo>
                  <a:cubicBezTo>
                    <a:pt x="37136" y="18946"/>
                    <a:pt x="37136" y="19066"/>
                    <a:pt x="37325" y="19049"/>
                  </a:cubicBezTo>
                  <a:cubicBezTo>
                    <a:pt x="37514" y="19032"/>
                    <a:pt x="37016" y="18825"/>
                    <a:pt x="37084" y="18705"/>
                  </a:cubicBezTo>
                  <a:cubicBezTo>
                    <a:pt x="37153" y="18585"/>
                    <a:pt x="37273" y="18980"/>
                    <a:pt x="37393" y="19014"/>
                  </a:cubicBezTo>
                  <a:cubicBezTo>
                    <a:pt x="37514" y="19049"/>
                    <a:pt x="37393" y="19014"/>
                    <a:pt x="37514" y="19014"/>
                  </a:cubicBezTo>
                  <a:cubicBezTo>
                    <a:pt x="37634" y="19014"/>
                    <a:pt x="37617" y="18929"/>
                    <a:pt x="37685" y="18929"/>
                  </a:cubicBezTo>
                  <a:cubicBezTo>
                    <a:pt x="37754" y="18929"/>
                    <a:pt x="37685" y="19152"/>
                    <a:pt x="37462" y="19100"/>
                  </a:cubicBezTo>
                  <a:cubicBezTo>
                    <a:pt x="37239" y="19049"/>
                    <a:pt x="36861" y="19650"/>
                    <a:pt x="36912" y="19100"/>
                  </a:cubicBezTo>
                  <a:cubicBezTo>
                    <a:pt x="36775" y="18980"/>
                    <a:pt x="36466" y="19100"/>
                    <a:pt x="36758" y="18860"/>
                  </a:cubicBezTo>
                  <a:cubicBezTo>
                    <a:pt x="37050" y="18619"/>
                    <a:pt x="36620" y="18602"/>
                    <a:pt x="36500" y="18740"/>
                  </a:cubicBezTo>
                  <a:cubicBezTo>
                    <a:pt x="36380" y="18877"/>
                    <a:pt x="36311" y="18740"/>
                    <a:pt x="36380" y="18619"/>
                  </a:cubicBezTo>
                  <a:cubicBezTo>
                    <a:pt x="36449" y="18499"/>
                    <a:pt x="36191" y="18619"/>
                    <a:pt x="36157" y="18619"/>
                  </a:cubicBezTo>
                  <a:cubicBezTo>
                    <a:pt x="36122" y="18619"/>
                    <a:pt x="36380" y="18619"/>
                    <a:pt x="36449" y="18619"/>
                  </a:cubicBezTo>
                  <a:cubicBezTo>
                    <a:pt x="36396" y="18670"/>
                    <a:pt x="36313" y="18670"/>
                    <a:pt x="36260" y="18619"/>
                  </a:cubicBezTo>
                  <a:cubicBezTo>
                    <a:pt x="36260" y="18791"/>
                    <a:pt x="36122" y="18619"/>
                    <a:pt x="36088" y="18740"/>
                  </a:cubicBezTo>
                  <a:cubicBezTo>
                    <a:pt x="36054" y="18860"/>
                    <a:pt x="36088" y="18929"/>
                    <a:pt x="35916" y="18946"/>
                  </a:cubicBezTo>
                  <a:cubicBezTo>
                    <a:pt x="35744" y="18963"/>
                    <a:pt x="35916" y="19221"/>
                    <a:pt x="35796" y="19083"/>
                  </a:cubicBezTo>
                  <a:cubicBezTo>
                    <a:pt x="35916" y="19392"/>
                    <a:pt x="35796" y="19409"/>
                    <a:pt x="35607" y="19598"/>
                  </a:cubicBezTo>
                  <a:cubicBezTo>
                    <a:pt x="35418" y="19787"/>
                    <a:pt x="35607" y="19856"/>
                    <a:pt x="35607" y="19993"/>
                  </a:cubicBezTo>
                  <a:cubicBezTo>
                    <a:pt x="35607" y="20131"/>
                    <a:pt x="35401" y="20097"/>
                    <a:pt x="35470" y="20251"/>
                  </a:cubicBezTo>
                  <a:cubicBezTo>
                    <a:pt x="35538" y="20406"/>
                    <a:pt x="35607" y="20440"/>
                    <a:pt x="35607" y="20698"/>
                  </a:cubicBezTo>
                  <a:cubicBezTo>
                    <a:pt x="35607" y="20955"/>
                    <a:pt x="36054" y="20835"/>
                    <a:pt x="35899" y="20990"/>
                  </a:cubicBezTo>
                  <a:cubicBezTo>
                    <a:pt x="35744" y="21144"/>
                    <a:pt x="35435" y="21144"/>
                    <a:pt x="35212" y="21333"/>
                  </a:cubicBezTo>
                  <a:cubicBezTo>
                    <a:pt x="35212" y="21230"/>
                    <a:pt x="35212" y="21179"/>
                    <a:pt x="35315" y="21144"/>
                  </a:cubicBezTo>
                  <a:cubicBezTo>
                    <a:pt x="35109" y="21144"/>
                    <a:pt x="34851" y="20887"/>
                    <a:pt x="34731" y="21144"/>
                  </a:cubicBezTo>
                  <a:cubicBezTo>
                    <a:pt x="34559" y="21144"/>
                    <a:pt x="34611" y="21144"/>
                    <a:pt x="34491" y="21230"/>
                  </a:cubicBezTo>
                  <a:cubicBezTo>
                    <a:pt x="34370" y="21316"/>
                    <a:pt x="34491" y="21333"/>
                    <a:pt x="34611" y="21385"/>
                  </a:cubicBezTo>
                  <a:cubicBezTo>
                    <a:pt x="34731" y="21436"/>
                    <a:pt x="34422" y="21299"/>
                    <a:pt x="34439" y="21385"/>
                  </a:cubicBezTo>
                  <a:cubicBezTo>
                    <a:pt x="34456" y="21471"/>
                    <a:pt x="34559" y="21385"/>
                    <a:pt x="34439" y="21471"/>
                  </a:cubicBezTo>
                  <a:cubicBezTo>
                    <a:pt x="34319" y="21557"/>
                    <a:pt x="34164" y="21350"/>
                    <a:pt x="34439" y="21471"/>
                  </a:cubicBezTo>
                  <a:cubicBezTo>
                    <a:pt x="34302" y="21471"/>
                    <a:pt x="34250" y="21333"/>
                    <a:pt x="34164" y="21282"/>
                  </a:cubicBezTo>
                  <a:cubicBezTo>
                    <a:pt x="34078" y="21230"/>
                    <a:pt x="33924" y="21402"/>
                    <a:pt x="34164" y="21522"/>
                  </a:cubicBezTo>
                  <a:cubicBezTo>
                    <a:pt x="34405" y="21642"/>
                    <a:pt x="34542" y="21986"/>
                    <a:pt x="34164" y="21728"/>
                  </a:cubicBezTo>
                  <a:cubicBezTo>
                    <a:pt x="34164" y="21728"/>
                    <a:pt x="34164" y="21728"/>
                    <a:pt x="34164" y="21728"/>
                  </a:cubicBezTo>
                  <a:cubicBezTo>
                    <a:pt x="34164" y="21728"/>
                    <a:pt x="34164" y="21849"/>
                    <a:pt x="34164" y="21831"/>
                  </a:cubicBezTo>
                  <a:cubicBezTo>
                    <a:pt x="34353" y="21969"/>
                    <a:pt x="34680" y="22020"/>
                    <a:pt x="34662" y="22295"/>
                  </a:cubicBezTo>
                  <a:cubicBezTo>
                    <a:pt x="34542" y="22295"/>
                    <a:pt x="34473" y="22175"/>
                    <a:pt x="34336" y="22295"/>
                  </a:cubicBezTo>
                  <a:cubicBezTo>
                    <a:pt x="34199" y="22415"/>
                    <a:pt x="34645" y="22536"/>
                    <a:pt x="34456" y="22467"/>
                  </a:cubicBezTo>
                  <a:cubicBezTo>
                    <a:pt x="34267" y="22398"/>
                    <a:pt x="34456" y="22467"/>
                    <a:pt x="34456" y="22467"/>
                  </a:cubicBezTo>
                  <a:cubicBezTo>
                    <a:pt x="34456" y="22467"/>
                    <a:pt x="34456" y="22707"/>
                    <a:pt x="34456" y="22776"/>
                  </a:cubicBezTo>
                  <a:cubicBezTo>
                    <a:pt x="34456" y="22845"/>
                    <a:pt x="34216" y="22587"/>
                    <a:pt x="34250" y="22776"/>
                  </a:cubicBezTo>
                  <a:cubicBezTo>
                    <a:pt x="34250" y="22621"/>
                    <a:pt x="34147" y="22639"/>
                    <a:pt x="34078" y="22518"/>
                  </a:cubicBezTo>
                  <a:cubicBezTo>
                    <a:pt x="34010" y="22398"/>
                    <a:pt x="34078" y="22604"/>
                    <a:pt x="34078" y="22656"/>
                  </a:cubicBezTo>
                  <a:cubicBezTo>
                    <a:pt x="33988" y="22604"/>
                    <a:pt x="33946" y="22498"/>
                    <a:pt x="33975" y="22398"/>
                  </a:cubicBezTo>
                  <a:cubicBezTo>
                    <a:pt x="33855" y="22295"/>
                    <a:pt x="33666" y="22226"/>
                    <a:pt x="33855" y="22089"/>
                  </a:cubicBezTo>
                  <a:cubicBezTo>
                    <a:pt x="34044" y="21952"/>
                    <a:pt x="34199" y="22261"/>
                    <a:pt x="34353" y="22089"/>
                  </a:cubicBezTo>
                  <a:cubicBezTo>
                    <a:pt x="34216" y="22089"/>
                    <a:pt x="34061" y="21917"/>
                    <a:pt x="33958" y="22089"/>
                  </a:cubicBezTo>
                  <a:cubicBezTo>
                    <a:pt x="33855" y="22261"/>
                    <a:pt x="33838" y="21969"/>
                    <a:pt x="33786" y="22089"/>
                  </a:cubicBezTo>
                  <a:cubicBezTo>
                    <a:pt x="33546" y="21849"/>
                    <a:pt x="33374" y="21471"/>
                    <a:pt x="33065" y="21316"/>
                  </a:cubicBezTo>
                  <a:cubicBezTo>
                    <a:pt x="33065" y="21127"/>
                    <a:pt x="33065" y="20921"/>
                    <a:pt x="33065" y="20732"/>
                  </a:cubicBezTo>
                  <a:cubicBezTo>
                    <a:pt x="32859" y="20732"/>
                    <a:pt x="32739" y="20457"/>
                    <a:pt x="32584" y="20320"/>
                  </a:cubicBezTo>
                  <a:cubicBezTo>
                    <a:pt x="32429" y="20182"/>
                    <a:pt x="32326" y="20320"/>
                    <a:pt x="32275" y="20320"/>
                  </a:cubicBezTo>
                  <a:cubicBezTo>
                    <a:pt x="32223" y="20320"/>
                    <a:pt x="32275" y="20320"/>
                    <a:pt x="32395" y="20320"/>
                  </a:cubicBezTo>
                  <a:cubicBezTo>
                    <a:pt x="32515" y="20320"/>
                    <a:pt x="32103" y="20062"/>
                    <a:pt x="31931" y="20131"/>
                  </a:cubicBezTo>
                  <a:cubicBezTo>
                    <a:pt x="31759" y="20200"/>
                    <a:pt x="31416" y="19839"/>
                    <a:pt x="31742" y="19856"/>
                  </a:cubicBezTo>
                  <a:cubicBezTo>
                    <a:pt x="31347" y="19616"/>
                    <a:pt x="31536" y="19135"/>
                    <a:pt x="31175" y="19633"/>
                  </a:cubicBezTo>
                  <a:cubicBezTo>
                    <a:pt x="31175" y="19530"/>
                    <a:pt x="31038" y="19409"/>
                    <a:pt x="31175" y="19306"/>
                  </a:cubicBezTo>
                  <a:cubicBezTo>
                    <a:pt x="31313" y="19203"/>
                    <a:pt x="30832" y="19306"/>
                    <a:pt x="30746" y="19427"/>
                  </a:cubicBezTo>
                  <a:cubicBezTo>
                    <a:pt x="30746" y="19942"/>
                    <a:pt x="31347" y="20268"/>
                    <a:pt x="31656" y="20681"/>
                  </a:cubicBezTo>
                  <a:cubicBezTo>
                    <a:pt x="31811" y="20681"/>
                    <a:pt x="32223" y="20681"/>
                    <a:pt x="31983" y="20887"/>
                  </a:cubicBezTo>
                  <a:cubicBezTo>
                    <a:pt x="32223" y="21024"/>
                    <a:pt x="32979" y="21161"/>
                    <a:pt x="32807" y="21539"/>
                  </a:cubicBezTo>
                  <a:cubicBezTo>
                    <a:pt x="32653" y="21539"/>
                    <a:pt x="32807" y="21282"/>
                    <a:pt x="32532" y="21333"/>
                  </a:cubicBezTo>
                  <a:cubicBezTo>
                    <a:pt x="32258" y="21385"/>
                    <a:pt x="32258" y="21539"/>
                    <a:pt x="32309" y="21625"/>
                  </a:cubicBezTo>
                  <a:cubicBezTo>
                    <a:pt x="32670" y="21728"/>
                    <a:pt x="32309" y="21934"/>
                    <a:pt x="32309" y="22141"/>
                  </a:cubicBezTo>
                  <a:cubicBezTo>
                    <a:pt x="32309" y="22347"/>
                    <a:pt x="31845" y="22415"/>
                    <a:pt x="32086" y="22141"/>
                  </a:cubicBezTo>
                  <a:cubicBezTo>
                    <a:pt x="32197" y="21856"/>
                    <a:pt x="32069" y="21534"/>
                    <a:pt x="31794" y="21402"/>
                  </a:cubicBezTo>
                  <a:cubicBezTo>
                    <a:pt x="31639" y="21402"/>
                    <a:pt x="31794" y="21282"/>
                    <a:pt x="31656" y="21230"/>
                  </a:cubicBezTo>
                  <a:cubicBezTo>
                    <a:pt x="31518" y="21226"/>
                    <a:pt x="31393" y="21147"/>
                    <a:pt x="31330" y="21024"/>
                  </a:cubicBezTo>
                  <a:cubicBezTo>
                    <a:pt x="30317" y="21024"/>
                    <a:pt x="30145" y="18980"/>
                    <a:pt x="29080" y="20217"/>
                  </a:cubicBezTo>
                  <a:cubicBezTo>
                    <a:pt x="29080" y="20423"/>
                    <a:pt x="28736" y="20217"/>
                    <a:pt x="28633" y="20114"/>
                  </a:cubicBezTo>
                  <a:cubicBezTo>
                    <a:pt x="27568" y="19993"/>
                    <a:pt x="28633" y="20921"/>
                    <a:pt x="27448" y="21093"/>
                  </a:cubicBezTo>
                  <a:cubicBezTo>
                    <a:pt x="27534" y="21093"/>
                    <a:pt x="27448" y="21265"/>
                    <a:pt x="27448" y="21213"/>
                  </a:cubicBezTo>
                  <a:cubicBezTo>
                    <a:pt x="26744" y="21763"/>
                    <a:pt x="27448" y="21728"/>
                    <a:pt x="27191" y="22003"/>
                  </a:cubicBezTo>
                  <a:cubicBezTo>
                    <a:pt x="26950" y="22003"/>
                    <a:pt x="27070" y="22450"/>
                    <a:pt x="26847" y="22398"/>
                  </a:cubicBezTo>
                  <a:cubicBezTo>
                    <a:pt x="26418" y="22862"/>
                    <a:pt x="25919" y="22398"/>
                    <a:pt x="25421" y="22896"/>
                  </a:cubicBezTo>
                  <a:cubicBezTo>
                    <a:pt x="25095" y="22896"/>
                    <a:pt x="25147" y="22192"/>
                    <a:pt x="24700" y="22501"/>
                  </a:cubicBezTo>
                  <a:cubicBezTo>
                    <a:pt x="24700" y="22501"/>
                    <a:pt x="24494" y="22364"/>
                    <a:pt x="24408" y="22501"/>
                  </a:cubicBezTo>
                  <a:cubicBezTo>
                    <a:pt x="24426" y="22310"/>
                    <a:pt x="24460" y="22120"/>
                    <a:pt x="24511" y="21934"/>
                  </a:cubicBezTo>
                  <a:cubicBezTo>
                    <a:pt x="24185" y="21934"/>
                    <a:pt x="24511" y="21934"/>
                    <a:pt x="24511" y="21763"/>
                  </a:cubicBezTo>
                  <a:cubicBezTo>
                    <a:pt x="24099" y="22020"/>
                    <a:pt x="24614" y="21299"/>
                    <a:pt x="24631" y="21144"/>
                  </a:cubicBezTo>
                  <a:cubicBezTo>
                    <a:pt x="24648" y="20990"/>
                    <a:pt x="24631" y="20595"/>
                    <a:pt x="24734" y="20457"/>
                  </a:cubicBezTo>
                  <a:lnTo>
                    <a:pt x="24734" y="20457"/>
                  </a:lnTo>
                  <a:cubicBezTo>
                    <a:pt x="24734" y="20457"/>
                    <a:pt x="24734" y="20457"/>
                    <a:pt x="24734" y="20337"/>
                  </a:cubicBezTo>
                  <a:cubicBezTo>
                    <a:pt x="24734" y="20217"/>
                    <a:pt x="24734" y="20337"/>
                    <a:pt x="24734" y="20234"/>
                  </a:cubicBezTo>
                  <a:cubicBezTo>
                    <a:pt x="24734" y="20131"/>
                    <a:pt x="24940" y="20097"/>
                    <a:pt x="25026" y="20045"/>
                  </a:cubicBezTo>
                  <a:cubicBezTo>
                    <a:pt x="25112" y="19993"/>
                    <a:pt x="25404" y="20045"/>
                    <a:pt x="25490" y="20045"/>
                  </a:cubicBezTo>
                  <a:cubicBezTo>
                    <a:pt x="25851" y="20045"/>
                    <a:pt x="26246" y="20217"/>
                    <a:pt x="26607" y="20131"/>
                  </a:cubicBezTo>
                  <a:cubicBezTo>
                    <a:pt x="27242" y="20629"/>
                    <a:pt x="26847" y="18911"/>
                    <a:pt x="27276" y="19564"/>
                  </a:cubicBezTo>
                  <a:cubicBezTo>
                    <a:pt x="27276" y="19461"/>
                    <a:pt x="27173" y="19306"/>
                    <a:pt x="27053" y="19289"/>
                  </a:cubicBezTo>
                  <a:cubicBezTo>
                    <a:pt x="27225" y="19066"/>
                    <a:pt x="26899" y="19014"/>
                    <a:pt x="26813" y="18860"/>
                  </a:cubicBezTo>
                  <a:cubicBezTo>
                    <a:pt x="26727" y="18705"/>
                    <a:pt x="26813" y="18619"/>
                    <a:pt x="26950" y="18722"/>
                  </a:cubicBezTo>
                  <a:cubicBezTo>
                    <a:pt x="26847" y="18568"/>
                    <a:pt x="26727" y="18825"/>
                    <a:pt x="26727" y="18551"/>
                  </a:cubicBezTo>
                  <a:cubicBezTo>
                    <a:pt x="26607" y="18551"/>
                    <a:pt x="26400" y="18345"/>
                    <a:pt x="26229" y="18465"/>
                  </a:cubicBezTo>
                  <a:cubicBezTo>
                    <a:pt x="26057" y="18585"/>
                    <a:pt x="26229" y="18465"/>
                    <a:pt x="26229" y="18345"/>
                  </a:cubicBezTo>
                  <a:cubicBezTo>
                    <a:pt x="26229" y="18224"/>
                    <a:pt x="26332" y="18190"/>
                    <a:pt x="26229" y="18345"/>
                  </a:cubicBezTo>
                  <a:cubicBezTo>
                    <a:pt x="26126" y="18499"/>
                    <a:pt x="26229" y="18345"/>
                    <a:pt x="26229" y="18345"/>
                  </a:cubicBezTo>
                  <a:cubicBezTo>
                    <a:pt x="25851" y="18224"/>
                    <a:pt x="26435" y="18207"/>
                    <a:pt x="26555" y="18121"/>
                  </a:cubicBezTo>
                  <a:cubicBezTo>
                    <a:pt x="26692" y="18293"/>
                    <a:pt x="26795" y="18121"/>
                    <a:pt x="27019" y="18241"/>
                  </a:cubicBezTo>
                  <a:cubicBezTo>
                    <a:pt x="26989" y="18096"/>
                    <a:pt x="26949" y="17952"/>
                    <a:pt x="26899" y="17812"/>
                  </a:cubicBezTo>
                  <a:cubicBezTo>
                    <a:pt x="26899" y="17812"/>
                    <a:pt x="27053" y="17812"/>
                    <a:pt x="27105" y="17812"/>
                  </a:cubicBezTo>
                  <a:cubicBezTo>
                    <a:pt x="27156" y="17812"/>
                    <a:pt x="27397" y="18001"/>
                    <a:pt x="27500" y="17812"/>
                  </a:cubicBezTo>
                  <a:cubicBezTo>
                    <a:pt x="27259" y="17623"/>
                    <a:pt x="27775" y="17709"/>
                    <a:pt x="27775" y="17606"/>
                  </a:cubicBezTo>
                  <a:cubicBezTo>
                    <a:pt x="27775" y="17503"/>
                    <a:pt x="27860" y="17383"/>
                    <a:pt x="27895" y="17280"/>
                  </a:cubicBezTo>
                  <a:cubicBezTo>
                    <a:pt x="27929" y="17177"/>
                    <a:pt x="28204" y="16988"/>
                    <a:pt x="28444" y="17125"/>
                  </a:cubicBezTo>
                  <a:cubicBezTo>
                    <a:pt x="28273" y="17125"/>
                    <a:pt x="28221" y="16919"/>
                    <a:pt x="28444" y="17125"/>
                  </a:cubicBezTo>
                  <a:cubicBezTo>
                    <a:pt x="28668" y="17331"/>
                    <a:pt x="28324" y="17005"/>
                    <a:pt x="28547" y="17022"/>
                  </a:cubicBezTo>
                  <a:cubicBezTo>
                    <a:pt x="28187" y="16764"/>
                    <a:pt x="28925" y="16112"/>
                    <a:pt x="29286" y="16438"/>
                  </a:cubicBezTo>
                  <a:cubicBezTo>
                    <a:pt x="29028" y="16249"/>
                    <a:pt x="29389" y="16112"/>
                    <a:pt x="29458" y="16438"/>
                  </a:cubicBezTo>
                  <a:cubicBezTo>
                    <a:pt x="29458" y="16197"/>
                    <a:pt x="29458" y="16438"/>
                    <a:pt x="29595" y="16438"/>
                  </a:cubicBezTo>
                  <a:cubicBezTo>
                    <a:pt x="29441" y="16026"/>
                    <a:pt x="29750" y="16232"/>
                    <a:pt x="29956" y="16301"/>
                  </a:cubicBezTo>
                  <a:cubicBezTo>
                    <a:pt x="29389" y="16043"/>
                    <a:pt x="29544" y="15493"/>
                    <a:pt x="29389" y="15115"/>
                  </a:cubicBezTo>
                  <a:cubicBezTo>
                    <a:pt x="29630" y="15115"/>
                    <a:pt x="29527" y="14961"/>
                    <a:pt x="29664" y="15115"/>
                  </a:cubicBezTo>
                  <a:cubicBezTo>
                    <a:pt x="29664" y="14634"/>
                    <a:pt x="29836" y="15115"/>
                    <a:pt x="30025" y="15115"/>
                  </a:cubicBezTo>
                  <a:cubicBezTo>
                    <a:pt x="30025" y="15373"/>
                    <a:pt x="29527" y="15528"/>
                    <a:pt x="29922" y="16009"/>
                  </a:cubicBezTo>
                  <a:cubicBezTo>
                    <a:pt x="29922" y="15888"/>
                    <a:pt x="30334" y="16009"/>
                    <a:pt x="30059" y="16094"/>
                  </a:cubicBezTo>
                  <a:cubicBezTo>
                    <a:pt x="30591" y="16094"/>
                    <a:pt x="30385" y="15768"/>
                    <a:pt x="30883" y="16094"/>
                  </a:cubicBezTo>
                  <a:cubicBezTo>
                    <a:pt x="31124" y="16472"/>
                    <a:pt x="31656" y="15356"/>
                    <a:pt x="32103" y="15768"/>
                  </a:cubicBezTo>
                  <a:cubicBezTo>
                    <a:pt x="31828" y="15768"/>
                    <a:pt x="32103" y="16043"/>
                    <a:pt x="32326" y="15768"/>
                  </a:cubicBezTo>
                  <a:cubicBezTo>
                    <a:pt x="32299" y="15829"/>
                    <a:pt x="32250" y="15878"/>
                    <a:pt x="32189" y="15905"/>
                  </a:cubicBezTo>
                  <a:cubicBezTo>
                    <a:pt x="34078" y="15820"/>
                    <a:pt x="31656" y="15270"/>
                    <a:pt x="32704" y="14497"/>
                  </a:cubicBezTo>
                  <a:cubicBezTo>
                    <a:pt x="33082" y="15081"/>
                    <a:pt x="33202" y="14686"/>
                    <a:pt x="33031" y="14222"/>
                  </a:cubicBezTo>
                  <a:cubicBezTo>
                    <a:pt x="33031" y="14428"/>
                    <a:pt x="32739" y="14222"/>
                    <a:pt x="32842" y="14068"/>
                  </a:cubicBezTo>
                  <a:cubicBezTo>
                    <a:pt x="32532" y="14068"/>
                    <a:pt x="32842" y="13758"/>
                    <a:pt x="32842" y="13690"/>
                  </a:cubicBezTo>
                  <a:cubicBezTo>
                    <a:pt x="32842" y="13621"/>
                    <a:pt x="33082" y="13690"/>
                    <a:pt x="32979" y="13690"/>
                  </a:cubicBezTo>
                  <a:lnTo>
                    <a:pt x="33615" y="13793"/>
                  </a:lnTo>
                  <a:cubicBezTo>
                    <a:pt x="33426" y="13501"/>
                    <a:pt x="33615" y="13690"/>
                    <a:pt x="33752" y="13466"/>
                  </a:cubicBezTo>
                  <a:cubicBezTo>
                    <a:pt x="33889" y="13243"/>
                    <a:pt x="33305" y="13363"/>
                    <a:pt x="33546" y="13192"/>
                  </a:cubicBezTo>
                  <a:cubicBezTo>
                    <a:pt x="33546" y="13192"/>
                    <a:pt x="33426" y="13295"/>
                    <a:pt x="33408" y="13192"/>
                  </a:cubicBezTo>
                  <a:cubicBezTo>
                    <a:pt x="33408" y="13346"/>
                    <a:pt x="33099" y="13363"/>
                    <a:pt x="33031" y="13312"/>
                  </a:cubicBezTo>
                  <a:cubicBezTo>
                    <a:pt x="32962" y="13260"/>
                    <a:pt x="33031" y="13312"/>
                    <a:pt x="33031" y="13312"/>
                  </a:cubicBezTo>
                  <a:cubicBezTo>
                    <a:pt x="33031" y="13312"/>
                    <a:pt x="33031" y="13552"/>
                    <a:pt x="33031" y="13312"/>
                  </a:cubicBezTo>
                  <a:cubicBezTo>
                    <a:pt x="33031" y="13449"/>
                    <a:pt x="32601" y="13466"/>
                    <a:pt x="32567" y="13621"/>
                  </a:cubicBezTo>
                  <a:cubicBezTo>
                    <a:pt x="32567" y="13312"/>
                    <a:pt x="32412" y="13415"/>
                    <a:pt x="32172" y="13260"/>
                  </a:cubicBezTo>
                  <a:cubicBezTo>
                    <a:pt x="31931" y="13106"/>
                    <a:pt x="31691" y="12144"/>
                    <a:pt x="31914" y="12058"/>
                  </a:cubicBezTo>
                  <a:cubicBezTo>
                    <a:pt x="32137" y="11972"/>
                    <a:pt x="31914" y="11972"/>
                    <a:pt x="32017" y="12058"/>
                  </a:cubicBezTo>
                  <a:cubicBezTo>
                    <a:pt x="32120" y="12144"/>
                    <a:pt x="32017" y="11921"/>
                    <a:pt x="32017" y="11817"/>
                  </a:cubicBezTo>
                  <a:cubicBezTo>
                    <a:pt x="32017" y="11714"/>
                    <a:pt x="32240" y="11354"/>
                    <a:pt x="32309" y="11457"/>
                  </a:cubicBezTo>
                  <a:cubicBezTo>
                    <a:pt x="32103" y="11010"/>
                    <a:pt x="31708" y="11148"/>
                    <a:pt x="31502" y="11182"/>
                  </a:cubicBezTo>
                  <a:cubicBezTo>
                    <a:pt x="31622" y="11354"/>
                    <a:pt x="31502" y="11577"/>
                    <a:pt x="31656" y="11714"/>
                  </a:cubicBezTo>
                  <a:cubicBezTo>
                    <a:pt x="31532" y="12056"/>
                    <a:pt x="31318" y="12359"/>
                    <a:pt x="31038" y="12590"/>
                  </a:cubicBezTo>
                  <a:cubicBezTo>
                    <a:pt x="31158" y="12676"/>
                    <a:pt x="31038" y="12848"/>
                    <a:pt x="31175" y="12968"/>
                  </a:cubicBezTo>
                  <a:cubicBezTo>
                    <a:pt x="30883" y="13123"/>
                    <a:pt x="32189" y="13999"/>
                    <a:pt x="31382" y="13793"/>
                  </a:cubicBezTo>
                  <a:cubicBezTo>
                    <a:pt x="31382" y="13793"/>
                    <a:pt x="30901" y="13793"/>
                    <a:pt x="31210" y="13913"/>
                  </a:cubicBezTo>
                  <a:cubicBezTo>
                    <a:pt x="31519" y="14033"/>
                    <a:pt x="31811" y="14119"/>
                    <a:pt x="31485" y="14050"/>
                  </a:cubicBezTo>
                  <a:cubicBezTo>
                    <a:pt x="31485" y="14050"/>
                    <a:pt x="31485" y="14257"/>
                    <a:pt x="31364" y="14188"/>
                  </a:cubicBezTo>
                  <a:cubicBezTo>
                    <a:pt x="31244" y="14119"/>
                    <a:pt x="31467" y="14325"/>
                    <a:pt x="31364" y="14342"/>
                  </a:cubicBezTo>
                  <a:cubicBezTo>
                    <a:pt x="31485" y="14342"/>
                    <a:pt x="31519" y="14600"/>
                    <a:pt x="31364" y="14514"/>
                  </a:cubicBezTo>
                  <a:cubicBezTo>
                    <a:pt x="31502" y="14789"/>
                    <a:pt x="31519" y="15510"/>
                    <a:pt x="31090" y="15236"/>
                  </a:cubicBezTo>
                  <a:cubicBezTo>
                    <a:pt x="30815" y="16301"/>
                    <a:pt x="30059" y="14153"/>
                    <a:pt x="30162" y="14050"/>
                  </a:cubicBezTo>
                  <a:cubicBezTo>
                    <a:pt x="29990" y="13947"/>
                    <a:pt x="29939" y="13844"/>
                    <a:pt x="29939" y="13810"/>
                  </a:cubicBezTo>
                  <a:cubicBezTo>
                    <a:pt x="29958" y="13906"/>
                    <a:pt x="29958" y="14006"/>
                    <a:pt x="29939" y="14102"/>
                  </a:cubicBezTo>
                  <a:cubicBezTo>
                    <a:pt x="29939" y="14102"/>
                    <a:pt x="29939" y="14102"/>
                    <a:pt x="29733" y="13965"/>
                  </a:cubicBezTo>
                  <a:cubicBezTo>
                    <a:pt x="29733" y="14119"/>
                    <a:pt x="29733" y="14360"/>
                    <a:pt x="29595" y="14291"/>
                  </a:cubicBezTo>
                  <a:cubicBezTo>
                    <a:pt x="29733" y="14463"/>
                    <a:pt x="29286" y="14583"/>
                    <a:pt x="29183" y="14428"/>
                  </a:cubicBezTo>
                  <a:cubicBezTo>
                    <a:pt x="29080" y="14549"/>
                    <a:pt x="28651" y="14050"/>
                    <a:pt x="29183" y="14102"/>
                  </a:cubicBezTo>
                  <a:cubicBezTo>
                    <a:pt x="28960" y="14102"/>
                    <a:pt x="29183" y="13999"/>
                    <a:pt x="29011" y="13879"/>
                  </a:cubicBezTo>
                  <a:cubicBezTo>
                    <a:pt x="29011" y="14188"/>
                    <a:pt x="28771" y="13690"/>
                    <a:pt x="29011" y="13879"/>
                  </a:cubicBezTo>
                  <a:cubicBezTo>
                    <a:pt x="29252" y="14068"/>
                    <a:pt x="29011" y="13879"/>
                    <a:pt x="29166" y="13776"/>
                  </a:cubicBezTo>
                  <a:cubicBezTo>
                    <a:pt x="28960" y="13776"/>
                    <a:pt x="29166" y="13449"/>
                    <a:pt x="29166" y="13655"/>
                  </a:cubicBezTo>
                  <a:cubicBezTo>
                    <a:pt x="29118" y="13609"/>
                    <a:pt x="29118" y="13533"/>
                    <a:pt x="29164" y="13485"/>
                  </a:cubicBezTo>
                  <a:cubicBezTo>
                    <a:pt x="29165" y="13485"/>
                    <a:pt x="29165" y="13484"/>
                    <a:pt x="29166" y="13484"/>
                  </a:cubicBezTo>
                  <a:cubicBezTo>
                    <a:pt x="28943" y="13569"/>
                    <a:pt x="28822" y="13724"/>
                    <a:pt x="28943" y="13484"/>
                  </a:cubicBezTo>
                  <a:cubicBezTo>
                    <a:pt x="28788" y="13484"/>
                    <a:pt x="28736" y="13569"/>
                    <a:pt x="28943" y="13381"/>
                  </a:cubicBezTo>
                  <a:cubicBezTo>
                    <a:pt x="28599" y="13243"/>
                    <a:pt x="29544" y="13484"/>
                    <a:pt x="29355" y="13157"/>
                  </a:cubicBezTo>
                  <a:cubicBezTo>
                    <a:pt x="29355" y="13329"/>
                    <a:pt x="28582" y="13295"/>
                    <a:pt x="28994" y="13157"/>
                  </a:cubicBezTo>
                  <a:cubicBezTo>
                    <a:pt x="28651" y="13157"/>
                    <a:pt x="28994" y="13037"/>
                    <a:pt x="29183" y="13020"/>
                  </a:cubicBezTo>
                  <a:cubicBezTo>
                    <a:pt x="28822" y="13020"/>
                    <a:pt x="28754" y="12831"/>
                    <a:pt x="29046" y="12917"/>
                  </a:cubicBezTo>
                  <a:cubicBezTo>
                    <a:pt x="28960" y="12917"/>
                    <a:pt x="29046" y="12779"/>
                    <a:pt x="29183" y="12917"/>
                  </a:cubicBezTo>
                  <a:lnTo>
                    <a:pt x="29183" y="12797"/>
                  </a:lnTo>
                  <a:cubicBezTo>
                    <a:pt x="29183" y="12797"/>
                    <a:pt x="29183" y="12797"/>
                    <a:pt x="29441" y="12797"/>
                  </a:cubicBezTo>
                  <a:cubicBezTo>
                    <a:pt x="29114" y="12797"/>
                    <a:pt x="29303" y="12590"/>
                    <a:pt x="29578" y="12797"/>
                  </a:cubicBezTo>
                  <a:cubicBezTo>
                    <a:pt x="29217" y="12505"/>
                    <a:pt x="29578" y="12797"/>
                    <a:pt x="29578" y="12676"/>
                  </a:cubicBezTo>
                  <a:cubicBezTo>
                    <a:pt x="29578" y="12556"/>
                    <a:pt x="29922" y="12213"/>
                    <a:pt x="29767" y="12676"/>
                  </a:cubicBezTo>
                  <a:cubicBezTo>
                    <a:pt x="30007" y="12539"/>
                    <a:pt x="29973" y="12539"/>
                    <a:pt x="30059" y="12298"/>
                  </a:cubicBezTo>
                  <a:cubicBezTo>
                    <a:pt x="30145" y="12058"/>
                    <a:pt x="29784" y="12814"/>
                    <a:pt x="29801" y="12419"/>
                  </a:cubicBezTo>
                  <a:cubicBezTo>
                    <a:pt x="29664" y="12522"/>
                    <a:pt x="29801" y="12161"/>
                    <a:pt x="29801" y="12195"/>
                  </a:cubicBezTo>
                  <a:cubicBezTo>
                    <a:pt x="29801" y="12230"/>
                    <a:pt x="29990" y="12006"/>
                    <a:pt x="30145" y="11766"/>
                  </a:cubicBezTo>
                  <a:cubicBezTo>
                    <a:pt x="29990" y="11886"/>
                    <a:pt x="30059" y="11525"/>
                    <a:pt x="30145" y="11611"/>
                  </a:cubicBezTo>
                  <a:cubicBezTo>
                    <a:pt x="30231" y="11697"/>
                    <a:pt x="30145" y="11440"/>
                    <a:pt x="30145" y="11525"/>
                  </a:cubicBezTo>
                  <a:cubicBezTo>
                    <a:pt x="30042" y="11319"/>
                    <a:pt x="30145" y="11440"/>
                    <a:pt x="30145" y="11337"/>
                  </a:cubicBezTo>
                  <a:cubicBezTo>
                    <a:pt x="29939" y="11337"/>
                    <a:pt x="30145" y="11233"/>
                    <a:pt x="30025" y="11148"/>
                  </a:cubicBezTo>
                  <a:cubicBezTo>
                    <a:pt x="29904" y="11062"/>
                    <a:pt x="30025" y="10821"/>
                    <a:pt x="30334" y="10976"/>
                  </a:cubicBezTo>
                  <a:cubicBezTo>
                    <a:pt x="30179" y="10890"/>
                    <a:pt x="30111" y="10735"/>
                    <a:pt x="30334" y="10838"/>
                  </a:cubicBezTo>
                  <a:cubicBezTo>
                    <a:pt x="30557" y="10941"/>
                    <a:pt x="30162" y="10701"/>
                    <a:pt x="30334" y="10684"/>
                  </a:cubicBezTo>
                  <a:cubicBezTo>
                    <a:pt x="30042" y="10684"/>
                    <a:pt x="30334" y="10684"/>
                    <a:pt x="30334" y="10478"/>
                  </a:cubicBezTo>
                  <a:cubicBezTo>
                    <a:pt x="30523" y="10478"/>
                    <a:pt x="30488" y="10478"/>
                    <a:pt x="30506" y="10478"/>
                  </a:cubicBezTo>
                  <a:cubicBezTo>
                    <a:pt x="30918" y="10564"/>
                    <a:pt x="30214" y="10323"/>
                    <a:pt x="30506" y="10323"/>
                  </a:cubicBezTo>
                  <a:cubicBezTo>
                    <a:pt x="30506" y="10323"/>
                    <a:pt x="30506" y="10220"/>
                    <a:pt x="30506" y="10220"/>
                  </a:cubicBezTo>
                  <a:cubicBezTo>
                    <a:pt x="30506" y="10220"/>
                    <a:pt x="30506" y="9911"/>
                    <a:pt x="30609" y="10117"/>
                  </a:cubicBezTo>
                  <a:cubicBezTo>
                    <a:pt x="30712" y="10323"/>
                    <a:pt x="30609" y="10117"/>
                    <a:pt x="30609" y="10117"/>
                  </a:cubicBezTo>
                  <a:cubicBezTo>
                    <a:pt x="30385" y="9980"/>
                    <a:pt x="30609" y="10014"/>
                    <a:pt x="30609" y="10117"/>
                  </a:cubicBezTo>
                  <a:cubicBezTo>
                    <a:pt x="30609" y="10220"/>
                    <a:pt x="30609" y="9773"/>
                    <a:pt x="30609" y="10117"/>
                  </a:cubicBezTo>
                  <a:cubicBezTo>
                    <a:pt x="30609" y="9670"/>
                    <a:pt x="30609" y="10237"/>
                    <a:pt x="30798" y="10117"/>
                  </a:cubicBezTo>
                  <a:cubicBezTo>
                    <a:pt x="30609" y="9773"/>
                    <a:pt x="31021" y="10117"/>
                    <a:pt x="30798" y="9739"/>
                  </a:cubicBezTo>
                  <a:cubicBezTo>
                    <a:pt x="30901" y="9739"/>
                    <a:pt x="31038" y="9911"/>
                    <a:pt x="31124" y="9894"/>
                  </a:cubicBezTo>
                  <a:cubicBezTo>
                    <a:pt x="31210" y="9877"/>
                    <a:pt x="31124" y="9602"/>
                    <a:pt x="31124" y="9619"/>
                  </a:cubicBezTo>
                  <a:cubicBezTo>
                    <a:pt x="31124" y="9636"/>
                    <a:pt x="30969" y="9464"/>
                    <a:pt x="31124" y="9619"/>
                  </a:cubicBezTo>
                  <a:cubicBezTo>
                    <a:pt x="31279" y="9773"/>
                    <a:pt x="31124" y="9499"/>
                    <a:pt x="31124" y="9619"/>
                  </a:cubicBezTo>
                  <a:cubicBezTo>
                    <a:pt x="31244" y="9447"/>
                    <a:pt x="31279" y="10426"/>
                    <a:pt x="31261" y="9619"/>
                  </a:cubicBezTo>
                  <a:cubicBezTo>
                    <a:pt x="31536" y="10134"/>
                    <a:pt x="31261" y="9516"/>
                    <a:pt x="31450" y="9499"/>
                  </a:cubicBezTo>
                  <a:cubicBezTo>
                    <a:pt x="31639" y="9481"/>
                    <a:pt x="31450" y="9653"/>
                    <a:pt x="31553" y="9842"/>
                  </a:cubicBezTo>
                  <a:cubicBezTo>
                    <a:pt x="31656" y="10031"/>
                    <a:pt x="31639" y="9842"/>
                    <a:pt x="31674" y="9842"/>
                  </a:cubicBezTo>
                  <a:cubicBezTo>
                    <a:pt x="31502" y="9499"/>
                    <a:pt x="31863" y="9688"/>
                    <a:pt x="31845" y="9842"/>
                  </a:cubicBezTo>
                  <a:cubicBezTo>
                    <a:pt x="32172" y="9842"/>
                    <a:pt x="32051" y="10134"/>
                    <a:pt x="31742" y="10031"/>
                  </a:cubicBezTo>
                  <a:cubicBezTo>
                    <a:pt x="31845" y="10031"/>
                    <a:pt x="31948" y="10031"/>
                    <a:pt x="32000" y="10220"/>
                  </a:cubicBezTo>
                  <a:cubicBezTo>
                    <a:pt x="32051" y="10409"/>
                    <a:pt x="32120" y="10083"/>
                    <a:pt x="32275" y="10220"/>
                  </a:cubicBezTo>
                  <a:cubicBezTo>
                    <a:pt x="32275" y="10100"/>
                    <a:pt x="32275" y="10117"/>
                    <a:pt x="32275" y="10048"/>
                  </a:cubicBezTo>
                  <a:cubicBezTo>
                    <a:pt x="32275" y="9980"/>
                    <a:pt x="32653" y="10306"/>
                    <a:pt x="32378" y="10048"/>
                  </a:cubicBezTo>
                  <a:cubicBezTo>
                    <a:pt x="32378" y="10237"/>
                    <a:pt x="32567" y="10048"/>
                    <a:pt x="32584" y="10220"/>
                  </a:cubicBezTo>
                  <a:cubicBezTo>
                    <a:pt x="32601" y="10392"/>
                    <a:pt x="33220" y="10220"/>
                    <a:pt x="33683" y="10529"/>
                  </a:cubicBezTo>
                  <a:cubicBezTo>
                    <a:pt x="33563" y="10392"/>
                    <a:pt x="34044" y="10735"/>
                    <a:pt x="33804" y="10529"/>
                  </a:cubicBezTo>
                  <a:cubicBezTo>
                    <a:pt x="34697" y="10838"/>
                    <a:pt x="34611" y="11852"/>
                    <a:pt x="33597" y="11354"/>
                  </a:cubicBezTo>
                  <a:cubicBezTo>
                    <a:pt x="33477" y="11354"/>
                    <a:pt x="33477" y="11354"/>
                    <a:pt x="33426" y="11354"/>
                  </a:cubicBezTo>
                  <a:cubicBezTo>
                    <a:pt x="33374" y="11354"/>
                    <a:pt x="32910" y="11096"/>
                    <a:pt x="33065" y="11354"/>
                  </a:cubicBezTo>
                  <a:cubicBezTo>
                    <a:pt x="33220" y="11611"/>
                    <a:pt x="33460" y="11491"/>
                    <a:pt x="33357" y="11663"/>
                  </a:cubicBezTo>
                  <a:cubicBezTo>
                    <a:pt x="33632" y="11663"/>
                    <a:pt x="34834" y="13277"/>
                    <a:pt x="34576" y="12333"/>
                  </a:cubicBezTo>
                  <a:cubicBezTo>
                    <a:pt x="34388" y="12505"/>
                    <a:pt x="34113" y="12058"/>
                    <a:pt x="34250" y="12006"/>
                  </a:cubicBezTo>
                  <a:cubicBezTo>
                    <a:pt x="35693" y="12917"/>
                    <a:pt x="33975" y="11148"/>
                    <a:pt x="34972" y="11474"/>
                  </a:cubicBezTo>
                  <a:cubicBezTo>
                    <a:pt x="34972" y="11337"/>
                    <a:pt x="35092" y="11474"/>
                    <a:pt x="35143" y="11474"/>
                  </a:cubicBezTo>
                  <a:cubicBezTo>
                    <a:pt x="34895" y="11040"/>
                    <a:pt x="34569" y="10656"/>
                    <a:pt x="34181" y="10340"/>
                  </a:cubicBezTo>
                  <a:cubicBezTo>
                    <a:pt x="34491" y="10340"/>
                    <a:pt x="34972" y="10443"/>
                    <a:pt x="34800" y="10753"/>
                  </a:cubicBezTo>
                  <a:cubicBezTo>
                    <a:pt x="35195" y="11354"/>
                    <a:pt x="35349" y="10753"/>
                    <a:pt x="35143" y="10529"/>
                  </a:cubicBezTo>
                  <a:cubicBezTo>
                    <a:pt x="35315" y="10529"/>
                    <a:pt x="35143" y="9945"/>
                    <a:pt x="35401" y="10289"/>
                  </a:cubicBezTo>
                  <a:cubicBezTo>
                    <a:pt x="35401" y="10186"/>
                    <a:pt x="35178" y="9980"/>
                    <a:pt x="35401" y="10151"/>
                  </a:cubicBezTo>
                  <a:cubicBezTo>
                    <a:pt x="35229" y="9705"/>
                    <a:pt x="35521" y="10151"/>
                    <a:pt x="35727" y="10306"/>
                  </a:cubicBezTo>
                  <a:cubicBezTo>
                    <a:pt x="35727" y="10203"/>
                    <a:pt x="35727" y="10169"/>
                    <a:pt x="35727" y="10306"/>
                  </a:cubicBezTo>
                  <a:cubicBezTo>
                    <a:pt x="35504" y="10048"/>
                    <a:pt x="35882" y="10134"/>
                    <a:pt x="35830" y="9842"/>
                  </a:cubicBezTo>
                  <a:cubicBezTo>
                    <a:pt x="35951" y="9997"/>
                    <a:pt x="36311" y="10272"/>
                    <a:pt x="36019" y="9945"/>
                  </a:cubicBezTo>
                  <a:cubicBezTo>
                    <a:pt x="36191" y="9945"/>
                    <a:pt x="35916" y="9791"/>
                    <a:pt x="36122" y="9945"/>
                  </a:cubicBezTo>
                  <a:cubicBezTo>
                    <a:pt x="36035" y="9882"/>
                    <a:pt x="35943" y="9824"/>
                    <a:pt x="35848" y="9773"/>
                  </a:cubicBezTo>
                  <a:lnTo>
                    <a:pt x="35848" y="9773"/>
                  </a:lnTo>
                  <a:cubicBezTo>
                    <a:pt x="35057" y="9155"/>
                    <a:pt x="36586" y="9619"/>
                    <a:pt x="36981" y="9894"/>
                  </a:cubicBezTo>
                  <a:cubicBezTo>
                    <a:pt x="36792" y="9619"/>
                    <a:pt x="36517" y="9567"/>
                    <a:pt x="36260" y="9361"/>
                  </a:cubicBezTo>
                  <a:lnTo>
                    <a:pt x="36260" y="9361"/>
                  </a:lnTo>
                  <a:cubicBezTo>
                    <a:pt x="36260" y="9361"/>
                    <a:pt x="36260" y="9361"/>
                    <a:pt x="36140" y="9361"/>
                  </a:cubicBezTo>
                  <a:lnTo>
                    <a:pt x="36140" y="9361"/>
                  </a:lnTo>
                  <a:lnTo>
                    <a:pt x="35882" y="9155"/>
                  </a:lnTo>
                  <a:cubicBezTo>
                    <a:pt x="36019" y="9155"/>
                    <a:pt x="35624" y="8983"/>
                    <a:pt x="35727" y="8983"/>
                  </a:cubicBezTo>
                  <a:cubicBezTo>
                    <a:pt x="35504" y="8880"/>
                    <a:pt x="34353" y="7918"/>
                    <a:pt x="34594" y="7884"/>
                  </a:cubicBezTo>
                  <a:cubicBezTo>
                    <a:pt x="35435" y="8193"/>
                    <a:pt x="36311" y="9086"/>
                    <a:pt x="37136" y="9602"/>
                  </a:cubicBezTo>
                  <a:lnTo>
                    <a:pt x="37136" y="9602"/>
                  </a:lnTo>
                  <a:cubicBezTo>
                    <a:pt x="37389" y="9800"/>
                    <a:pt x="37614" y="10031"/>
                    <a:pt x="37806" y="10289"/>
                  </a:cubicBezTo>
                  <a:lnTo>
                    <a:pt x="37806" y="10289"/>
                  </a:lnTo>
                  <a:cubicBezTo>
                    <a:pt x="37995" y="10409"/>
                    <a:pt x="37977" y="10581"/>
                    <a:pt x="37806" y="10289"/>
                  </a:cubicBezTo>
                  <a:cubicBezTo>
                    <a:pt x="37806" y="10289"/>
                    <a:pt x="37479" y="10289"/>
                    <a:pt x="37703" y="10426"/>
                  </a:cubicBezTo>
                  <a:cubicBezTo>
                    <a:pt x="38939" y="10701"/>
                    <a:pt x="37256" y="9619"/>
                    <a:pt x="37101" y="9275"/>
                  </a:cubicBezTo>
                  <a:cubicBezTo>
                    <a:pt x="37101" y="9275"/>
                    <a:pt x="37101" y="9275"/>
                    <a:pt x="37101" y="9275"/>
                  </a:cubicBezTo>
                  <a:cubicBezTo>
                    <a:pt x="36284" y="8916"/>
                    <a:pt x="35525" y="8435"/>
                    <a:pt x="34851" y="7850"/>
                  </a:cubicBezTo>
                  <a:cubicBezTo>
                    <a:pt x="35229" y="8021"/>
                    <a:pt x="35573" y="8399"/>
                    <a:pt x="35933" y="8451"/>
                  </a:cubicBezTo>
                  <a:cubicBezTo>
                    <a:pt x="35796" y="8262"/>
                    <a:pt x="36208" y="8571"/>
                    <a:pt x="36105" y="8451"/>
                  </a:cubicBezTo>
                  <a:cubicBezTo>
                    <a:pt x="35827" y="8436"/>
                    <a:pt x="35564" y="8320"/>
                    <a:pt x="35367" y="8125"/>
                  </a:cubicBezTo>
                  <a:cubicBezTo>
                    <a:pt x="35727" y="8279"/>
                    <a:pt x="35367" y="8125"/>
                    <a:pt x="35367" y="8039"/>
                  </a:cubicBezTo>
                  <a:lnTo>
                    <a:pt x="35367" y="8039"/>
                  </a:lnTo>
                  <a:cubicBezTo>
                    <a:pt x="34886" y="7455"/>
                    <a:pt x="37084" y="8880"/>
                    <a:pt x="36363" y="8331"/>
                  </a:cubicBezTo>
                  <a:cubicBezTo>
                    <a:pt x="36637" y="8531"/>
                    <a:pt x="36938" y="8693"/>
                    <a:pt x="37256" y="8812"/>
                  </a:cubicBezTo>
                  <a:cubicBezTo>
                    <a:pt x="36947" y="8605"/>
                    <a:pt x="37256" y="8691"/>
                    <a:pt x="37428" y="8812"/>
                  </a:cubicBezTo>
                  <a:cubicBezTo>
                    <a:pt x="37325" y="8709"/>
                    <a:pt x="37033" y="8588"/>
                    <a:pt x="37101" y="8709"/>
                  </a:cubicBezTo>
                  <a:cubicBezTo>
                    <a:pt x="36569" y="8468"/>
                    <a:pt x="36019" y="8056"/>
                    <a:pt x="35384" y="7798"/>
                  </a:cubicBezTo>
                  <a:cubicBezTo>
                    <a:pt x="35212" y="7798"/>
                    <a:pt x="34405" y="7403"/>
                    <a:pt x="34525" y="7231"/>
                  </a:cubicBezTo>
                  <a:cubicBezTo>
                    <a:pt x="34284" y="6922"/>
                    <a:pt x="34697" y="7334"/>
                    <a:pt x="34851" y="7317"/>
                  </a:cubicBezTo>
                  <a:cubicBezTo>
                    <a:pt x="34628" y="7317"/>
                    <a:pt x="34491" y="7042"/>
                    <a:pt x="34267" y="7008"/>
                  </a:cubicBezTo>
                  <a:cubicBezTo>
                    <a:pt x="34044" y="6974"/>
                    <a:pt x="34061" y="7008"/>
                    <a:pt x="34027" y="6922"/>
                  </a:cubicBezTo>
                  <a:cubicBezTo>
                    <a:pt x="33992" y="6836"/>
                    <a:pt x="34130" y="6922"/>
                    <a:pt x="34027" y="6922"/>
                  </a:cubicBezTo>
                  <a:cubicBezTo>
                    <a:pt x="33924" y="6922"/>
                    <a:pt x="33838" y="6836"/>
                    <a:pt x="33872" y="6922"/>
                  </a:cubicBezTo>
                  <a:cubicBezTo>
                    <a:pt x="33907" y="7008"/>
                    <a:pt x="33683" y="6802"/>
                    <a:pt x="33872" y="6922"/>
                  </a:cubicBezTo>
                  <a:lnTo>
                    <a:pt x="33615" y="6768"/>
                  </a:lnTo>
                  <a:cubicBezTo>
                    <a:pt x="33615" y="6768"/>
                    <a:pt x="33615" y="6768"/>
                    <a:pt x="33615" y="6768"/>
                  </a:cubicBezTo>
                  <a:lnTo>
                    <a:pt x="33168" y="6458"/>
                  </a:lnTo>
                  <a:lnTo>
                    <a:pt x="33168" y="6458"/>
                  </a:lnTo>
                  <a:cubicBezTo>
                    <a:pt x="33086" y="6395"/>
                    <a:pt x="33000" y="6338"/>
                    <a:pt x="32910" y="6287"/>
                  </a:cubicBezTo>
                  <a:lnTo>
                    <a:pt x="32910" y="6287"/>
                  </a:lnTo>
                  <a:lnTo>
                    <a:pt x="32910" y="6287"/>
                  </a:lnTo>
                  <a:lnTo>
                    <a:pt x="32910" y="6287"/>
                  </a:lnTo>
                  <a:lnTo>
                    <a:pt x="32687" y="6184"/>
                  </a:lnTo>
                  <a:lnTo>
                    <a:pt x="32687" y="6184"/>
                  </a:lnTo>
                  <a:cubicBezTo>
                    <a:pt x="32687" y="6184"/>
                    <a:pt x="32515" y="6184"/>
                    <a:pt x="32687" y="6184"/>
                  </a:cubicBezTo>
                  <a:lnTo>
                    <a:pt x="32687" y="6184"/>
                  </a:lnTo>
                  <a:lnTo>
                    <a:pt x="32687" y="6184"/>
                  </a:lnTo>
                  <a:lnTo>
                    <a:pt x="32962" y="6287"/>
                  </a:lnTo>
                  <a:lnTo>
                    <a:pt x="32739" y="6184"/>
                  </a:lnTo>
                  <a:lnTo>
                    <a:pt x="32893" y="6184"/>
                  </a:lnTo>
                  <a:lnTo>
                    <a:pt x="32807" y="6184"/>
                  </a:lnTo>
                  <a:cubicBezTo>
                    <a:pt x="32762" y="6174"/>
                    <a:pt x="32715" y="6174"/>
                    <a:pt x="32670" y="6184"/>
                  </a:cubicBezTo>
                  <a:lnTo>
                    <a:pt x="32670" y="6184"/>
                  </a:lnTo>
                  <a:cubicBezTo>
                    <a:pt x="32625" y="6193"/>
                    <a:pt x="32578" y="6193"/>
                    <a:pt x="32532" y="6184"/>
                  </a:cubicBezTo>
                  <a:lnTo>
                    <a:pt x="32876" y="6304"/>
                  </a:lnTo>
                  <a:cubicBezTo>
                    <a:pt x="32750" y="6242"/>
                    <a:pt x="32618" y="6196"/>
                    <a:pt x="32481" y="6166"/>
                  </a:cubicBezTo>
                  <a:lnTo>
                    <a:pt x="32481" y="6166"/>
                  </a:lnTo>
                  <a:cubicBezTo>
                    <a:pt x="32481" y="6166"/>
                    <a:pt x="32292" y="6166"/>
                    <a:pt x="32343" y="6166"/>
                  </a:cubicBezTo>
                  <a:cubicBezTo>
                    <a:pt x="32395" y="6166"/>
                    <a:pt x="32343" y="6166"/>
                    <a:pt x="32343" y="6166"/>
                  </a:cubicBezTo>
                  <a:lnTo>
                    <a:pt x="32343" y="6166"/>
                  </a:lnTo>
                  <a:lnTo>
                    <a:pt x="32206" y="6166"/>
                  </a:lnTo>
                  <a:lnTo>
                    <a:pt x="32206" y="6166"/>
                  </a:lnTo>
                  <a:lnTo>
                    <a:pt x="31742" y="6029"/>
                  </a:lnTo>
                  <a:lnTo>
                    <a:pt x="31742" y="6029"/>
                  </a:lnTo>
                  <a:cubicBezTo>
                    <a:pt x="31571" y="6029"/>
                    <a:pt x="30763" y="5720"/>
                    <a:pt x="30952" y="5754"/>
                  </a:cubicBezTo>
                  <a:lnTo>
                    <a:pt x="30952" y="5754"/>
                  </a:lnTo>
                  <a:lnTo>
                    <a:pt x="31055" y="5754"/>
                  </a:lnTo>
                  <a:lnTo>
                    <a:pt x="31055" y="5754"/>
                  </a:lnTo>
                  <a:cubicBezTo>
                    <a:pt x="31244" y="5754"/>
                    <a:pt x="31416" y="5857"/>
                    <a:pt x="31605" y="5909"/>
                  </a:cubicBezTo>
                  <a:lnTo>
                    <a:pt x="31416" y="5909"/>
                  </a:lnTo>
                  <a:lnTo>
                    <a:pt x="31588" y="5909"/>
                  </a:lnTo>
                  <a:lnTo>
                    <a:pt x="31485" y="5909"/>
                  </a:lnTo>
                  <a:cubicBezTo>
                    <a:pt x="31588" y="5909"/>
                    <a:pt x="31364" y="5909"/>
                    <a:pt x="31485" y="5909"/>
                  </a:cubicBezTo>
                  <a:lnTo>
                    <a:pt x="31485" y="5909"/>
                  </a:lnTo>
                  <a:cubicBezTo>
                    <a:pt x="31794" y="5995"/>
                    <a:pt x="32481" y="6201"/>
                    <a:pt x="31811" y="5909"/>
                  </a:cubicBezTo>
                  <a:lnTo>
                    <a:pt x="31811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2292" y="6046"/>
                  </a:lnTo>
                  <a:lnTo>
                    <a:pt x="32051" y="6046"/>
                  </a:lnTo>
                  <a:lnTo>
                    <a:pt x="32378" y="6046"/>
                  </a:lnTo>
                  <a:lnTo>
                    <a:pt x="32635" y="6046"/>
                  </a:lnTo>
                  <a:lnTo>
                    <a:pt x="32635" y="6046"/>
                  </a:lnTo>
                  <a:cubicBezTo>
                    <a:pt x="32412" y="6046"/>
                    <a:pt x="32635" y="6046"/>
                    <a:pt x="32773" y="6046"/>
                  </a:cubicBezTo>
                  <a:lnTo>
                    <a:pt x="32773" y="6046"/>
                  </a:lnTo>
                  <a:lnTo>
                    <a:pt x="32773" y="6046"/>
                  </a:lnTo>
                  <a:cubicBezTo>
                    <a:pt x="33198" y="6156"/>
                    <a:pt x="33612" y="6306"/>
                    <a:pt x="34010" y="6493"/>
                  </a:cubicBezTo>
                  <a:cubicBezTo>
                    <a:pt x="34010" y="6493"/>
                    <a:pt x="34010" y="6493"/>
                    <a:pt x="34010" y="6493"/>
                  </a:cubicBezTo>
                  <a:cubicBezTo>
                    <a:pt x="34010" y="6493"/>
                    <a:pt x="34456" y="6665"/>
                    <a:pt x="34645" y="6768"/>
                  </a:cubicBezTo>
                  <a:lnTo>
                    <a:pt x="34645" y="6768"/>
                  </a:lnTo>
                  <a:lnTo>
                    <a:pt x="35470" y="7163"/>
                  </a:lnTo>
                  <a:cubicBezTo>
                    <a:pt x="35212" y="7025"/>
                    <a:pt x="34954" y="6871"/>
                    <a:pt x="34662" y="6733"/>
                  </a:cubicBezTo>
                  <a:lnTo>
                    <a:pt x="34662" y="6733"/>
                  </a:lnTo>
                  <a:lnTo>
                    <a:pt x="34353" y="6596"/>
                  </a:lnTo>
                  <a:lnTo>
                    <a:pt x="34491" y="6596"/>
                  </a:lnTo>
                  <a:cubicBezTo>
                    <a:pt x="34491" y="6596"/>
                    <a:pt x="34044" y="6441"/>
                    <a:pt x="34250" y="6493"/>
                  </a:cubicBezTo>
                  <a:lnTo>
                    <a:pt x="34113" y="6493"/>
                  </a:lnTo>
                  <a:lnTo>
                    <a:pt x="34422" y="6596"/>
                  </a:lnTo>
                  <a:cubicBezTo>
                    <a:pt x="34327" y="6538"/>
                    <a:pt x="34222" y="6497"/>
                    <a:pt x="34113" y="6476"/>
                  </a:cubicBezTo>
                  <a:cubicBezTo>
                    <a:pt x="34287" y="6517"/>
                    <a:pt x="34459" y="6568"/>
                    <a:pt x="34628" y="6630"/>
                  </a:cubicBezTo>
                  <a:lnTo>
                    <a:pt x="34473" y="6630"/>
                  </a:lnTo>
                  <a:lnTo>
                    <a:pt x="34473" y="6630"/>
                  </a:lnTo>
                  <a:lnTo>
                    <a:pt x="33700" y="4827"/>
                  </a:lnTo>
                  <a:cubicBezTo>
                    <a:pt x="42679" y="7791"/>
                    <a:pt x="48892" y="15993"/>
                    <a:pt x="49314" y="25438"/>
                  </a:cubicBezTo>
                  <a:cubicBezTo>
                    <a:pt x="49301" y="25780"/>
                    <a:pt x="49255" y="26119"/>
                    <a:pt x="49177" y="26452"/>
                  </a:cubicBezTo>
                  <a:cubicBezTo>
                    <a:pt x="49245" y="26349"/>
                    <a:pt x="49159" y="26538"/>
                    <a:pt x="49159" y="26589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9" name="Google Shape;139;p21"/>
            <p:cNvSpPr/>
            <p:nvPr/>
          </p:nvSpPr>
          <p:spPr>
            <a:xfrm rot="-5400000">
              <a:off x="12026199" y="6563439"/>
              <a:ext cx="13277" cy="68070"/>
            </a:xfrm>
            <a:custGeom>
              <a:avLst/>
              <a:gdLst/>
              <a:ahLst/>
              <a:cxnLst/>
              <a:rect l="l" t="t" r="r" b="b"/>
              <a:pathLst>
                <a:path w="13277" h="68070" extrusionOk="0">
                  <a:moveTo>
                    <a:pt x="13277" y="12024"/>
                  </a:moveTo>
                  <a:lnTo>
                    <a:pt x="0" y="12024"/>
                  </a:lnTo>
                  <a:lnTo>
                    <a:pt x="0" y="0"/>
                  </a:lnTo>
                  <a:lnTo>
                    <a:pt x="13277" y="0"/>
                  </a:lnTo>
                  <a:close/>
                  <a:moveTo>
                    <a:pt x="0" y="17984"/>
                  </a:moveTo>
                  <a:lnTo>
                    <a:pt x="13277" y="17984"/>
                  </a:lnTo>
                  <a:lnTo>
                    <a:pt x="13277" y="68070"/>
                  </a:lnTo>
                  <a:lnTo>
                    <a:pt x="0" y="6807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0" name="Google Shape;140;p21"/>
            <p:cNvSpPr/>
            <p:nvPr/>
          </p:nvSpPr>
          <p:spPr>
            <a:xfrm rot="-5400000">
              <a:off x="12018640" y="6529825"/>
              <a:ext cx="45208" cy="51256"/>
            </a:xfrm>
            <a:custGeom>
              <a:avLst/>
              <a:gdLst/>
              <a:ahLst/>
              <a:cxnLst/>
              <a:rect l="l" t="t" r="r" b="b"/>
              <a:pathLst>
                <a:path w="45208" h="51256" extrusionOk="0">
                  <a:moveTo>
                    <a:pt x="40279" y="4038"/>
                  </a:moveTo>
                  <a:cubicBezTo>
                    <a:pt x="43565" y="6752"/>
                    <a:pt x="45209" y="11246"/>
                    <a:pt x="45209" y="17521"/>
                  </a:cubicBezTo>
                  <a:lnTo>
                    <a:pt x="45209" y="51256"/>
                  </a:lnTo>
                  <a:lnTo>
                    <a:pt x="31794" y="51256"/>
                  </a:lnTo>
                  <a:lnTo>
                    <a:pt x="31794" y="20785"/>
                  </a:lnTo>
                  <a:cubicBezTo>
                    <a:pt x="31892" y="18712"/>
                    <a:pt x="31535" y="16642"/>
                    <a:pt x="30746" y="14722"/>
                  </a:cubicBezTo>
                  <a:cubicBezTo>
                    <a:pt x="29458" y="12162"/>
                    <a:pt x="27036" y="10874"/>
                    <a:pt x="23446" y="10874"/>
                  </a:cubicBezTo>
                  <a:cubicBezTo>
                    <a:pt x="19509" y="10574"/>
                    <a:pt x="15832" y="12861"/>
                    <a:pt x="14360" y="16525"/>
                  </a:cubicBezTo>
                  <a:cubicBezTo>
                    <a:pt x="13437" y="18959"/>
                    <a:pt x="13005" y="21550"/>
                    <a:pt x="13089" y="24152"/>
                  </a:cubicBezTo>
                  <a:lnTo>
                    <a:pt x="13089" y="51256"/>
                  </a:lnTo>
                  <a:lnTo>
                    <a:pt x="0" y="51256"/>
                  </a:lnTo>
                  <a:lnTo>
                    <a:pt x="0" y="1272"/>
                  </a:lnTo>
                  <a:lnTo>
                    <a:pt x="12676" y="1272"/>
                  </a:lnTo>
                  <a:lnTo>
                    <a:pt x="12676" y="8607"/>
                  </a:lnTo>
                  <a:cubicBezTo>
                    <a:pt x="13939" y="6498"/>
                    <a:pt x="15548" y="4617"/>
                    <a:pt x="17434" y="3042"/>
                  </a:cubicBezTo>
                  <a:cubicBezTo>
                    <a:pt x="20409" y="938"/>
                    <a:pt x="23996" y="-125"/>
                    <a:pt x="27637" y="19"/>
                  </a:cubicBezTo>
                  <a:cubicBezTo>
                    <a:pt x="32194" y="-181"/>
                    <a:pt x="36674" y="1243"/>
                    <a:pt x="40279" y="403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1" name="Google Shape;141;p21"/>
            <p:cNvSpPr/>
            <p:nvPr/>
          </p:nvSpPr>
          <p:spPr>
            <a:xfrm rot="-5400000">
              <a:off x="12018195" y="6477145"/>
              <a:ext cx="28942" cy="68414"/>
            </a:xfrm>
            <a:custGeom>
              <a:avLst/>
              <a:gdLst/>
              <a:ahLst/>
              <a:cxnLst/>
              <a:rect l="l" t="t" r="r" b="b"/>
              <a:pathLst>
                <a:path w="28942" h="68414" extrusionOk="0">
                  <a:moveTo>
                    <a:pt x="25868" y="0"/>
                  </a:moveTo>
                  <a:lnTo>
                    <a:pt x="28616" y="206"/>
                  </a:lnTo>
                  <a:lnTo>
                    <a:pt x="28616" y="10941"/>
                  </a:lnTo>
                  <a:cubicBezTo>
                    <a:pt x="27390" y="10808"/>
                    <a:pt x="26157" y="10739"/>
                    <a:pt x="24923" y="10735"/>
                  </a:cubicBezTo>
                  <a:cubicBezTo>
                    <a:pt x="23616" y="10538"/>
                    <a:pt x="22290" y="10956"/>
                    <a:pt x="21333" y="11869"/>
                  </a:cubicBezTo>
                  <a:cubicBezTo>
                    <a:pt x="20704" y="12627"/>
                    <a:pt x="20358" y="13580"/>
                    <a:pt x="20354" y="14566"/>
                  </a:cubicBezTo>
                  <a:lnTo>
                    <a:pt x="20354" y="18791"/>
                  </a:lnTo>
                  <a:lnTo>
                    <a:pt x="28943" y="18791"/>
                  </a:lnTo>
                  <a:lnTo>
                    <a:pt x="28943" y="28032"/>
                  </a:lnTo>
                  <a:lnTo>
                    <a:pt x="20354" y="28032"/>
                  </a:lnTo>
                  <a:lnTo>
                    <a:pt x="20354" y="68414"/>
                  </a:lnTo>
                  <a:lnTo>
                    <a:pt x="7352" y="68414"/>
                  </a:lnTo>
                  <a:lnTo>
                    <a:pt x="7352" y="28032"/>
                  </a:lnTo>
                  <a:lnTo>
                    <a:pt x="0" y="28032"/>
                  </a:lnTo>
                  <a:lnTo>
                    <a:pt x="0" y="18791"/>
                  </a:lnTo>
                  <a:lnTo>
                    <a:pt x="7163" y="18791"/>
                  </a:lnTo>
                  <a:lnTo>
                    <a:pt x="7163" y="15579"/>
                  </a:lnTo>
                  <a:cubicBezTo>
                    <a:pt x="7163" y="10220"/>
                    <a:pt x="8067" y="6527"/>
                    <a:pt x="9877" y="4500"/>
                  </a:cubicBezTo>
                  <a:cubicBezTo>
                    <a:pt x="11783" y="1494"/>
                    <a:pt x="16352" y="0"/>
                    <a:pt x="23618" y="0"/>
                  </a:cubicBezTo>
                  <a:cubicBezTo>
                    <a:pt x="24442" y="0"/>
                    <a:pt x="25198" y="0"/>
                    <a:pt x="25868" y="0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2" name="Google Shape;142;p21"/>
            <p:cNvSpPr/>
            <p:nvPr/>
          </p:nvSpPr>
          <p:spPr>
            <a:xfrm rot="-5400000">
              <a:off x="12016830" y="6161182"/>
              <a:ext cx="49036" cy="51048"/>
            </a:xfrm>
            <a:custGeom>
              <a:avLst/>
              <a:gdLst/>
              <a:ahLst/>
              <a:cxnLst/>
              <a:rect l="l" t="t" r="r" b="b"/>
              <a:pathLst>
                <a:path w="49036" h="51048" extrusionOk="0">
                  <a:moveTo>
                    <a:pt x="42949" y="43542"/>
                  </a:moveTo>
                  <a:cubicBezTo>
                    <a:pt x="38907" y="48535"/>
                    <a:pt x="32763" y="51037"/>
                    <a:pt x="24519" y="51049"/>
                  </a:cubicBezTo>
                  <a:cubicBezTo>
                    <a:pt x="16274" y="51060"/>
                    <a:pt x="10125" y="48558"/>
                    <a:pt x="6071" y="43542"/>
                  </a:cubicBezTo>
                  <a:cubicBezTo>
                    <a:pt x="2000" y="38452"/>
                    <a:pt x="-145" y="32091"/>
                    <a:pt x="8" y="25576"/>
                  </a:cubicBezTo>
                  <a:cubicBezTo>
                    <a:pt x="-130" y="19058"/>
                    <a:pt x="2016" y="12697"/>
                    <a:pt x="6071" y="7592"/>
                  </a:cubicBezTo>
                  <a:cubicBezTo>
                    <a:pt x="10125" y="2519"/>
                    <a:pt x="16274" y="-11"/>
                    <a:pt x="24519" y="0"/>
                  </a:cubicBezTo>
                  <a:cubicBezTo>
                    <a:pt x="32763" y="12"/>
                    <a:pt x="38907" y="2542"/>
                    <a:pt x="42949" y="7592"/>
                  </a:cubicBezTo>
                  <a:cubicBezTo>
                    <a:pt x="47010" y="12695"/>
                    <a:pt x="49160" y="19056"/>
                    <a:pt x="49030" y="25576"/>
                  </a:cubicBezTo>
                  <a:cubicBezTo>
                    <a:pt x="49177" y="32093"/>
                    <a:pt x="47023" y="38454"/>
                    <a:pt x="42949" y="43542"/>
                  </a:cubicBezTo>
                  <a:close/>
                  <a:moveTo>
                    <a:pt x="32918" y="36672"/>
                  </a:moveTo>
                  <a:cubicBezTo>
                    <a:pt x="35077" y="33390"/>
                    <a:pt x="36115" y="29497"/>
                    <a:pt x="35872" y="25576"/>
                  </a:cubicBezTo>
                  <a:cubicBezTo>
                    <a:pt x="36123" y="21654"/>
                    <a:pt x="35086" y="17758"/>
                    <a:pt x="32918" y="14480"/>
                  </a:cubicBezTo>
                  <a:cubicBezTo>
                    <a:pt x="28893" y="9808"/>
                    <a:pt x="21844" y="9283"/>
                    <a:pt x="17172" y="13307"/>
                  </a:cubicBezTo>
                  <a:cubicBezTo>
                    <a:pt x="16753" y="13668"/>
                    <a:pt x="16360" y="14060"/>
                    <a:pt x="15999" y="14480"/>
                  </a:cubicBezTo>
                  <a:cubicBezTo>
                    <a:pt x="13826" y="17756"/>
                    <a:pt x="12782" y="21652"/>
                    <a:pt x="13027" y="25576"/>
                  </a:cubicBezTo>
                  <a:cubicBezTo>
                    <a:pt x="12782" y="29510"/>
                    <a:pt x="13824" y="33418"/>
                    <a:pt x="15999" y="36706"/>
                  </a:cubicBezTo>
                  <a:cubicBezTo>
                    <a:pt x="19994" y="41378"/>
                    <a:pt x="27020" y="41927"/>
                    <a:pt x="31692" y="37932"/>
                  </a:cubicBezTo>
                  <a:cubicBezTo>
                    <a:pt x="32131" y="37556"/>
                    <a:pt x="32542" y="37146"/>
                    <a:pt x="32918" y="36706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3" name="Google Shape;143;p21"/>
            <p:cNvSpPr/>
            <p:nvPr/>
          </p:nvSpPr>
          <p:spPr>
            <a:xfrm rot="-5400000">
              <a:off x="12005374" y="6370523"/>
              <a:ext cx="71791" cy="51205"/>
            </a:xfrm>
            <a:custGeom>
              <a:avLst/>
              <a:gdLst/>
              <a:ahLst/>
              <a:cxnLst/>
              <a:rect l="l" t="t" r="r" b="b"/>
              <a:pathLst>
                <a:path w="71791" h="51205" extrusionOk="0">
                  <a:moveTo>
                    <a:pt x="62643" y="1307"/>
                  </a:moveTo>
                  <a:cubicBezTo>
                    <a:pt x="64938" y="2282"/>
                    <a:pt x="66944" y="3832"/>
                    <a:pt x="68466" y="5808"/>
                  </a:cubicBezTo>
                  <a:cubicBezTo>
                    <a:pt x="69936" y="7685"/>
                    <a:pt x="70917" y="9898"/>
                    <a:pt x="71317" y="12249"/>
                  </a:cubicBezTo>
                  <a:cubicBezTo>
                    <a:pt x="71680" y="14693"/>
                    <a:pt x="71834" y="17164"/>
                    <a:pt x="71781" y="19635"/>
                  </a:cubicBezTo>
                  <a:lnTo>
                    <a:pt x="71781" y="51205"/>
                  </a:lnTo>
                  <a:lnTo>
                    <a:pt x="58349" y="51205"/>
                  </a:lnTo>
                  <a:lnTo>
                    <a:pt x="58349" y="19308"/>
                  </a:lnTo>
                  <a:cubicBezTo>
                    <a:pt x="58414" y="17701"/>
                    <a:pt x="58101" y="16101"/>
                    <a:pt x="57438" y="14636"/>
                  </a:cubicBezTo>
                  <a:cubicBezTo>
                    <a:pt x="56188" y="12289"/>
                    <a:pt x="53642" y="10931"/>
                    <a:pt x="50997" y="11201"/>
                  </a:cubicBezTo>
                  <a:cubicBezTo>
                    <a:pt x="47802" y="10957"/>
                    <a:pt x="44803" y="12763"/>
                    <a:pt x="43525" y="15701"/>
                  </a:cubicBezTo>
                  <a:cubicBezTo>
                    <a:pt x="42766" y="17522"/>
                    <a:pt x="42404" y="19483"/>
                    <a:pt x="42460" y="21455"/>
                  </a:cubicBezTo>
                  <a:lnTo>
                    <a:pt x="42460" y="51205"/>
                  </a:lnTo>
                  <a:lnTo>
                    <a:pt x="29269" y="51205"/>
                  </a:lnTo>
                  <a:lnTo>
                    <a:pt x="29269" y="21387"/>
                  </a:lnTo>
                  <a:cubicBezTo>
                    <a:pt x="29389" y="19189"/>
                    <a:pt x="29080" y="16990"/>
                    <a:pt x="28359" y="14911"/>
                  </a:cubicBezTo>
                  <a:cubicBezTo>
                    <a:pt x="27192" y="12446"/>
                    <a:pt x="24595" y="10986"/>
                    <a:pt x="21883" y="11270"/>
                  </a:cubicBezTo>
                  <a:cubicBezTo>
                    <a:pt x="18138" y="11270"/>
                    <a:pt x="15626" y="12484"/>
                    <a:pt x="14342" y="14911"/>
                  </a:cubicBezTo>
                  <a:cubicBezTo>
                    <a:pt x="13527" y="16854"/>
                    <a:pt x="13162" y="18956"/>
                    <a:pt x="13277" y="21060"/>
                  </a:cubicBezTo>
                  <a:lnTo>
                    <a:pt x="13277" y="51205"/>
                  </a:lnTo>
                  <a:lnTo>
                    <a:pt x="0" y="51205"/>
                  </a:lnTo>
                  <a:lnTo>
                    <a:pt x="0" y="1221"/>
                  </a:lnTo>
                  <a:lnTo>
                    <a:pt x="12728" y="1221"/>
                  </a:lnTo>
                  <a:lnTo>
                    <a:pt x="12728" y="8556"/>
                  </a:lnTo>
                  <a:cubicBezTo>
                    <a:pt x="13930" y="6449"/>
                    <a:pt x="15488" y="4567"/>
                    <a:pt x="17331" y="2991"/>
                  </a:cubicBezTo>
                  <a:cubicBezTo>
                    <a:pt x="23120" y="-769"/>
                    <a:pt x="30538" y="-929"/>
                    <a:pt x="36483" y="2578"/>
                  </a:cubicBezTo>
                  <a:cubicBezTo>
                    <a:pt x="38381" y="4179"/>
                    <a:pt x="39841" y="6236"/>
                    <a:pt x="40726" y="8556"/>
                  </a:cubicBezTo>
                  <a:cubicBezTo>
                    <a:pt x="42206" y="5843"/>
                    <a:pt x="44413" y="3595"/>
                    <a:pt x="47098" y="2063"/>
                  </a:cubicBezTo>
                  <a:cubicBezTo>
                    <a:pt x="49896" y="665"/>
                    <a:pt x="52988" y="-42"/>
                    <a:pt x="56116" y="2"/>
                  </a:cubicBezTo>
                  <a:cubicBezTo>
                    <a:pt x="58356" y="15"/>
                    <a:pt x="60571" y="458"/>
                    <a:pt x="62643" y="1307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4" name="Google Shape;144;p21"/>
            <p:cNvSpPr/>
            <p:nvPr/>
          </p:nvSpPr>
          <p:spPr>
            <a:xfrm rot="-5400000">
              <a:off x="12026199" y="6307354"/>
              <a:ext cx="13277" cy="68070"/>
            </a:xfrm>
            <a:custGeom>
              <a:avLst/>
              <a:gdLst/>
              <a:ahLst/>
              <a:cxnLst/>
              <a:rect l="l" t="t" r="r" b="b"/>
              <a:pathLst>
                <a:path w="13277" h="68070" extrusionOk="0">
                  <a:moveTo>
                    <a:pt x="13278" y="12024"/>
                  </a:moveTo>
                  <a:lnTo>
                    <a:pt x="0" y="12024"/>
                  </a:lnTo>
                  <a:lnTo>
                    <a:pt x="0" y="0"/>
                  </a:lnTo>
                  <a:lnTo>
                    <a:pt x="13278" y="0"/>
                  </a:lnTo>
                  <a:close/>
                  <a:moveTo>
                    <a:pt x="0" y="17984"/>
                  </a:moveTo>
                  <a:lnTo>
                    <a:pt x="13278" y="17984"/>
                  </a:lnTo>
                  <a:lnTo>
                    <a:pt x="13278" y="68070"/>
                  </a:lnTo>
                  <a:lnTo>
                    <a:pt x="0" y="6807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5" name="Google Shape;145;p21"/>
            <p:cNvSpPr/>
            <p:nvPr/>
          </p:nvSpPr>
          <p:spPr>
            <a:xfrm rot="-5400000">
              <a:off x="12018641" y="6273739"/>
              <a:ext cx="45208" cy="51255"/>
            </a:xfrm>
            <a:custGeom>
              <a:avLst/>
              <a:gdLst/>
              <a:ahLst/>
              <a:cxnLst/>
              <a:rect l="l" t="t" r="r" b="b"/>
              <a:pathLst>
                <a:path w="45208" h="51255" extrusionOk="0">
                  <a:moveTo>
                    <a:pt x="40296" y="4038"/>
                  </a:moveTo>
                  <a:cubicBezTo>
                    <a:pt x="43560" y="6752"/>
                    <a:pt x="45209" y="11252"/>
                    <a:pt x="45209" y="17521"/>
                  </a:cubicBezTo>
                  <a:lnTo>
                    <a:pt x="45209" y="51256"/>
                  </a:lnTo>
                  <a:lnTo>
                    <a:pt x="31794" y="51256"/>
                  </a:lnTo>
                  <a:lnTo>
                    <a:pt x="31794" y="20785"/>
                  </a:lnTo>
                  <a:cubicBezTo>
                    <a:pt x="31900" y="18711"/>
                    <a:pt x="31543" y="16639"/>
                    <a:pt x="30746" y="14722"/>
                  </a:cubicBezTo>
                  <a:cubicBezTo>
                    <a:pt x="29458" y="12162"/>
                    <a:pt x="27036" y="10874"/>
                    <a:pt x="23446" y="10874"/>
                  </a:cubicBezTo>
                  <a:cubicBezTo>
                    <a:pt x="19511" y="10565"/>
                    <a:pt x="15833" y="12857"/>
                    <a:pt x="14377" y="16525"/>
                  </a:cubicBezTo>
                  <a:cubicBezTo>
                    <a:pt x="13439" y="18955"/>
                    <a:pt x="13001" y="21549"/>
                    <a:pt x="13089" y="24151"/>
                  </a:cubicBezTo>
                  <a:lnTo>
                    <a:pt x="13089" y="51256"/>
                  </a:lnTo>
                  <a:lnTo>
                    <a:pt x="0" y="51256"/>
                  </a:lnTo>
                  <a:lnTo>
                    <a:pt x="0" y="1272"/>
                  </a:lnTo>
                  <a:lnTo>
                    <a:pt x="12676" y="1272"/>
                  </a:lnTo>
                  <a:lnTo>
                    <a:pt x="12676" y="8607"/>
                  </a:lnTo>
                  <a:cubicBezTo>
                    <a:pt x="13946" y="6502"/>
                    <a:pt x="15553" y="4622"/>
                    <a:pt x="17434" y="3042"/>
                  </a:cubicBezTo>
                  <a:cubicBezTo>
                    <a:pt x="20409" y="938"/>
                    <a:pt x="23996" y="-125"/>
                    <a:pt x="27637" y="18"/>
                  </a:cubicBezTo>
                  <a:cubicBezTo>
                    <a:pt x="32199" y="-181"/>
                    <a:pt x="36684" y="1243"/>
                    <a:pt x="40296" y="403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6" name="Google Shape;146;p21"/>
            <p:cNvSpPr/>
            <p:nvPr/>
          </p:nvSpPr>
          <p:spPr>
            <a:xfrm rot="-5400000">
              <a:off x="12017163" y="6218687"/>
              <a:ext cx="48082" cy="51510"/>
            </a:xfrm>
            <a:custGeom>
              <a:avLst/>
              <a:gdLst/>
              <a:ahLst/>
              <a:cxnLst/>
              <a:rect l="l" t="t" r="r" b="b"/>
              <a:pathLst>
                <a:path w="48082" h="51510" extrusionOk="0">
                  <a:moveTo>
                    <a:pt x="35384" y="2281"/>
                  </a:moveTo>
                  <a:cubicBezTo>
                    <a:pt x="38804" y="3821"/>
                    <a:pt x="41712" y="6306"/>
                    <a:pt x="43766" y="9444"/>
                  </a:cubicBezTo>
                  <a:cubicBezTo>
                    <a:pt x="45803" y="12448"/>
                    <a:pt x="47126" y="15880"/>
                    <a:pt x="47631" y="19475"/>
                  </a:cubicBezTo>
                  <a:cubicBezTo>
                    <a:pt x="48021" y="22665"/>
                    <a:pt x="48160" y="25881"/>
                    <a:pt x="48043" y="29094"/>
                  </a:cubicBezTo>
                  <a:lnTo>
                    <a:pt x="12711" y="29094"/>
                  </a:lnTo>
                  <a:cubicBezTo>
                    <a:pt x="12900" y="33955"/>
                    <a:pt x="14600" y="37373"/>
                    <a:pt x="17778" y="39400"/>
                  </a:cubicBezTo>
                  <a:cubicBezTo>
                    <a:pt x="19884" y="40669"/>
                    <a:pt x="22311" y="41306"/>
                    <a:pt x="24769" y="41237"/>
                  </a:cubicBezTo>
                  <a:cubicBezTo>
                    <a:pt x="27307" y="41354"/>
                    <a:pt x="29803" y="40563"/>
                    <a:pt x="31811" y="39004"/>
                  </a:cubicBezTo>
                  <a:cubicBezTo>
                    <a:pt x="32891" y="38080"/>
                    <a:pt x="33774" y="36947"/>
                    <a:pt x="34405" y="35672"/>
                  </a:cubicBezTo>
                  <a:lnTo>
                    <a:pt x="47407" y="35672"/>
                  </a:lnTo>
                  <a:cubicBezTo>
                    <a:pt x="46818" y="39021"/>
                    <a:pt x="45169" y="42092"/>
                    <a:pt x="42701" y="44432"/>
                  </a:cubicBezTo>
                  <a:cubicBezTo>
                    <a:pt x="38355" y="49156"/>
                    <a:pt x="32292" y="51509"/>
                    <a:pt x="24459" y="51509"/>
                  </a:cubicBezTo>
                  <a:cubicBezTo>
                    <a:pt x="18245" y="51584"/>
                    <a:pt x="12202" y="49474"/>
                    <a:pt x="7386" y="45549"/>
                  </a:cubicBezTo>
                  <a:cubicBezTo>
                    <a:pt x="2461" y="41564"/>
                    <a:pt x="0" y="35094"/>
                    <a:pt x="0" y="26139"/>
                  </a:cubicBezTo>
                  <a:cubicBezTo>
                    <a:pt x="0" y="17746"/>
                    <a:pt x="2228" y="11304"/>
                    <a:pt x="6682" y="6816"/>
                  </a:cubicBezTo>
                  <a:cubicBezTo>
                    <a:pt x="11252" y="2254"/>
                    <a:pt x="17508" y="-208"/>
                    <a:pt x="23961" y="14"/>
                  </a:cubicBezTo>
                  <a:cubicBezTo>
                    <a:pt x="27886" y="-52"/>
                    <a:pt x="31782" y="721"/>
                    <a:pt x="35384" y="2281"/>
                  </a:cubicBezTo>
                  <a:close/>
                  <a:moveTo>
                    <a:pt x="16490" y="13223"/>
                  </a:moveTo>
                  <a:cubicBezTo>
                    <a:pt x="14554" y="15309"/>
                    <a:pt x="13350" y="17967"/>
                    <a:pt x="13054" y="20797"/>
                  </a:cubicBezTo>
                  <a:lnTo>
                    <a:pt x="34886" y="20797"/>
                  </a:lnTo>
                  <a:cubicBezTo>
                    <a:pt x="34844" y="17880"/>
                    <a:pt x="33601" y="15108"/>
                    <a:pt x="31450" y="13137"/>
                  </a:cubicBezTo>
                  <a:cubicBezTo>
                    <a:pt x="29363" y="11367"/>
                    <a:pt x="26698" y="10426"/>
                    <a:pt x="23961" y="10491"/>
                  </a:cubicBezTo>
                  <a:cubicBezTo>
                    <a:pt x="21201" y="10337"/>
                    <a:pt x="18499" y="11325"/>
                    <a:pt x="16490" y="13223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47" name="Google Shape;147;p21"/>
          <p:cNvSpPr txBox="1"/>
          <p:nvPr/>
        </p:nvSpPr>
        <p:spPr>
          <a:xfrm rot="-5400000">
            <a:off x="11250971" y="5290633"/>
            <a:ext cx="1567737" cy="110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</a:pPr>
            <a:r>
              <a:rPr lang="en-US" sz="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Copyright © 2020. All rights reserved.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48" name="Google Shape;148;p21"/>
          <p:cNvSpPr txBox="1">
            <a:spLocks noGrp="1"/>
          </p:cNvSpPr>
          <p:nvPr>
            <p:ph type="sldNum" idx="12"/>
          </p:nvPr>
        </p:nvSpPr>
        <p:spPr>
          <a:xfrm>
            <a:off x="11490153" y="6465614"/>
            <a:ext cx="150682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marL="0" marR="0" lvl="0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 xmlns:mv="urn:schemas-microsoft-com:mac:vml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5="http://schemas.microsoft.com/office/powerpoint/2012/main" xmlns:ahyp="http://schemas.microsoft.com/office/drawing/2018/hyperlinkcolor">
      <p:transition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 (with background)">
  <p:cSld name="Title only (with background)">
    <p:bg>
      <p:bgPr>
        <a:solidFill>
          <a:schemeClr val="lt2"/>
        </a:solidFill>
        <a:effectLst/>
      </p:bgPr>
    </p:bg>
    <p:spTree>
      <p:nvGrpSpPr>
        <p:cNvPr id="1" name="Shape 1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0" name="Google Shape;150;p22"/>
          <p:cNvSpPr txBox="1">
            <a:spLocks noGrp="1"/>
          </p:cNvSpPr>
          <p:nvPr>
            <p:ph type="title"/>
          </p:nvPr>
        </p:nvSpPr>
        <p:spPr>
          <a:xfrm>
            <a:off x="539400" y="560588"/>
            <a:ext cx="11089972" cy="42229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200"/>
              <a:buFont typeface="Franklin Gothic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51" name="Google Shape;151;p22"/>
          <p:cNvSpPr txBox="1">
            <a:spLocks noGrp="1"/>
          </p:cNvSpPr>
          <p:nvPr>
            <p:ph type="sldNum" idx="12"/>
          </p:nvPr>
        </p:nvSpPr>
        <p:spPr>
          <a:xfrm>
            <a:off x="11490153" y="6465614"/>
            <a:ext cx="150682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marL="0" marR="0" lvl="0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52" name="Google Shape;152;p22"/>
          <p:cNvSpPr txBox="1">
            <a:spLocks noGrp="1"/>
          </p:cNvSpPr>
          <p:nvPr>
            <p:ph type="ftr" idx="11"/>
          </p:nvPr>
        </p:nvSpPr>
        <p:spPr>
          <a:xfrm>
            <a:off x="550863" y="6465614"/>
            <a:ext cx="5545138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itle only (with background)">
  <p:cSld name="1_Title only (with background)">
    <p:bg>
      <p:bgPr>
        <a:solidFill>
          <a:schemeClr val="lt2"/>
        </a:solidFill>
        <a:effectLst/>
      </p:bgPr>
    </p:bg>
    <p:spTree>
      <p:nvGrpSpPr>
        <p:cNvPr id="1" name="Shape 15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4" name="Google Shape;154;p23"/>
          <p:cNvSpPr txBox="1">
            <a:spLocks noGrp="1"/>
          </p:cNvSpPr>
          <p:nvPr>
            <p:ph type="title"/>
          </p:nvPr>
        </p:nvSpPr>
        <p:spPr>
          <a:xfrm>
            <a:off x="539400" y="560588"/>
            <a:ext cx="11089972" cy="42229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200"/>
              <a:buFont typeface="Franklin Gothic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55" name="Google Shape;155;p23"/>
          <p:cNvSpPr txBox="1">
            <a:spLocks noGrp="1"/>
          </p:cNvSpPr>
          <p:nvPr>
            <p:ph type="sldNum" idx="12"/>
          </p:nvPr>
        </p:nvSpPr>
        <p:spPr>
          <a:xfrm>
            <a:off x="11490153" y="6465614"/>
            <a:ext cx="150682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marL="0" marR="0" lvl="0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56" name="Google Shape;156;p23"/>
          <p:cNvSpPr txBox="1">
            <a:spLocks noGrp="1"/>
          </p:cNvSpPr>
          <p:nvPr>
            <p:ph type="ftr" idx="11"/>
          </p:nvPr>
        </p:nvSpPr>
        <p:spPr>
          <a:xfrm>
            <a:off x="550863" y="6465614"/>
            <a:ext cx="5545138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57" name="Google Shape;157;p23"/>
          <p:cNvSpPr txBox="1">
            <a:spLocks noGrp="1"/>
          </p:cNvSpPr>
          <p:nvPr>
            <p:ph type="body" idx="1"/>
          </p:nvPr>
        </p:nvSpPr>
        <p:spPr>
          <a:xfrm>
            <a:off x="550862" y="1028324"/>
            <a:ext cx="11089972" cy="2923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95000"/>
              </a:lnSpc>
              <a:spcBef>
                <a:spcPts val="1000"/>
              </a:spcBef>
              <a:spcAft>
                <a:spcPts val="0"/>
              </a:spcAft>
              <a:buClr>
                <a:srgbClr val="6D90F8"/>
              </a:buClr>
              <a:buSzPts val="2000"/>
              <a:buNone/>
              <a:defRPr sz="2000">
                <a:solidFill>
                  <a:srgbClr val="6D90F8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1pPr>
            <a:lvl2pPr marL="914400" lvl="1" indent="-331469" algn="l">
              <a:lnSpc>
                <a:spcPct val="95000"/>
              </a:lnSpc>
              <a:spcBef>
                <a:spcPts val="500"/>
              </a:spcBef>
              <a:spcAft>
                <a:spcPts val="0"/>
              </a:spcAft>
              <a:buSzPts val="1620"/>
              <a:buChar char="▪"/>
              <a:defRPr/>
            </a:lvl2pPr>
            <a:lvl3pPr marL="1371600" lvl="2" indent="-342900" algn="l">
              <a:lnSpc>
                <a:spcPct val="95000"/>
              </a:lnSpc>
              <a:spcBef>
                <a:spcPts val="300"/>
              </a:spcBef>
              <a:spcAft>
                <a:spcPts val="0"/>
              </a:spcAft>
              <a:buSzPts val="1800"/>
              <a:buChar char="−"/>
              <a:defRPr/>
            </a:lvl3pPr>
            <a:lvl4pPr marL="1828800" lvl="3" indent="-331469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620"/>
              <a:buChar char="▪"/>
              <a:defRPr/>
            </a:lvl4pPr>
            <a:lvl5pPr marL="2286000" lvl="4" indent="-34290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800"/>
              <a:buChar char="−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 Column">
  <p:cSld name="2 Column">
    <p:spTree>
      <p:nvGrpSpPr>
        <p:cNvPr id="1" name="Shape 1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9" name="Google Shape;159;p24"/>
          <p:cNvSpPr txBox="1">
            <a:spLocks noGrp="1"/>
          </p:cNvSpPr>
          <p:nvPr>
            <p:ph type="title"/>
          </p:nvPr>
        </p:nvSpPr>
        <p:spPr>
          <a:xfrm>
            <a:off x="539400" y="560588"/>
            <a:ext cx="11089972" cy="42229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200"/>
              <a:buFont typeface="Franklin Gothic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0" name="Google Shape;160;p24"/>
          <p:cNvSpPr txBox="1">
            <a:spLocks noGrp="1"/>
          </p:cNvSpPr>
          <p:nvPr>
            <p:ph type="sldNum" idx="12"/>
          </p:nvPr>
        </p:nvSpPr>
        <p:spPr>
          <a:xfrm>
            <a:off x="11490153" y="6465614"/>
            <a:ext cx="150682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marL="0" marR="0" lvl="0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61" name="Google Shape;161;p24"/>
          <p:cNvSpPr txBox="1">
            <a:spLocks noGrp="1"/>
          </p:cNvSpPr>
          <p:nvPr>
            <p:ph type="body" idx="1"/>
          </p:nvPr>
        </p:nvSpPr>
        <p:spPr>
          <a:xfrm>
            <a:off x="550863" y="2175803"/>
            <a:ext cx="5400675" cy="11515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95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400"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308610" algn="l">
              <a:lnSpc>
                <a:spcPct val="95000"/>
              </a:lnSpc>
              <a:spcBef>
                <a:spcPts val="500"/>
              </a:spcBef>
              <a:spcAft>
                <a:spcPts val="0"/>
              </a:spcAft>
              <a:buSzPts val="1260"/>
              <a:buChar char="▪"/>
              <a:defRPr sz="1400">
                <a:latin typeface="Calibri"/>
                <a:ea typeface="Calibri"/>
                <a:cs typeface="Calibri"/>
                <a:sym typeface="Calibri"/>
              </a:defRPr>
            </a:lvl2pPr>
            <a:lvl3pPr marL="1371600" lvl="2" indent="-228600" algn="l">
              <a:lnSpc>
                <a:spcPct val="95000"/>
              </a:lnSpc>
              <a:spcBef>
                <a:spcPts val="300"/>
              </a:spcBef>
              <a:spcAft>
                <a:spcPts val="0"/>
              </a:spcAft>
              <a:buSzPts val="1400"/>
              <a:buNone/>
              <a:defRPr sz="1400">
                <a:latin typeface="Calibri"/>
                <a:ea typeface="Calibri"/>
                <a:cs typeface="Calibri"/>
                <a:sym typeface="Calibri"/>
              </a:defRPr>
            </a:lvl3pPr>
            <a:lvl4pPr marL="1828800" lvl="3" indent="-30861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260"/>
              <a:buChar char="▪"/>
              <a:defRPr sz="1400">
                <a:latin typeface="Calibri"/>
                <a:ea typeface="Calibri"/>
                <a:cs typeface="Calibri"/>
                <a:sym typeface="Calibri"/>
              </a:defRPr>
            </a:lvl4pPr>
            <a:lvl5pPr marL="2286000" lvl="4" indent="-31750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400"/>
              <a:buChar char="−"/>
              <a:defRPr sz="1400">
                <a:latin typeface="Calibri"/>
                <a:ea typeface="Calibri"/>
                <a:cs typeface="Calibri"/>
                <a:sym typeface="Calibri"/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2" name="Google Shape;162;p24"/>
          <p:cNvSpPr txBox="1">
            <a:spLocks noGrp="1"/>
          </p:cNvSpPr>
          <p:nvPr>
            <p:ph type="body" idx="2"/>
          </p:nvPr>
        </p:nvSpPr>
        <p:spPr>
          <a:xfrm>
            <a:off x="550863" y="1857375"/>
            <a:ext cx="5400675" cy="26314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95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1800" b="1">
                <a:solidFill>
                  <a:schemeClr val="accen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331469" algn="l">
              <a:lnSpc>
                <a:spcPct val="95000"/>
              </a:lnSpc>
              <a:spcBef>
                <a:spcPts val="500"/>
              </a:spcBef>
              <a:spcAft>
                <a:spcPts val="0"/>
              </a:spcAft>
              <a:buSzPts val="1620"/>
              <a:buChar char="▪"/>
              <a:defRPr/>
            </a:lvl2pPr>
            <a:lvl3pPr marL="1371600" lvl="2" indent="-342900" algn="l">
              <a:lnSpc>
                <a:spcPct val="95000"/>
              </a:lnSpc>
              <a:spcBef>
                <a:spcPts val="300"/>
              </a:spcBef>
              <a:spcAft>
                <a:spcPts val="0"/>
              </a:spcAft>
              <a:buSzPts val="1800"/>
              <a:buChar char="−"/>
              <a:defRPr/>
            </a:lvl3pPr>
            <a:lvl4pPr marL="1828800" lvl="3" indent="-331469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620"/>
              <a:buChar char="▪"/>
              <a:defRPr/>
            </a:lvl4pPr>
            <a:lvl5pPr marL="2286000" lvl="4" indent="-34290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800"/>
              <a:buChar char="−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3" name="Google Shape;163;p24"/>
          <p:cNvSpPr txBox="1">
            <a:spLocks noGrp="1"/>
          </p:cNvSpPr>
          <p:nvPr>
            <p:ph type="body" idx="3"/>
          </p:nvPr>
        </p:nvSpPr>
        <p:spPr>
          <a:xfrm>
            <a:off x="6240464" y="2175803"/>
            <a:ext cx="5400675" cy="11515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95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400"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308610" algn="l">
              <a:lnSpc>
                <a:spcPct val="95000"/>
              </a:lnSpc>
              <a:spcBef>
                <a:spcPts val="500"/>
              </a:spcBef>
              <a:spcAft>
                <a:spcPts val="0"/>
              </a:spcAft>
              <a:buSzPts val="1260"/>
              <a:buChar char="▪"/>
              <a:defRPr sz="1400">
                <a:latin typeface="Calibri"/>
                <a:ea typeface="Calibri"/>
                <a:cs typeface="Calibri"/>
                <a:sym typeface="Calibri"/>
              </a:defRPr>
            </a:lvl2pPr>
            <a:lvl3pPr marL="1371600" lvl="2" indent="-317500" algn="l">
              <a:lnSpc>
                <a:spcPct val="95000"/>
              </a:lnSpc>
              <a:spcBef>
                <a:spcPts val="300"/>
              </a:spcBef>
              <a:spcAft>
                <a:spcPts val="0"/>
              </a:spcAft>
              <a:buSzPts val="1400"/>
              <a:buChar char="−"/>
              <a:defRPr sz="1400">
                <a:latin typeface="Calibri"/>
                <a:ea typeface="Calibri"/>
                <a:cs typeface="Calibri"/>
                <a:sym typeface="Calibri"/>
              </a:defRPr>
            </a:lvl3pPr>
            <a:lvl4pPr marL="1828800" lvl="3" indent="-30861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260"/>
              <a:buChar char="▪"/>
              <a:defRPr sz="1400">
                <a:latin typeface="Calibri"/>
                <a:ea typeface="Calibri"/>
                <a:cs typeface="Calibri"/>
                <a:sym typeface="Calibri"/>
              </a:defRPr>
            </a:lvl4pPr>
            <a:lvl5pPr marL="2286000" lvl="4" indent="-31750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400"/>
              <a:buChar char="−"/>
              <a:defRPr sz="1400">
                <a:latin typeface="Calibri"/>
                <a:ea typeface="Calibri"/>
                <a:cs typeface="Calibri"/>
                <a:sym typeface="Calibri"/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4" name="Google Shape;164;p24"/>
          <p:cNvSpPr txBox="1">
            <a:spLocks noGrp="1"/>
          </p:cNvSpPr>
          <p:nvPr>
            <p:ph type="body" idx="4"/>
          </p:nvPr>
        </p:nvSpPr>
        <p:spPr>
          <a:xfrm>
            <a:off x="6240464" y="1857375"/>
            <a:ext cx="5400675" cy="26314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95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1800" b="1">
                <a:solidFill>
                  <a:schemeClr val="accen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331469" algn="l">
              <a:lnSpc>
                <a:spcPct val="95000"/>
              </a:lnSpc>
              <a:spcBef>
                <a:spcPts val="500"/>
              </a:spcBef>
              <a:spcAft>
                <a:spcPts val="0"/>
              </a:spcAft>
              <a:buSzPts val="1620"/>
              <a:buChar char="▪"/>
              <a:defRPr/>
            </a:lvl2pPr>
            <a:lvl3pPr marL="1371600" lvl="2" indent="-342900" algn="l">
              <a:lnSpc>
                <a:spcPct val="95000"/>
              </a:lnSpc>
              <a:spcBef>
                <a:spcPts val="300"/>
              </a:spcBef>
              <a:spcAft>
                <a:spcPts val="0"/>
              </a:spcAft>
              <a:buSzPts val="1800"/>
              <a:buChar char="−"/>
              <a:defRPr/>
            </a:lvl3pPr>
            <a:lvl4pPr marL="1828800" lvl="3" indent="-331469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620"/>
              <a:buChar char="▪"/>
              <a:defRPr/>
            </a:lvl4pPr>
            <a:lvl5pPr marL="2286000" lvl="4" indent="-34290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800"/>
              <a:buChar char="−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5" name="Google Shape;165;p24"/>
          <p:cNvSpPr txBox="1">
            <a:spLocks noGrp="1"/>
          </p:cNvSpPr>
          <p:nvPr>
            <p:ph type="ftr" idx="11"/>
          </p:nvPr>
        </p:nvSpPr>
        <p:spPr>
          <a:xfrm>
            <a:off x="550863" y="6465614"/>
            <a:ext cx="5545138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 Column">
  <p:cSld name="3 Column">
    <p:spTree>
      <p:nvGrpSpPr>
        <p:cNvPr id="1" name="Shape 16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7" name="Google Shape;167;p25"/>
          <p:cNvSpPr txBox="1">
            <a:spLocks noGrp="1"/>
          </p:cNvSpPr>
          <p:nvPr>
            <p:ph type="title"/>
          </p:nvPr>
        </p:nvSpPr>
        <p:spPr>
          <a:xfrm>
            <a:off x="539400" y="560588"/>
            <a:ext cx="11089972" cy="42229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200"/>
              <a:buFont typeface="Franklin Gothic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8" name="Google Shape;168;p25"/>
          <p:cNvSpPr txBox="1">
            <a:spLocks noGrp="1"/>
          </p:cNvSpPr>
          <p:nvPr>
            <p:ph type="sldNum" idx="12"/>
          </p:nvPr>
        </p:nvSpPr>
        <p:spPr>
          <a:xfrm>
            <a:off x="11490153" y="6465614"/>
            <a:ext cx="150682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marL="0" marR="0" lvl="0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69" name="Google Shape;169;p25"/>
          <p:cNvSpPr txBox="1">
            <a:spLocks noGrp="1"/>
          </p:cNvSpPr>
          <p:nvPr>
            <p:ph type="body" idx="1"/>
          </p:nvPr>
        </p:nvSpPr>
        <p:spPr>
          <a:xfrm>
            <a:off x="550864" y="2175803"/>
            <a:ext cx="3506976" cy="11515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95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400"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308610" algn="l">
              <a:lnSpc>
                <a:spcPct val="95000"/>
              </a:lnSpc>
              <a:spcBef>
                <a:spcPts val="500"/>
              </a:spcBef>
              <a:spcAft>
                <a:spcPts val="0"/>
              </a:spcAft>
              <a:buSzPts val="1260"/>
              <a:buChar char="▪"/>
              <a:defRPr sz="1400">
                <a:latin typeface="Calibri"/>
                <a:ea typeface="Calibri"/>
                <a:cs typeface="Calibri"/>
                <a:sym typeface="Calibri"/>
              </a:defRPr>
            </a:lvl2pPr>
            <a:lvl3pPr marL="1371600" lvl="2" indent="-228600" algn="l">
              <a:lnSpc>
                <a:spcPct val="95000"/>
              </a:lnSpc>
              <a:spcBef>
                <a:spcPts val="300"/>
              </a:spcBef>
              <a:spcAft>
                <a:spcPts val="0"/>
              </a:spcAft>
              <a:buSzPts val="1400"/>
              <a:buNone/>
              <a:defRPr sz="1400">
                <a:latin typeface="Calibri"/>
                <a:ea typeface="Calibri"/>
                <a:cs typeface="Calibri"/>
                <a:sym typeface="Calibri"/>
              </a:defRPr>
            </a:lvl3pPr>
            <a:lvl4pPr marL="1828800" lvl="3" indent="-30861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260"/>
              <a:buChar char="▪"/>
              <a:defRPr sz="1400">
                <a:latin typeface="Calibri"/>
                <a:ea typeface="Calibri"/>
                <a:cs typeface="Calibri"/>
                <a:sym typeface="Calibri"/>
              </a:defRPr>
            </a:lvl4pPr>
            <a:lvl5pPr marL="2286000" lvl="4" indent="-31750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400"/>
              <a:buChar char="−"/>
              <a:defRPr sz="1400">
                <a:latin typeface="Calibri"/>
                <a:ea typeface="Calibri"/>
                <a:cs typeface="Calibri"/>
                <a:sym typeface="Calibri"/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70" name="Google Shape;170;p25"/>
          <p:cNvSpPr txBox="1">
            <a:spLocks noGrp="1"/>
          </p:cNvSpPr>
          <p:nvPr>
            <p:ph type="body" idx="2"/>
          </p:nvPr>
        </p:nvSpPr>
        <p:spPr>
          <a:xfrm>
            <a:off x="550864" y="1857375"/>
            <a:ext cx="3506976" cy="26314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95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1800" b="1">
                <a:solidFill>
                  <a:schemeClr val="accen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331469" algn="l">
              <a:lnSpc>
                <a:spcPct val="95000"/>
              </a:lnSpc>
              <a:spcBef>
                <a:spcPts val="500"/>
              </a:spcBef>
              <a:spcAft>
                <a:spcPts val="0"/>
              </a:spcAft>
              <a:buSzPts val="1620"/>
              <a:buChar char="▪"/>
              <a:defRPr/>
            </a:lvl2pPr>
            <a:lvl3pPr marL="1371600" lvl="2" indent="-342900" algn="l">
              <a:lnSpc>
                <a:spcPct val="95000"/>
              </a:lnSpc>
              <a:spcBef>
                <a:spcPts val="300"/>
              </a:spcBef>
              <a:spcAft>
                <a:spcPts val="0"/>
              </a:spcAft>
              <a:buSzPts val="1800"/>
              <a:buChar char="−"/>
              <a:defRPr/>
            </a:lvl3pPr>
            <a:lvl4pPr marL="1828800" lvl="3" indent="-331469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620"/>
              <a:buChar char="▪"/>
              <a:defRPr/>
            </a:lvl4pPr>
            <a:lvl5pPr marL="2286000" lvl="4" indent="-34290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800"/>
              <a:buChar char="−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71" name="Google Shape;171;p25"/>
          <p:cNvSpPr txBox="1">
            <a:spLocks noGrp="1"/>
          </p:cNvSpPr>
          <p:nvPr>
            <p:ph type="body" idx="3"/>
          </p:nvPr>
        </p:nvSpPr>
        <p:spPr>
          <a:xfrm>
            <a:off x="8135839" y="2175803"/>
            <a:ext cx="3505300" cy="11515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95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400"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308610" algn="l">
              <a:lnSpc>
                <a:spcPct val="95000"/>
              </a:lnSpc>
              <a:spcBef>
                <a:spcPts val="500"/>
              </a:spcBef>
              <a:spcAft>
                <a:spcPts val="0"/>
              </a:spcAft>
              <a:buSzPts val="1260"/>
              <a:buChar char="▪"/>
              <a:defRPr sz="1400">
                <a:latin typeface="Calibri"/>
                <a:ea typeface="Calibri"/>
                <a:cs typeface="Calibri"/>
                <a:sym typeface="Calibri"/>
              </a:defRPr>
            </a:lvl2pPr>
            <a:lvl3pPr marL="1371600" lvl="2" indent="-317500" algn="l">
              <a:lnSpc>
                <a:spcPct val="95000"/>
              </a:lnSpc>
              <a:spcBef>
                <a:spcPts val="300"/>
              </a:spcBef>
              <a:spcAft>
                <a:spcPts val="0"/>
              </a:spcAft>
              <a:buSzPts val="1400"/>
              <a:buChar char="−"/>
              <a:defRPr sz="1400">
                <a:latin typeface="Calibri"/>
                <a:ea typeface="Calibri"/>
                <a:cs typeface="Calibri"/>
                <a:sym typeface="Calibri"/>
              </a:defRPr>
            </a:lvl3pPr>
            <a:lvl4pPr marL="1828800" lvl="3" indent="-30861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260"/>
              <a:buChar char="▪"/>
              <a:defRPr sz="1400">
                <a:latin typeface="Calibri"/>
                <a:ea typeface="Calibri"/>
                <a:cs typeface="Calibri"/>
                <a:sym typeface="Calibri"/>
              </a:defRPr>
            </a:lvl4pPr>
            <a:lvl5pPr marL="2286000" lvl="4" indent="-31750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400"/>
              <a:buChar char="−"/>
              <a:defRPr sz="1400">
                <a:latin typeface="Calibri"/>
                <a:ea typeface="Calibri"/>
                <a:cs typeface="Calibri"/>
                <a:sym typeface="Calibri"/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72" name="Google Shape;172;p25"/>
          <p:cNvSpPr txBox="1">
            <a:spLocks noGrp="1"/>
          </p:cNvSpPr>
          <p:nvPr>
            <p:ph type="body" idx="4"/>
          </p:nvPr>
        </p:nvSpPr>
        <p:spPr>
          <a:xfrm>
            <a:off x="8135839" y="1857375"/>
            <a:ext cx="3505300" cy="26314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95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1800" b="1">
                <a:solidFill>
                  <a:schemeClr val="accen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331469" algn="l">
              <a:lnSpc>
                <a:spcPct val="95000"/>
              </a:lnSpc>
              <a:spcBef>
                <a:spcPts val="500"/>
              </a:spcBef>
              <a:spcAft>
                <a:spcPts val="0"/>
              </a:spcAft>
              <a:buSzPts val="1620"/>
              <a:buChar char="▪"/>
              <a:defRPr/>
            </a:lvl2pPr>
            <a:lvl3pPr marL="1371600" lvl="2" indent="-342900" algn="l">
              <a:lnSpc>
                <a:spcPct val="95000"/>
              </a:lnSpc>
              <a:spcBef>
                <a:spcPts val="300"/>
              </a:spcBef>
              <a:spcAft>
                <a:spcPts val="0"/>
              </a:spcAft>
              <a:buSzPts val="1800"/>
              <a:buChar char="−"/>
              <a:defRPr/>
            </a:lvl3pPr>
            <a:lvl4pPr marL="1828800" lvl="3" indent="-331469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620"/>
              <a:buChar char="▪"/>
              <a:defRPr/>
            </a:lvl4pPr>
            <a:lvl5pPr marL="2286000" lvl="4" indent="-34290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800"/>
              <a:buChar char="−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73" name="Google Shape;173;p25"/>
          <p:cNvSpPr txBox="1">
            <a:spLocks noGrp="1"/>
          </p:cNvSpPr>
          <p:nvPr>
            <p:ph type="body" idx="5"/>
          </p:nvPr>
        </p:nvSpPr>
        <p:spPr>
          <a:xfrm>
            <a:off x="4344162" y="2175803"/>
            <a:ext cx="3505300" cy="11515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95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400"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308610" algn="l">
              <a:lnSpc>
                <a:spcPct val="95000"/>
              </a:lnSpc>
              <a:spcBef>
                <a:spcPts val="500"/>
              </a:spcBef>
              <a:spcAft>
                <a:spcPts val="0"/>
              </a:spcAft>
              <a:buSzPts val="1260"/>
              <a:buChar char="▪"/>
              <a:defRPr sz="1400">
                <a:latin typeface="Calibri"/>
                <a:ea typeface="Calibri"/>
                <a:cs typeface="Calibri"/>
                <a:sym typeface="Calibri"/>
              </a:defRPr>
            </a:lvl2pPr>
            <a:lvl3pPr marL="1371600" lvl="2" indent="-317500" algn="l">
              <a:lnSpc>
                <a:spcPct val="95000"/>
              </a:lnSpc>
              <a:spcBef>
                <a:spcPts val="300"/>
              </a:spcBef>
              <a:spcAft>
                <a:spcPts val="0"/>
              </a:spcAft>
              <a:buSzPts val="1400"/>
              <a:buChar char="−"/>
              <a:defRPr sz="1400">
                <a:latin typeface="Calibri"/>
                <a:ea typeface="Calibri"/>
                <a:cs typeface="Calibri"/>
                <a:sym typeface="Calibri"/>
              </a:defRPr>
            </a:lvl3pPr>
            <a:lvl4pPr marL="1828800" lvl="3" indent="-30861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260"/>
              <a:buChar char="▪"/>
              <a:defRPr sz="1400">
                <a:latin typeface="Calibri"/>
                <a:ea typeface="Calibri"/>
                <a:cs typeface="Calibri"/>
                <a:sym typeface="Calibri"/>
              </a:defRPr>
            </a:lvl4pPr>
            <a:lvl5pPr marL="2286000" lvl="4" indent="-31750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400"/>
              <a:buChar char="−"/>
              <a:defRPr sz="1400">
                <a:latin typeface="Calibri"/>
                <a:ea typeface="Calibri"/>
                <a:cs typeface="Calibri"/>
                <a:sym typeface="Calibri"/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74" name="Google Shape;174;p25"/>
          <p:cNvSpPr txBox="1">
            <a:spLocks noGrp="1"/>
          </p:cNvSpPr>
          <p:nvPr>
            <p:ph type="body" idx="6"/>
          </p:nvPr>
        </p:nvSpPr>
        <p:spPr>
          <a:xfrm>
            <a:off x="4344162" y="1857375"/>
            <a:ext cx="3505300" cy="26314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95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1800" b="1">
                <a:solidFill>
                  <a:schemeClr val="accen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331469" algn="l">
              <a:lnSpc>
                <a:spcPct val="95000"/>
              </a:lnSpc>
              <a:spcBef>
                <a:spcPts val="500"/>
              </a:spcBef>
              <a:spcAft>
                <a:spcPts val="0"/>
              </a:spcAft>
              <a:buSzPts val="1620"/>
              <a:buChar char="▪"/>
              <a:defRPr/>
            </a:lvl2pPr>
            <a:lvl3pPr marL="1371600" lvl="2" indent="-342900" algn="l">
              <a:lnSpc>
                <a:spcPct val="95000"/>
              </a:lnSpc>
              <a:spcBef>
                <a:spcPts val="300"/>
              </a:spcBef>
              <a:spcAft>
                <a:spcPts val="0"/>
              </a:spcAft>
              <a:buSzPts val="1800"/>
              <a:buChar char="−"/>
              <a:defRPr/>
            </a:lvl3pPr>
            <a:lvl4pPr marL="1828800" lvl="3" indent="-331469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620"/>
              <a:buChar char="▪"/>
              <a:defRPr/>
            </a:lvl4pPr>
            <a:lvl5pPr marL="2286000" lvl="4" indent="-34290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800"/>
              <a:buChar char="−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75" name="Google Shape;175;p25"/>
          <p:cNvSpPr txBox="1">
            <a:spLocks noGrp="1"/>
          </p:cNvSpPr>
          <p:nvPr>
            <p:ph type="ftr" idx="11"/>
          </p:nvPr>
        </p:nvSpPr>
        <p:spPr>
          <a:xfrm>
            <a:off x="550863" y="6465614"/>
            <a:ext cx="5545138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5 Column">
  <p:cSld name="5 Column">
    <p:spTree>
      <p:nvGrpSpPr>
        <p:cNvPr id="1" name="Shape 17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7" name="Google Shape;177;p26"/>
          <p:cNvSpPr txBox="1">
            <a:spLocks noGrp="1"/>
          </p:cNvSpPr>
          <p:nvPr>
            <p:ph type="title"/>
          </p:nvPr>
        </p:nvSpPr>
        <p:spPr>
          <a:xfrm>
            <a:off x="539400" y="560588"/>
            <a:ext cx="11089972" cy="42229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200"/>
              <a:buFont typeface="Franklin Gothic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78" name="Google Shape;178;p26"/>
          <p:cNvSpPr txBox="1">
            <a:spLocks noGrp="1"/>
          </p:cNvSpPr>
          <p:nvPr>
            <p:ph type="sldNum" idx="12"/>
          </p:nvPr>
        </p:nvSpPr>
        <p:spPr>
          <a:xfrm>
            <a:off x="11490153" y="6465614"/>
            <a:ext cx="150682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marL="0" marR="0" lvl="0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79" name="Google Shape;179;p26"/>
          <p:cNvSpPr txBox="1">
            <a:spLocks noGrp="1"/>
          </p:cNvSpPr>
          <p:nvPr>
            <p:ph type="body" idx="1"/>
          </p:nvPr>
        </p:nvSpPr>
        <p:spPr>
          <a:xfrm>
            <a:off x="550864" y="2175803"/>
            <a:ext cx="1983600" cy="11515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95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400"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308610" algn="l">
              <a:lnSpc>
                <a:spcPct val="95000"/>
              </a:lnSpc>
              <a:spcBef>
                <a:spcPts val="500"/>
              </a:spcBef>
              <a:spcAft>
                <a:spcPts val="0"/>
              </a:spcAft>
              <a:buSzPts val="1260"/>
              <a:buChar char="▪"/>
              <a:defRPr sz="1400">
                <a:latin typeface="Calibri"/>
                <a:ea typeface="Calibri"/>
                <a:cs typeface="Calibri"/>
                <a:sym typeface="Calibri"/>
              </a:defRPr>
            </a:lvl2pPr>
            <a:lvl3pPr marL="1371600" lvl="2" indent="-228600" algn="l">
              <a:lnSpc>
                <a:spcPct val="95000"/>
              </a:lnSpc>
              <a:spcBef>
                <a:spcPts val="300"/>
              </a:spcBef>
              <a:spcAft>
                <a:spcPts val="0"/>
              </a:spcAft>
              <a:buSzPts val="1400"/>
              <a:buNone/>
              <a:defRPr sz="1400">
                <a:latin typeface="Calibri"/>
                <a:ea typeface="Calibri"/>
                <a:cs typeface="Calibri"/>
                <a:sym typeface="Calibri"/>
              </a:defRPr>
            </a:lvl3pPr>
            <a:lvl4pPr marL="1828800" lvl="3" indent="-30861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260"/>
              <a:buChar char="▪"/>
              <a:defRPr sz="1400">
                <a:latin typeface="Calibri"/>
                <a:ea typeface="Calibri"/>
                <a:cs typeface="Calibri"/>
                <a:sym typeface="Calibri"/>
              </a:defRPr>
            </a:lvl4pPr>
            <a:lvl5pPr marL="2286000" lvl="4" indent="-31750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400"/>
              <a:buChar char="−"/>
              <a:defRPr sz="1400">
                <a:latin typeface="Calibri"/>
                <a:ea typeface="Calibri"/>
                <a:cs typeface="Calibri"/>
                <a:sym typeface="Calibri"/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0" name="Google Shape;180;p26"/>
          <p:cNvSpPr txBox="1">
            <a:spLocks noGrp="1"/>
          </p:cNvSpPr>
          <p:nvPr>
            <p:ph type="body" idx="2"/>
          </p:nvPr>
        </p:nvSpPr>
        <p:spPr>
          <a:xfrm>
            <a:off x="550864" y="1857375"/>
            <a:ext cx="1983600" cy="26314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95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1800" b="1">
                <a:solidFill>
                  <a:schemeClr val="accen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331469" algn="l">
              <a:lnSpc>
                <a:spcPct val="95000"/>
              </a:lnSpc>
              <a:spcBef>
                <a:spcPts val="500"/>
              </a:spcBef>
              <a:spcAft>
                <a:spcPts val="0"/>
              </a:spcAft>
              <a:buSzPts val="1620"/>
              <a:buChar char="▪"/>
              <a:defRPr/>
            </a:lvl2pPr>
            <a:lvl3pPr marL="1371600" lvl="2" indent="-342900" algn="l">
              <a:lnSpc>
                <a:spcPct val="95000"/>
              </a:lnSpc>
              <a:spcBef>
                <a:spcPts val="300"/>
              </a:spcBef>
              <a:spcAft>
                <a:spcPts val="0"/>
              </a:spcAft>
              <a:buSzPts val="1800"/>
              <a:buChar char="−"/>
              <a:defRPr/>
            </a:lvl3pPr>
            <a:lvl4pPr marL="1828800" lvl="3" indent="-331469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620"/>
              <a:buChar char="▪"/>
              <a:defRPr/>
            </a:lvl4pPr>
            <a:lvl5pPr marL="2286000" lvl="4" indent="-34290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800"/>
              <a:buChar char="−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1" name="Google Shape;181;p26"/>
          <p:cNvSpPr txBox="1">
            <a:spLocks noGrp="1"/>
          </p:cNvSpPr>
          <p:nvPr>
            <p:ph type="body" idx="3"/>
          </p:nvPr>
        </p:nvSpPr>
        <p:spPr>
          <a:xfrm>
            <a:off x="5104050" y="2175803"/>
            <a:ext cx="1980034" cy="11515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95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400"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308610" algn="l">
              <a:lnSpc>
                <a:spcPct val="95000"/>
              </a:lnSpc>
              <a:spcBef>
                <a:spcPts val="500"/>
              </a:spcBef>
              <a:spcAft>
                <a:spcPts val="0"/>
              </a:spcAft>
              <a:buSzPts val="1260"/>
              <a:buChar char="▪"/>
              <a:defRPr sz="1400">
                <a:latin typeface="Calibri"/>
                <a:ea typeface="Calibri"/>
                <a:cs typeface="Calibri"/>
                <a:sym typeface="Calibri"/>
              </a:defRPr>
            </a:lvl2pPr>
            <a:lvl3pPr marL="1371600" lvl="2" indent="-317500" algn="l">
              <a:lnSpc>
                <a:spcPct val="95000"/>
              </a:lnSpc>
              <a:spcBef>
                <a:spcPts val="300"/>
              </a:spcBef>
              <a:spcAft>
                <a:spcPts val="0"/>
              </a:spcAft>
              <a:buSzPts val="1400"/>
              <a:buChar char="−"/>
              <a:defRPr sz="1400">
                <a:latin typeface="Calibri"/>
                <a:ea typeface="Calibri"/>
                <a:cs typeface="Calibri"/>
                <a:sym typeface="Calibri"/>
              </a:defRPr>
            </a:lvl3pPr>
            <a:lvl4pPr marL="1828800" lvl="3" indent="-30861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260"/>
              <a:buChar char="▪"/>
              <a:defRPr sz="1400">
                <a:latin typeface="Calibri"/>
                <a:ea typeface="Calibri"/>
                <a:cs typeface="Calibri"/>
                <a:sym typeface="Calibri"/>
              </a:defRPr>
            </a:lvl4pPr>
            <a:lvl5pPr marL="2286000" lvl="4" indent="-31750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400"/>
              <a:buChar char="−"/>
              <a:defRPr sz="1400">
                <a:latin typeface="Calibri"/>
                <a:ea typeface="Calibri"/>
                <a:cs typeface="Calibri"/>
                <a:sym typeface="Calibri"/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2" name="Google Shape;182;p26"/>
          <p:cNvSpPr txBox="1">
            <a:spLocks noGrp="1"/>
          </p:cNvSpPr>
          <p:nvPr>
            <p:ph type="body" idx="4"/>
          </p:nvPr>
        </p:nvSpPr>
        <p:spPr>
          <a:xfrm>
            <a:off x="5104050" y="1857375"/>
            <a:ext cx="1980034" cy="26314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95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1800" b="1">
                <a:solidFill>
                  <a:schemeClr val="accen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331469" algn="l">
              <a:lnSpc>
                <a:spcPct val="95000"/>
              </a:lnSpc>
              <a:spcBef>
                <a:spcPts val="500"/>
              </a:spcBef>
              <a:spcAft>
                <a:spcPts val="0"/>
              </a:spcAft>
              <a:buSzPts val="1620"/>
              <a:buChar char="▪"/>
              <a:defRPr/>
            </a:lvl2pPr>
            <a:lvl3pPr marL="1371600" lvl="2" indent="-342900" algn="l">
              <a:lnSpc>
                <a:spcPct val="95000"/>
              </a:lnSpc>
              <a:spcBef>
                <a:spcPts val="300"/>
              </a:spcBef>
              <a:spcAft>
                <a:spcPts val="0"/>
              </a:spcAft>
              <a:buSzPts val="1800"/>
              <a:buChar char="−"/>
              <a:defRPr/>
            </a:lvl3pPr>
            <a:lvl4pPr marL="1828800" lvl="3" indent="-331469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620"/>
              <a:buChar char="▪"/>
              <a:defRPr/>
            </a:lvl4pPr>
            <a:lvl5pPr marL="2286000" lvl="4" indent="-34290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800"/>
              <a:buChar char="−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3" name="Google Shape;183;p26"/>
          <p:cNvSpPr txBox="1">
            <a:spLocks noGrp="1"/>
          </p:cNvSpPr>
          <p:nvPr>
            <p:ph type="body" idx="5"/>
          </p:nvPr>
        </p:nvSpPr>
        <p:spPr>
          <a:xfrm>
            <a:off x="2827457" y="2175803"/>
            <a:ext cx="1983600" cy="11515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95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400"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308610" algn="l">
              <a:lnSpc>
                <a:spcPct val="95000"/>
              </a:lnSpc>
              <a:spcBef>
                <a:spcPts val="500"/>
              </a:spcBef>
              <a:spcAft>
                <a:spcPts val="0"/>
              </a:spcAft>
              <a:buSzPts val="1260"/>
              <a:buChar char="▪"/>
              <a:defRPr sz="1400">
                <a:latin typeface="Calibri"/>
                <a:ea typeface="Calibri"/>
                <a:cs typeface="Calibri"/>
                <a:sym typeface="Calibri"/>
              </a:defRPr>
            </a:lvl2pPr>
            <a:lvl3pPr marL="1371600" lvl="2" indent="-228600" algn="l">
              <a:lnSpc>
                <a:spcPct val="95000"/>
              </a:lnSpc>
              <a:spcBef>
                <a:spcPts val="300"/>
              </a:spcBef>
              <a:spcAft>
                <a:spcPts val="0"/>
              </a:spcAft>
              <a:buSzPts val="1400"/>
              <a:buNone/>
              <a:defRPr sz="1400">
                <a:latin typeface="Calibri"/>
                <a:ea typeface="Calibri"/>
                <a:cs typeface="Calibri"/>
                <a:sym typeface="Calibri"/>
              </a:defRPr>
            </a:lvl3pPr>
            <a:lvl4pPr marL="1828800" lvl="3" indent="-30861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260"/>
              <a:buChar char="▪"/>
              <a:defRPr sz="1400">
                <a:latin typeface="Calibri"/>
                <a:ea typeface="Calibri"/>
                <a:cs typeface="Calibri"/>
                <a:sym typeface="Calibri"/>
              </a:defRPr>
            </a:lvl4pPr>
            <a:lvl5pPr marL="2286000" lvl="4" indent="-31750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400"/>
              <a:buChar char="−"/>
              <a:defRPr sz="1400">
                <a:latin typeface="Calibri"/>
                <a:ea typeface="Calibri"/>
                <a:cs typeface="Calibri"/>
                <a:sym typeface="Calibri"/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4" name="Google Shape;184;p26"/>
          <p:cNvSpPr txBox="1">
            <a:spLocks noGrp="1"/>
          </p:cNvSpPr>
          <p:nvPr>
            <p:ph type="body" idx="6"/>
          </p:nvPr>
        </p:nvSpPr>
        <p:spPr>
          <a:xfrm>
            <a:off x="2827457" y="1857375"/>
            <a:ext cx="1983600" cy="26314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95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1800" b="1">
                <a:solidFill>
                  <a:schemeClr val="accen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331469" algn="l">
              <a:lnSpc>
                <a:spcPct val="95000"/>
              </a:lnSpc>
              <a:spcBef>
                <a:spcPts val="500"/>
              </a:spcBef>
              <a:spcAft>
                <a:spcPts val="0"/>
              </a:spcAft>
              <a:buSzPts val="1620"/>
              <a:buChar char="▪"/>
              <a:defRPr/>
            </a:lvl2pPr>
            <a:lvl3pPr marL="1371600" lvl="2" indent="-342900" algn="l">
              <a:lnSpc>
                <a:spcPct val="95000"/>
              </a:lnSpc>
              <a:spcBef>
                <a:spcPts val="300"/>
              </a:spcBef>
              <a:spcAft>
                <a:spcPts val="0"/>
              </a:spcAft>
              <a:buSzPts val="1800"/>
              <a:buChar char="−"/>
              <a:defRPr/>
            </a:lvl3pPr>
            <a:lvl4pPr marL="1828800" lvl="3" indent="-331469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620"/>
              <a:buChar char="▪"/>
              <a:defRPr/>
            </a:lvl4pPr>
            <a:lvl5pPr marL="2286000" lvl="4" indent="-34290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800"/>
              <a:buChar char="−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5" name="Google Shape;185;p26"/>
          <p:cNvSpPr txBox="1">
            <a:spLocks noGrp="1"/>
          </p:cNvSpPr>
          <p:nvPr>
            <p:ph type="body" idx="7"/>
          </p:nvPr>
        </p:nvSpPr>
        <p:spPr>
          <a:xfrm>
            <a:off x="7380643" y="2175803"/>
            <a:ext cx="1980034" cy="11515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95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400"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308610" algn="l">
              <a:lnSpc>
                <a:spcPct val="95000"/>
              </a:lnSpc>
              <a:spcBef>
                <a:spcPts val="500"/>
              </a:spcBef>
              <a:spcAft>
                <a:spcPts val="0"/>
              </a:spcAft>
              <a:buSzPts val="1260"/>
              <a:buChar char="▪"/>
              <a:defRPr sz="1400">
                <a:latin typeface="Calibri"/>
                <a:ea typeface="Calibri"/>
                <a:cs typeface="Calibri"/>
                <a:sym typeface="Calibri"/>
              </a:defRPr>
            </a:lvl2pPr>
            <a:lvl3pPr marL="1371600" lvl="2" indent="-317500" algn="l">
              <a:lnSpc>
                <a:spcPct val="95000"/>
              </a:lnSpc>
              <a:spcBef>
                <a:spcPts val="300"/>
              </a:spcBef>
              <a:spcAft>
                <a:spcPts val="0"/>
              </a:spcAft>
              <a:buSzPts val="1400"/>
              <a:buChar char="−"/>
              <a:defRPr sz="1400">
                <a:latin typeface="Calibri"/>
                <a:ea typeface="Calibri"/>
                <a:cs typeface="Calibri"/>
                <a:sym typeface="Calibri"/>
              </a:defRPr>
            </a:lvl3pPr>
            <a:lvl4pPr marL="1828800" lvl="3" indent="-30861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260"/>
              <a:buChar char="▪"/>
              <a:defRPr sz="1400">
                <a:latin typeface="Calibri"/>
                <a:ea typeface="Calibri"/>
                <a:cs typeface="Calibri"/>
                <a:sym typeface="Calibri"/>
              </a:defRPr>
            </a:lvl4pPr>
            <a:lvl5pPr marL="2286000" lvl="4" indent="-31750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400"/>
              <a:buChar char="−"/>
              <a:defRPr sz="1400">
                <a:latin typeface="Calibri"/>
                <a:ea typeface="Calibri"/>
                <a:cs typeface="Calibri"/>
                <a:sym typeface="Calibri"/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6" name="Google Shape;186;p26"/>
          <p:cNvSpPr txBox="1">
            <a:spLocks noGrp="1"/>
          </p:cNvSpPr>
          <p:nvPr>
            <p:ph type="body" idx="8"/>
          </p:nvPr>
        </p:nvSpPr>
        <p:spPr>
          <a:xfrm>
            <a:off x="7380643" y="1857375"/>
            <a:ext cx="1980034" cy="26314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95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1800" b="1">
                <a:solidFill>
                  <a:schemeClr val="accen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331469" algn="l">
              <a:lnSpc>
                <a:spcPct val="95000"/>
              </a:lnSpc>
              <a:spcBef>
                <a:spcPts val="500"/>
              </a:spcBef>
              <a:spcAft>
                <a:spcPts val="0"/>
              </a:spcAft>
              <a:buSzPts val="1620"/>
              <a:buChar char="▪"/>
              <a:defRPr/>
            </a:lvl2pPr>
            <a:lvl3pPr marL="1371600" lvl="2" indent="-342900" algn="l">
              <a:lnSpc>
                <a:spcPct val="95000"/>
              </a:lnSpc>
              <a:spcBef>
                <a:spcPts val="300"/>
              </a:spcBef>
              <a:spcAft>
                <a:spcPts val="0"/>
              </a:spcAft>
              <a:buSzPts val="1800"/>
              <a:buChar char="−"/>
              <a:defRPr/>
            </a:lvl3pPr>
            <a:lvl4pPr marL="1828800" lvl="3" indent="-331469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620"/>
              <a:buChar char="▪"/>
              <a:defRPr/>
            </a:lvl4pPr>
            <a:lvl5pPr marL="2286000" lvl="4" indent="-34290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800"/>
              <a:buChar char="−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7" name="Google Shape;187;p26"/>
          <p:cNvSpPr txBox="1">
            <a:spLocks noGrp="1"/>
          </p:cNvSpPr>
          <p:nvPr>
            <p:ph type="body" idx="9"/>
          </p:nvPr>
        </p:nvSpPr>
        <p:spPr>
          <a:xfrm>
            <a:off x="9660801" y="2175803"/>
            <a:ext cx="1980034" cy="11515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95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400"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308610" algn="l">
              <a:lnSpc>
                <a:spcPct val="95000"/>
              </a:lnSpc>
              <a:spcBef>
                <a:spcPts val="500"/>
              </a:spcBef>
              <a:spcAft>
                <a:spcPts val="0"/>
              </a:spcAft>
              <a:buSzPts val="1260"/>
              <a:buChar char="▪"/>
              <a:defRPr sz="1400">
                <a:latin typeface="Calibri"/>
                <a:ea typeface="Calibri"/>
                <a:cs typeface="Calibri"/>
                <a:sym typeface="Calibri"/>
              </a:defRPr>
            </a:lvl2pPr>
            <a:lvl3pPr marL="1371600" lvl="2" indent="-317500" algn="l">
              <a:lnSpc>
                <a:spcPct val="95000"/>
              </a:lnSpc>
              <a:spcBef>
                <a:spcPts val="300"/>
              </a:spcBef>
              <a:spcAft>
                <a:spcPts val="0"/>
              </a:spcAft>
              <a:buSzPts val="1400"/>
              <a:buChar char="−"/>
              <a:defRPr sz="1400">
                <a:latin typeface="Calibri"/>
                <a:ea typeface="Calibri"/>
                <a:cs typeface="Calibri"/>
                <a:sym typeface="Calibri"/>
              </a:defRPr>
            </a:lvl3pPr>
            <a:lvl4pPr marL="1828800" lvl="3" indent="-30861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260"/>
              <a:buChar char="▪"/>
              <a:defRPr sz="1400">
                <a:latin typeface="Calibri"/>
                <a:ea typeface="Calibri"/>
                <a:cs typeface="Calibri"/>
                <a:sym typeface="Calibri"/>
              </a:defRPr>
            </a:lvl4pPr>
            <a:lvl5pPr marL="2286000" lvl="4" indent="-31750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400"/>
              <a:buChar char="−"/>
              <a:defRPr sz="1400">
                <a:latin typeface="Calibri"/>
                <a:ea typeface="Calibri"/>
                <a:cs typeface="Calibri"/>
                <a:sym typeface="Calibri"/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8" name="Google Shape;188;p26"/>
          <p:cNvSpPr txBox="1">
            <a:spLocks noGrp="1"/>
          </p:cNvSpPr>
          <p:nvPr>
            <p:ph type="body" idx="13"/>
          </p:nvPr>
        </p:nvSpPr>
        <p:spPr>
          <a:xfrm>
            <a:off x="9660801" y="1857375"/>
            <a:ext cx="1980034" cy="26314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95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1800" b="1">
                <a:solidFill>
                  <a:schemeClr val="accen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331469" algn="l">
              <a:lnSpc>
                <a:spcPct val="95000"/>
              </a:lnSpc>
              <a:spcBef>
                <a:spcPts val="500"/>
              </a:spcBef>
              <a:spcAft>
                <a:spcPts val="0"/>
              </a:spcAft>
              <a:buSzPts val="1620"/>
              <a:buChar char="▪"/>
              <a:defRPr/>
            </a:lvl2pPr>
            <a:lvl3pPr marL="1371600" lvl="2" indent="-342900" algn="l">
              <a:lnSpc>
                <a:spcPct val="95000"/>
              </a:lnSpc>
              <a:spcBef>
                <a:spcPts val="300"/>
              </a:spcBef>
              <a:spcAft>
                <a:spcPts val="0"/>
              </a:spcAft>
              <a:buSzPts val="1800"/>
              <a:buChar char="−"/>
              <a:defRPr/>
            </a:lvl3pPr>
            <a:lvl4pPr marL="1828800" lvl="3" indent="-331469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620"/>
              <a:buChar char="▪"/>
              <a:defRPr/>
            </a:lvl4pPr>
            <a:lvl5pPr marL="2286000" lvl="4" indent="-34290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800"/>
              <a:buChar char="−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9" name="Google Shape;189;p26"/>
          <p:cNvSpPr txBox="1">
            <a:spLocks noGrp="1"/>
          </p:cNvSpPr>
          <p:nvPr>
            <p:ph type="ftr" idx="11"/>
          </p:nvPr>
        </p:nvSpPr>
        <p:spPr>
          <a:xfrm>
            <a:off x="550863" y="6465614"/>
            <a:ext cx="5545138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/3 Blue on Left_2">
  <p:cSld name="1/3 Blue on Left_2">
    <p:spTree>
      <p:nvGrpSpPr>
        <p:cNvPr id="1" name="Shape 19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1" name="Google Shape;191;p27"/>
          <p:cNvSpPr/>
          <p:nvPr/>
        </p:nvSpPr>
        <p:spPr>
          <a:xfrm>
            <a:off x="0" y="-1"/>
            <a:ext cx="4059776" cy="6857999"/>
          </a:xfrm>
          <a:prstGeom prst="rect">
            <a:avLst/>
          </a:prstGeom>
          <a:gradFill>
            <a:gsLst>
              <a:gs pos="0">
                <a:srgbClr val="062379"/>
              </a:gs>
              <a:gs pos="55000">
                <a:srgbClr val="385ED2"/>
              </a:gs>
              <a:gs pos="76000">
                <a:srgbClr val="4873F5">
                  <a:alpha val="87450"/>
                </a:srgbClr>
              </a:gs>
              <a:gs pos="100000">
                <a:srgbClr val="43E1D3"/>
              </a:gs>
            </a:gsLst>
            <a:lin ang="300000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92" name="Google Shape;192;p27"/>
          <p:cNvSpPr txBox="1">
            <a:spLocks noGrp="1"/>
          </p:cNvSpPr>
          <p:nvPr>
            <p:ph type="title"/>
          </p:nvPr>
        </p:nvSpPr>
        <p:spPr>
          <a:xfrm>
            <a:off x="566141" y="2546064"/>
            <a:ext cx="3032465" cy="176586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500"/>
              <a:buFont typeface="Franklin Gothic"/>
              <a:buNone/>
              <a:defRPr sz="4500">
                <a:solidFill>
                  <a:schemeClr val="lt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93" name="Google Shape;193;p27"/>
          <p:cNvSpPr txBox="1">
            <a:spLocks noGrp="1"/>
          </p:cNvSpPr>
          <p:nvPr>
            <p:ph type="sldNum" idx="12"/>
          </p:nvPr>
        </p:nvSpPr>
        <p:spPr>
          <a:xfrm>
            <a:off x="11490153" y="6465614"/>
            <a:ext cx="150682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marL="0" marR="0" lvl="0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94" name="Google Shape;194;p27"/>
          <p:cNvSpPr txBox="1">
            <a:spLocks noGrp="1"/>
          </p:cNvSpPr>
          <p:nvPr>
            <p:ph type="ftr" idx="11"/>
          </p:nvPr>
        </p:nvSpPr>
        <p:spPr>
          <a:xfrm>
            <a:off x="4360863" y="6465614"/>
            <a:ext cx="5545138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" type="title">
  <p:cSld name="TITLE">
    <p:spTree>
      <p:nvGrpSpPr>
        <p:cNvPr id="1" name="Shape 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Google Shape;20;p11"/>
          <p:cNvSpPr txBox="1"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>
            <a:lvl1pPr lvl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6000"/>
              <a:buFont typeface="Calibri"/>
              <a:buNone/>
              <a:defRPr sz="60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1" name="Google Shape;21;p11"/>
          <p:cNvSpPr txBox="1"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lvl="0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400"/>
              <a:buNone/>
              <a:defRPr sz="2400"/>
            </a:lvl1pPr>
            <a:lvl2pPr lvl="1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2000"/>
            </a:lvl2pPr>
            <a:lvl3pPr lvl="2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/>
            </a:lvl3pPr>
            <a:lvl4pPr lvl="3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4pPr>
            <a:lvl5pPr lvl="4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22" name="Google Shape;22;p11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3" name="Google Shape;23;p11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4" name="Google Shape;24;p11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/2 Blue on Left">
  <p:cSld name="1/2 Blue on Left">
    <p:spTree>
      <p:nvGrpSpPr>
        <p:cNvPr id="1" name="Shape 19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6" name="Google Shape;196;p28"/>
          <p:cNvSpPr/>
          <p:nvPr/>
        </p:nvSpPr>
        <p:spPr>
          <a:xfrm>
            <a:off x="0" y="-1"/>
            <a:ext cx="6098537" cy="6857999"/>
          </a:xfrm>
          <a:prstGeom prst="rect">
            <a:avLst/>
          </a:prstGeom>
          <a:gradFill>
            <a:gsLst>
              <a:gs pos="0">
                <a:srgbClr val="062379"/>
              </a:gs>
              <a:gs pos="55000">
                <a:srgbClr val="385ED2"/>
              </a:gs>
              <a:gs pos="76000">
                <a:srgbClr val="4873F5">
                  <a:alpha val="87450"/>
                </a:srgbClr>
              </a:gs>
              <a:gs pos="100000">
                <a:srgbClr val="43E1D3"/>
              </a:gs>
            </a:gsLst>
            <a:lin ang="300000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97" name="Google Shape;197;p28"/>
          <p:cNvSpPr txBox="1">
            <a:spLocks noGrp="1"/>
          </p:cNvSpPr>
          <p:nvPr>
            <p:ph type="title"/>
          </p:nvPr>
        </p:nvSpPr>
        <p:spPr>
          <a:xfrm>
            <a:off x="539400" y="562840"/>
            <a:ext cx="5074328" cy="83715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Franklin Gothic"/>
              <a:buNone/>
              <a:defRPr>
                <a:solidFill>
                  <a:schemeClr val="lt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98" name="Google Shape;198;p28"/>
          <p:cNvSpPr txBox="1">
            <a:spLocks noGrp="1"/>
          </p:cNvSpPr>
          <p:nvPr>
            <p:ph type="sldNum" idx="12"/>
          </p:nvPr>
        </p:nvSpPr>
        <p:spPr>
          <a:xfrm>
            <a:off x="11490153" y="6465614"/>
            <a:ext cx="150682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marL="0" marR="0" lvl="0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99" name="Google Shape;199;p28"/>
          <p:cNvCxnSpPr/>
          <p:nvPr/>
        </p:nvCxnSpPr>
        <p:spPr>
          <a:xfrm>
            <a:off x="539400" y="484910"/>
            <a:ext cx="540000" cy="0"/>
          </a:xfrm>
          <a:prstGeom prst="straightConnector1">
            <a:avLst/>
          </a:prstGeom>
          <a:noFill/>
          <a:ln w="38100" cap="flat" cmpd="sng">
            <a:solidFill>
              <a:schemeClr val="lt1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00" name="Google Shape;200;p28"/>
          <p:cNvSpPr txBox="1">
            <a:spLocks noGrp="1"/>
          </p:cNvSpPr>
          <p:nvPr>
            <p:ph type="ftr" idx="11"/>
          </p:nvPr>
        </p:nvSpPr>
        <p:spPr>
          <a:xfrm>
            <a:off x="549232" y="6465614"/>
            <a:ext cx="5074328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000" b="0" i="0" u="none" strike="noStrike" cap="none">
                <a:solidFill>
                  <a:schemeClr val="lt2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Gradient BG (with Title)">
  <p:cSld name="Gradient BG (with Title)">
    <p:spTree>
      <p:nvGrpSpPr>
        <p:cNvPr id="1" name="Shape 20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2" name="Google Shape;202;p29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0">
                <a:srgbClr val="062379"/>
              </a:gs>
              <a:gs pos="16000">
                <a:srgbClr val="062379"/>
              </a:gs>
              <a:gs pos="45000">
                <a:srgbClr val="0934B6">
                  <a:alpha val="87450"/>
                </a:srgbClr>
              </a:gs>
              <a:gs pos="79000">
                <a:srgbClr val="036DFF">
                  <a:alpha val="80000"/>
                </a:srgbClr>
              </a:gs>
              <a:gs pos="100000">
                <a:srgbClr val="43E1D3"/>
              </a:gs>
            </a:gsLst>
            <a:lin ang="270000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03" name="Google Shape;203;p29"/>
          <p:cNvSpPr txBox="1">
            <a:spLocks noGrp="1"/>
          </p:cNvSpPr>
          <p:nvPr>
            <p:ph type="title"/>
          </p:nvPr>
        </p:nvSpPr>
        <p:spPr>
          <a:xfrm>
            <a:off x="539400" y="560588"/>
            <a:ext cx="11089972" cy="4185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Franklin Gothic"/>
              <a:buNone/>
              <a:defRPr>
                <a:solidFill>
                  <a:schemeClr val="lt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cxnSp>
        <p:nvCxnSpPr>
          <p:cNvPr id="204" name="Google Shape;204;p29"/>
          <p:cNvCxnSpPr/>
          <p:nvPr/>
        </p:nvCxnSpPr>
        <p:spPr>
          <a:xfrm>
            <a:off x="539400" y="484910"/>
            <a:ext cx="540000" cy="0"/>
          </a:xfrm>
          <a:prstGeom prst="straightConnector1">
            <a:avLst/>
          </a:prstGeom>
          <a:noFill/>
          <a:ln w="38100" cap="flat" cmpd="sng">
            <a:solidFill>
              <a:schemeClr val="lt1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205" name="Google Shape;205;p29"/>
          <p:cNvGrpSpPr/>
          <p:nvPr/>
        </p:nvGrpSpPr>
        <p:grpSpPr>
          <a:xfrm>
            <a:off x="11998459" y="6162188"/>
            <a:ext cx="68500" cy="441925"/>
            <a:chOff x="11998459" y="6162188"/>
            <a:chExt cx="68500" cy="441925"/>
          </a:xfrm>
        </p:grpSpPr>
        <p:sp>
          <p:nvSpPr>
            <p:cNvPr id="206" name="Google Shape;206;p29"/>
            <p:cNvSpPr/>
            <p:nvPr/>
          </p:nvSpPr>
          <p:spPr>
            <a:xfrm rot="-5400000">
              <a:off x="12063068" y="6476346"/>
              <a:ext cx="17" cy="1717"/>
            </a:xfrm>
            <a:custGeom>
              <a:avLst/>
              <a:gdLst/>
              <a:ahLst/>
              <a:cxnLst/>
              <a:rect l="l" t="t" r="r" b="b"/>
              <a:pathLst>
                <a:path w="17" h="1717" extrusionOk="0">
                  <a:moveTo>
                    <a:pt x="0" y="0"/>
                  </a:moveTo>
                  <a:lnTo>
                    <a:pt x="17" y="0"/>
                  </a:lnTo>
                  <a:lnTo>
                    <a:pt x="17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7" name="Google Shape;207;p29"/>
            <p:cNvSpPr/>
            <p:nvPr/>
          </p:nvSpPr>
          <p:spPr>
            <a:xfrm rot="-5400000">
              <a:off x="12023737" y="6455896"/>
              <a:ext cx="453" cy="271"/>
            </a:xfrm>
            <a:custGeom>
              <a:avLst/>
              <a:gdLst/>
              <a:ahLst/>
              <a:cxnLst/>
              <a:rect l="l" t="t" r="r" b="b"/>
              <a:pathLst>
                <a:path w="453" h="271" extrusionOk="0">
                  <a:moveTo>
                    <a:pt x="0" y="0"/>
                  </a:moveTo>
                  <a:cubicBezTo>
                    <a:pt x="258" y="172"/>
                    <a:pt x="498" y="344"/>
                    <a:pt x="447" y="240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8" name="Google Shape;208;p29"/>
            <p:cNvSpPr/>
            <p:nvPr/>
          </p:nvSpPr>
          <p:spPr>
            <a:xfrm rot="-5400000">
              <a:off x="12023907" y="6477766"/>
              <a:ext cx="15" cy="76"/>
            </a:xfrm>
            <a:custGeom>
              <a:avLst/>
              <a:gdLst/>
              <a:ahLst/>
              <a:cxnLst/>
              <a:rect l="l" t="t" r="r" b="b"/>
              <a:pathLst>
                <a:path w="15" h="76" extrusionOk="0">
                  <a:moveTo>
                    <a:pt x="15" y="38"/>
                  </a:moveTo>
                  <a:cubicBezTo>
                    <a:pt x="15" y="38"/>
                    <a:pt x="15" y="-48"/>
                    <a:pt x="15" y="38"/>
                  </a:cubicBezTo>
                  <a:cubicBezTo>
                    <a:pt x="15" y="124"/>
                    <a:pt x="-19" y="38"/>
                    <a:pt x="15" y="3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9" name="Google Shape;209;p29"/>
            <p:cNvSpPr/>
            <p:nvPr/>
          </p:nvSpPr>
          <p:spPr>
            <a:xfrm rot="-5400000">
              <a:off x="12021636" y="6473651"/>
              <a:ext cx="261" cy="103"/>
            </a:xfrm>
            <a:custGeom>
              <a:avLst/>
              <a:gdLst/>
              <a:ahLst/>
              <a:cxnLst/>
              <a:rect l="l" t="t" r="r" b="b"/>
              <a:pathLst>
                <a:path w="261" h="103" extrusionOk="0">
                  <a:moveTo>
                    <a:pt x="262" y="0"/>
                  </a:moveTo>
                  <a:lnTo>
                    <a:pt x="56" y="103"/>
                  </a:lnTo>
                  <a:cubicBezTo>
                    <a:pt x="176" y="103"/>
                    <a:pt x="-116" y="103"/>
                    <a:pt x="56" y="103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10" name="Google Shape;210;p29"/>
            <p:cNvSpPr/>
            <p:nvPr/>
          </p:nvSpPr>
          <p:spPr>
            <a:xfrm rot="-5400000">
              <a:off x="12015635" y="6442208"/>
              <a:ext cx="51323" cy="51323"/>
            </a:xfrm>
            <a:custGeom>
              <a:avLst/>
              <a:gdLst/>
              <a:ahLst/>
              <a:cxnLst/>
              <a:rect l="l" t="t" r="r" b="b"/>
              <a:pathLst>
                <a:path w="51323" h="51323" extrusionOk="0">
                  <a:moveTo>
                    <a:pt x="25662" y="0"/>
                  </a:moveTo>
                  <a:cubicBezTo>
                    <a:pt x="11489" y="0"/>
                    <a:pt x="0" y="11489"/>
                    <a:pt x="0" y="25662"/>
                  </a:cubicBezTo>
                  <a:cubicBezTo>
                    <a:pt x="0" y="39834"/>
                    <a:pt x="11489" y="51323"/>
                    <a:pt x="25662" y="51323"/>
                  </a:cubicBezTo>
                  <a:cubicBezTo>
                    <a:pt x="39835" y="51323"/>
                    <a:pt x="51324" y="39834"/>
                    <a:pt x="51324" y="25662"/>
                  </a:cubicBezTo>
                  <a:cubicBezTo>
                    <a:pt x="51324" y="25645"/>
                    <a:pt x="51324" y="25627"/>
                    <a:pt x="51324" y="25610"/>
                  </a:cubicBezTo>
                  <a:cubicBezTo>
                    <a:pt x="51314" y="11457"/>
                    <a:pt x="39833" y="-9"/>
                    <a:pt x="25679" y="0"/>
                  </a:cubicBezTo>
                  <a:cubicBezTo>
                    <a:pt x="25673" y="0"/>
                    <a:pt x="25667" y="0"/>
                    <a:pt x="25662" y="0"/>
                  </a:cubicBezTo>
                  <a:close/>
                  <a:moveTo>
                    <a:pt x="26967" y="15648"/>
                  </a:moveTo>
                  <a:cubicBezTo>
                    <a:pt x="26864" y="15648"/>
                    <a:pt x="26967" y="15785"/>
                    <a:pt x="26967" y="15837"/>
                  </a:cubicBezTo>
                  <a:cubicBezTo>
                    <a:pt x="26894" y="15820"/>
                    <a:pt x="26817" y="15820"/>
                    <a:pt x="26744" y="15837"/>
                  </a:cubicBezTo>
                  <a:cubicBezTo>
                    <a:pt x="26899" y="15837"/>
                    <a:pt x="27139" y="16043"/>
                    <a:pt x="26933" y="16163"/>
                  </a:cubicBezTo>
                  <a:cubicBezTo>
                    <a:pt x="26727" y="16283"/>
                    <a:pt x="27019" y="16163"/>
                    <a:pt x="27036" y="16163"/>
                  </a:cubicBezTo>
                  <a:cubicBezTo>
                    <a:pt x="27173" y="15854"/>
                    <a:pt x="27586" y="16283"/>
                    <a:pt x="27294" y="16489"/>
                  </a:cubicBezTo>
                  <a:lnTo>
                    <a:pt x="27294" y="16489"/>
                  </a:lnTo>
                  <a:cubicBezTo>
                    <a:pt x="27294" y="16489"/>
                    <a:pt x="27294" y="16489"/>
                    <a:pt x="27294" y="16489"/>
                  </a:cubicBezTo>
                  <a:lnTo>
                    <a:pt x="27294" y="16489"/>
                  </a:lnTo>
                  <a:cubicBezTo>
                    <a:pt x="27294" y="16489"/>
                    <a:pt x="27191" y="16489"/>
                    <a:pt x="27156" y="16489"/>
                  </a:cubicBezTo>
                  <a:cubicBezTo>
                    <a:pt x="27122" y="16489"/>
                    <a:pt x="27156" y="16489"/>
                    <a:pt x="27156" y="16593"/>
                  </a:cubicBezTo>
                  <a:cubicBezTo>
                    <a:pt x="27156" y="16696"/>
                    <a:pt x="27276" y="16593"/>
                    <a:pt x="27156" y="16593"/>
                  </a:cubicBezTo>
                  <a:cubicBezTo>
                    <a:pt x="27036" y="16593"/>
                    <a:pt x="27294" y="16593"/>
                    <a:pt x="27379" y="16593"/>
                  </a:cubicBezTo>
                  <a:cubicBezTo>
                    <a:pt x="27465" y="16593"/>
                    <a:pt x="27276" y="16713"/>
                    <a:pt x="27276" y="16799"/>
                  </a:cubicBezTo>
                  <a:cubicBezTo>
                    <a:pt x="27276" y="16885"/>
                    <a:pt x="26795" y="16936"/>
                    <a:pt x="26744" y="16799"/>
                  </a:cubicBezTo>
                  <a:cubicBezTo>
                    <a:pt x="26692" y="16661"/>
                    <a:pt x="26297" y="16799"/>
                    <a:pt x="26074" y="16902"/>
                  </a:cubicBezTo>
                  <a:cubicBezTo>
                    <a:pt x="25851" y="17005"/>
                    <a:pt x="26074" y="17125"/>
                    <a:pt x="25868" y="16988"/>
                  </a:cubicBezTo>
                  <a:cubicBezTo>
                    <a:pt x="25662" y="16850"/>
                    <a:pt x="25610" y="16988"/>
                    <a:pt x="25559" y="17142"/>
                  </a:cubicBezTo>
                  <a:cubicBezTo>
                    <a:pt x="25507" y="17297"/>
                    <a:pt x="25559" y="17142"/>
                    <a:pt x="25404" y="17142"/>
                  </a:cubicBezTo>
                  <a:cubicBezTo>
                    <a:pt x="25553" y="17029"/>
                    <a:pt x="25690" y="16902"/>
                    <a:pt x="25816" y="16764"/>
                  </a:cubicBezTo>
                  <a:cubicBezTo>
                    <a:pt x="25816" y="16593"/>
                    <a:pt x="26057" y="16764"/>
                    <a:pt x="26194" y="16764"/>
                  </a:cubicBezTo>
                  <a:cubicBezTo>
                    <a:pt x="26332" y="16764"/>
                    <a:pt x="26297" y="16610"/>
                    <a:pt x="26349" y="16541"/>
                  </a:cubicBezTo>
                  <a:cubicBezTo>
                    <a:pt x="26400" y="16472"/>
                    <a:pt x="26091" y="16764"/>
                    <a:pt x="26005" y="16627"/>
                  </a:cubicBezTo>
                  <a:cubicBezTo>
                    <a:pt x="25919" y="16489"/>
                    <a:pt x="25748" y="16627"/>
                    <a:pt x="25902" y="16627"/>
                  </a:cubicBezTo>
                  <a:cubicBezTo>
                    <a:pt x="26057" y="16627"/>
                    <a:pt x="25765" y="16627"/>
                    <a:pt x="25662" y="16627"/>
                  </a:cubicBezTo>
                  <a:lnTo>
                    <a:pt x="25662" y="16627"/>
                  </a:lnTo>
                  <a:cubicBezTo>
                    <a:pt x="25662" y="16627"/>
                    <a:pt x="25662" y="16627"/>
                    <a:pt x="25662" y="16627"/>
                  </a:cubicBezTo>
                  <a:cubicBezTo>
                    <a:pt x="25919" y="16541"/>
                    <a:pt x="26040" y="16472"/>
                    <a:pt x="26005" y="16215"/>
                  </a:cubicBezTo>
                  <a:lnTo>
                    <a:pt x="25834" y="16215"/>
                  </a:lnTo>
                  <a:cubicBezTo>
                    <a:pt x="25954" y="16094"/>
                    <a:pt x="26126" y="15940"/>
                    <a:pt x="26297" y="16060"/>
                  </a:cubicBezTo>
                  <a:cubicBezTo>
                    <a:pt x="26160" y="15888"/>
                    <a:pt x="26297" y="16060"/>
                    <a:pt x="26297" y="16060"/>
                  </a:cubicBezTo>
                  <a:cubicBezTo>
                    <a:pt x="26297" y="16060"/>
                    <a:pt x="26194" y="15837"/>
                    <a:pt x="26297" y="15785"/>
                  </a:cubicBezTo>
                  <a:cubicBezTo>
                    <a:pt x="26400" y="15734"/>
                    <a:pt x="26297" y="15648"/>
                    <a:pt x="26194" y="15785"/>
                  </a:cubicBezTo>
                  <a:lnTo>
                    <a:pt x="26194" y="15785"/>
                  </a:lnTo>
                  <a:cubicBezTo>
                    <a:pt x="26057" y="15785"/>
                    <a:pt x="26194" y="15476"/>
                    <a:pt x="26194" y="15493"/>
                  </a:cubicBezTo>
                  <a:cubicBezTo>
                    <a:pt x="26023" y="15493"/>
                    <a:pt x="25988" y="15613"/>
                    <a:pt x="25834" y="15493"/>
                  </a:cubicBezTo>
                  <a:cubicBezTo>
                    <a:pt x="25679" y="15373"/>
                    <a:pt x="25834" y="15493"/>
                    <a:pt x="25834" y="15596"/>
                  </a:cubicBezTo>
                  <a:cubicBezTo>
                    <a:pt x="25834" y="15699"/>
                    <a:pt x="25662" y="15459"/>
                    <a:pt x="25713" y="15596"/>
                  </a:cubicBezTo>
                  <a:cubicBezTo>
                    <a:pt x="25765" y="15734"/>
                    <a:pt x="25713" y="15493"/>
                    <a:pt x="25713" y="15459"/>
                  </a:cubicBezTo>
                  <a:lnTo>
                    <a:pt x="25713" y="15459"/>
                  </a:lnTo>
                  <a:cubicBezTo>
                    <a:pt x="25713" y="15459"/>
                    <a:pt x="25713" y="15287"/>
                    <a:pt x="25816" y="15236"/>
                  </a:cubicBezTo>
                  <a:cubicBezTo>
                    <a:pt x="25919" y="15184"/>
                    <a:pt x="25713" y="15029"/>
                    <a:pt x="25816" y="15064"/>
                  </a:cubicBezTo>
                  <a:cubicBezTo>
                    <a:pt x="25919" y="15098"/>
                    <a:pt x="25816" y="15064"/>
                    <a:pt x="25816" y="14961"/>
                  </a:cubicBezTo>
                  <a:cubicBezTo>
                    <a:pt x="25816" y="14858"/>
                    <a:pt x="25816" y="15047"/>
                    <a:pt x="25816" y="15081"/>
                  </a:cubicBezTo>
                  <a:lnTo>
                    <a:pt x="25816" y="15081"/>
                  </a:lnTo>
                  <a:cubicBezTo>
                    <a:pt x="25816" y="15081"/>
                    <a:pt x="25816" y="15081"/>
                    <a:pt x="25816" y="15081"/>
                  </a:cubicBezTo>
                  <a:cubicBezTo>
                    <a:pt x="25816" y="15081"/>
                    <a:pt x="25816" y="15081"/>
                    <a:pt x="25816" y="15081"/>
                  </a:cubicBezTo>
                  <a:cubicBezTo>
                    <a:pt x="25812" y="15173"/>
                    <a:pt x="25812" y="15264"/>
                    <a:pt x="25816" y="15356"/>
                  </a:cubicBezTo>
                  <a:cubicBezTo>
                    <a:pt x="25713" y="15356"/>
                    <a:pt x="25816" y="15218"/>
                    <a:pt x="25816" y="15167"/>
                  </a:cubicBezTo>
                  <a:cubicBezTo>
                    <a:pt x="25816" y="15115"/>
                    <a:pt x="25816" y="14858"/>
                    <a:pt x="25919" y="14823"/>
                  </a:cubicBezTo>
                  <a:cubicBezTo>
                    <a:pt x="26023" y="14789"/>
                    <a:pt x="25919" y="14823"/>
                    <a:pt x="25919" y="14823"/>
                  </a:cubicBezTo>
                  <a:cubicBezTo>
                    <a:pt x="25919" y="14823"/>
                    <a:pt x="25799" y="14978"/>
                    <a:pt x="25731" y="14823"/>
                  </a:cubicBezTo>
                  <a:cubicBezTo>
                    <a:pt x="25662" y="14669"/>
                    <a:pt x="25731" y="14823"/>
                    <a:pt x="25731" y="14823"/>
                  </a:cubicBezTo>
                  <a:cubicBezTo>
                    <a:pt x="25731" y="14823"/>
                    <a:pt x="25731" y="14686"/>
                    <a:pt x="25868" y="14737"/>
                  </a:cubicBezTo>
                  <a:cubicBezTo>
                    <a:pt x="26005" y="14789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lnTo>
                    <a:pt x="25868" y="14737"/>
                  </a:lnTo>
                  <a:lnTo>
                    <a:pt x="25868" y="14652"/>
                  </a:lnTo>
                  <a:cubicBezTo>
                    <a:pt x="25868" y="14652"/>
                    <a:pt x="25868" y="14652"/>
                    <a:pt x="25868" y="14652"/>
                  </a:cubicBezTo>
                  <a:cubicBezTo>
                    <a:pt x="25868" y="14652"/>
                    <a:pt x="25868" y="14566"/>
                    <a:pt x="25868" y="14514"/>
                  </a:cubicBezTo>
                  <a:lnTo>
                    <a:pt x="25868" y="14514"/>
                  </a:lnTo>
                  <a:cubicBezTo>
                    <a:pt x="25868" y="14514"/>
                    <a:pt x="25868" y="14514"/>
                    <a:pt x="25868" y="14514"/>
                  </a:cubicBezTo>
                  <a:cubicBezTo>
                    <a:pt x="25868" y="14514"/>
                    <a:pt x="25868" y="14514"/>
                    <a:pt x="25971" y="14514"/>
                  </a:cubicBezTo>
                  <a:cubicBezTo>
                    <a:pt x="25976" y="14486"/>
                    <a:pt x="25976" y="14457"/>
                    <a:pt x="25971" y="14428"/>
                  </a:cubicBezTo>
                  <a:cubicBezTo>
                    <a:pt x="25971" y="14428"/>
                    <a:pt x="26091" y="14085"/>
                    <a:pt x="26126" y="14291"/>
                  </a:cubicBezTo>
                  <a:cubicBezTo>
                    <a:pt x="26160" y="14497"/>
                    <a:pt x="26126" y="14291"/>
                    <a:pt x="26126" y="14291"/>
                  </a:cubicBezTo>
                  <a:cubicBezTo>
                    <a:pt x="26538" y="14136"/>
                    <a:pt x="26435" y="14291"/>
                    <a:pt x="26126" y="14531"/>
                  </a:cubicBezTo>
                  <a:lnTo>
                    <a:pt x="26126" y="14531"/>
                  </a:lnTo>
                  <a:cubicBezTo>
                    <a:pt x="25902" y="14737"/>
                    <a:pt x="26366" y="14531"/>
                    <a:pt x="26486" y="14531"/>
                  </a:cubicBezTo>
                  <a:cubicBezTo>
                    <a:pt x="26607" y="14531"/>
                    <a:pt x="26486" y="15029"/>
                    <a:pt x="26263" y="14995"/>
                  </a:cubicBezTo>
                  <a:cubicBezTo>
                    <a:pt x="26040" y="14961"/>
                    <a:pt x="26263" y="14995"/>
                    <a:pt x="26263" y="14995"/>
                  </a:cubicBezTo>
                  <a:cubicBezTo>
                    <a:pt x="26263" y="14995"/>
                    <a:pt x="26108" y="15133"/>
                    <a:pt x="26005" y="14995"/>
                  </a:cubicBezTo>
                  <a:cubicBezTo>
                    <a:pt x="26064" y="15057"/>
                    <a:pt x="26162" y="15059"/>
                    <a:pt x="26224" y="15000"/>
                  </a:cubicBezTo>
                  <a:cubicBezTo>
                    <a:pt x="26226" y="14998"/>
                    <a:pt x="26227" y="14997"/>
                    <a:pt x="26229" y="14995"/>
                  </a:cubicBezTo>
                  <a:cubicBezTo>
                    <a:pt x="26486" y="15098"/>
                    <a:pt x="26503" y="15373"/>
                    <a:pt x="26589" y="15579"/>
                  </a:cubicBezTo>
                  <a:cubicBezTo>
                    <a:pt x="26675" y="15785"/>
                    <a:pt x="26830" y="15545"/>
                    <a:pt x="26967" y="15613"/>
                  </a:cubicBezTo>
                  <a:close/>
                  <a:moveTo>
                    <a:pt x="18138" y="47476"/>
                  </a:moveTo>
                  <a:lnTo>
                    <a:pt x="18138" y="47476"/>
                  </a:lnTo>
                  <a:lnTo>
                    <a:pt x="18138" y="47476"/>
                  </a:lnTo>
                  <a:lnTo>
                    <a:pt x="18138" y="47476"/>
                  </a:lnTo>
                  <a:lnTo>
                    <a:pt x="18224" y="47476"/>
                  </a:lnTo>
                  <a:lnTo>
                    <a:pt x="18224" y="47476"/>
                  </a:lnTo>
                  <a:lnTo>
                    <a:pt x="17984" y="47338"/>
                  </a:lnTo>
                  <a:lnTo>
                    <a:pt x="17984" y="47338"/>
                  </a:lnTo>
                  <a:lnTo>
                    <a:pt x="17984" y="47338"/>
                  </a:lnTo>
                  <a:lnTo>
                    <a:pt x="18070" y="47338"/>
                  </a:lnTo>
                  <a:lnTo>
                    <a:pt x="18070" y="47338"/>
                  </a:lnTo>
                  <a:lnTo>
                    <a:pt x="18070" y="47338"/>
                  </a:lnTo>
                  <a:lnTo>
                    <a:pt x="17795" y="47218"/>
                  </a:lnTo>
                  <a:lnTo>
                    <a:pt x="17795" y="47218"/>
                  </a:lnTo>
                  <a:cubicBezTo>
                    <a:pt x="17795" y="47218"/>
                    <a:pt x="17795" y="47218"/>
                    <a:pt x="17795" y="47218"/>
                  </a:cubicBezTo>
                  <a:cubicBezTo>
                    <a:pt x="17762" y="47203"/>
                    <a:pt x="17725" y="47203"/>
                    <a:pt x="17692" y="47218"/>
                  </a:cubicBezTo>
                  <a:lnTo>
                    <a:pt x="17692" y="47218"/>
                  </a:lnTo>
                  <a:lnTo>
                    <a:pt x="17692" y="47218"/>
                  </a:lnTo>
                  <a:lnTo>
                    <a:pt x="17692" y="47218"/>
                  </a:lnTo>
                  <a:lnTo>
                    <a:pt x="17864" y="47218"/>
                  </a:lnTo>
                  <a:lnTo>
                    <a:pt x="17658" y="47218"/>
                  </a:lnTo>
                  <a:lnTo>
                    <a:pt x="17658" y="47218"/>
                  </a:lnTo>
                  <a:lnTo>
                    <a:pt x="17417" y="47115"/>
                  </a:lnTo>
                  <a:lnTo>
                    <a:pt x="17417" y="47115"/>
                  </a:lnTo>
                  <a:lnTo>
                    <a:pt x="17417" y="47115"/>
                  </a:lnTo>
                  <a:lnTo>
                    <a:pt x="17280" y="47115"/>
                  </a:lnTo>
                  <a:lnTo>
                    <a:pt x="17469" y="47218"/>
                  </a:lnTo>
                  <a:lnTo>
                    <a:pt x="17194" y="47081"/>
                  </a:lnTo>
                  <a:lnTo>
                    <a:pt x="17194" y="47081"/>
                  </a:lnTo>
                  <a:lnTo>
                    <a:pt x="17366" y="47081"/>
                  </a:lnTo>
                  <a:lnTo>
                    <a:pt x="17228" y="47081"/>
                  </a:lnTo>
                  <a:lnTo>
                    <a:pt x="17366" y="47081"/>
                  </a:lnTo>
                  <a:lnTo>
                    <a:pt x="17108" y="46961"/>
                  </a:lnTo>
                  <a:lnTo>
                    <a:pt x="17108" y="46961"/>
                  </a:lnTo>
                  <a:lnTo>
                    <a:pt x="17005" y="46961"/>
                  </a:lnTo>
                  <a:lnTo>
                    <a:pt x="17005" y="46961"/>
                  </a:lnTo>
                  <a:lnTo>
                    <a:pt x="16782" y="46858"/>
                  </a:lnTo>
                  <a:lnTo>
                    <a:pt x="16782" y="46858"/>
                  </a:lnTo>
                  <a:lnTo>
                    <a:pt x="16696" y="46858"/>
                  </a:lnTo>
                  <a:lnTo>
                    <a:pt x="16696" y="46858"/>
                  </a:lnTo>
                  <a:cubicBezTo>
                    <a:pt x="16557" y="46803"/>
                    <a:pt x="16425" y="46733"/>
                    <a:pt x="16301" y="46651"/>
                  </a:cubicBezTo>
                  <a:lnTo>
                    <a:pt x="16301" y="46651"/>
                  </a:lnTo>
                  <a:lnTo>
                    <a:pt x="16129" y="46548"/>
                  </a:lnTo>
                  <a:lnTo>
                    <a:pt x="16283" y="46651"/>
                  </a:lnTo>
                  <a:lnTo>
                    <a:pt x="15940" y="46462"/>
                  </a:lnTo>
                  <a:lnTo>
                    <a:pt x="15940" y="46462"/>
                  </a:lnTo>
                  <a:lnTo>
                    <a:pt x="15837" y="46462"/>
                  </a:lnTo>
                  <a:lnTo>
                    <a:pt x="15837" y="46462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510" y="46274"/>
                  </a:lnTo>
                  <a:lnTo>
                    <a:pt x="15510" y="46274"/>
                  </a:lnTo>
                  <a:lnTo>
                    <a:pt x="15339" y="46153"/>
                  </a:lnTo>
                  <a:lnTo>
                    <a:pt x="15339" y="46153"/>
                  </a:lnTo>
                  <a:lnTo>
                    <a:pt x="15201" y="46153"/>
                  </a:lnTo>
                  <a:lnTo>
                    <a:pt x="15201" y="46153"/>
                  </a:lnTo>
                  <a:cubicBezTo>
                    <a:pt x="15162" y="46164"/>
                    <a:pt x="15120" y="46164"/>
                    <a:pt x="15081" y="46153"/>
                  </a:cubicBezTo>
                  <a:lnTo>
                    <a:pt x="15081" y="46153"/>
                  </a:lnTo>
                  <a:lnTo>
                    <a:pt x="15218" y="46239"/>
                  </a:lnTo>
                  <a:lnTo>
                    <a:pt x="15081" y="46153"/>
                  </a:lnTo>
                  <a:lnTo>
                    <a:pt x="15081" y="46153"/>
                  </a:lnTo>
                  <a:lnTo>
                    <a:pt x="14961" y="46153"/>
                  </a:lnTo>
                  <a:lnTo>
                    <a:pt x="14961" y="46153"/>
                  </a:lnTo>
                  <a:lnTo>
                    <a:pt x="14823" y="46067"/>
                  </a:lnTo>
                  <a:cubicBezTo>
                    <a:pt x="14890" y="46095"/>
                    <a:pt x="14953" y="46130"/>
                    <a:pt x="15012" y="46170"/>
                  </a:cubicBezTo>
                  <a:cubicBezTo>
                    <a:pt x="15012" y="46170"/>
                    <a:pt x="15150" y="46274"/>
                    <a:pt x="15184" y="46274"/>
                  </a:cubicBezTo>
                  <a:lnTo>
                    <a:pt x="14720" y="45947"/>
                  </a:lnTo>
                  <a:lnTo>
                    <a:pt x="14720" y="45947"/>
                  </a:lnTo>
                  <a:cubicBezTo>
                    <a:pt x="14446" y="45724"/>
                    <a:pt x="14136" y="45535"/>
                    <a:pt x="13879" y="45312"/>
                  </a:cubicBezTo>
                  <a:lnTo>
                    <a:pt x="13982" y="45312"/>
                  </a:lnTo>
                  <a:lnTo>
                    <a:pt x="13827" y="45191"/>
                  </a:lnTo>
                  <a:lnTo>
                    <a:pt x="13827" y="45191"/>
                  </a:lnTo>
                  <a:cubicBezTo>
                    <a:pt x="13827" y="45191"/>
                    <a:pt x="13827" y="45191"/>
                    <a:pt x="13724" y="45191"/>
                  </a:cubicBezTo>
                  <a:lnTo>
                    <a:pt x="13724" y="45191"/>
                  </a:lnTo>
                  <a:lnTo>
                    <a:pt x="13724" y="45191"/>
                  </a:lnTo>
                  <a:lnTo>
                    <a:pt x="13724" y="45191"/>
                  </a:lnTo>
                  <a:cubicBezTo>
                    <a:pt x="13500" y="45056"/>
                    <a:pt x="13292" y="44895"/>
                    <a:pt x="13106" y="44710"/>
                  </a:cubicBezTo>
                  <a:lnTo>
                    <a:pt x="13106" y="44710"/>
                  </a:lnTo>
                  <a:cubicBezTo>
                    <a:pt x="12865" y="44453"/>
                    <a:pt x="12573" y="44264"/>
                    <a:pt x="12316" y="44023"/>
                  </a:cubicBezTo>
                  <a:cubicBezTo>
                    <a:pt x="12316" y="44023"/>
                    <a:pt x="12316" y="44023"/>
                    <a:pt x="12316" y="44023"/>
                  </a:cubicBezTo>
                  <a:cubicBezTo>
                    <a:pt x="11271" y="42931"/>
                    <a:pt x="10350" y="41727"/>
                    <a:pt x="9567" y="40434"/>
                  </a:cubicBezTo>
                  <a:lnTo>
                    <a:pt x="9567" y="40434"/>
                  </a:lnTo>
                  <a:cubicBezTo>
                    <a:pt x="9215" y="39466"/>
                    <a:pt x="8691" y="38570"/>
                    <a:pt x="8021" y="37788"/>
                  </a:cubicBezTo>
                  <a:lnTo>
                    <a:pt x="8021" y="37788"/>
                  </a:lnTo>
                  <a:cubicBezTo>
                    <a:pt x="6949" y="36560"/>
                    <a:pt x="6200" y="35084"/>
                    <a:pt x="5840" y="33494"/>
                  </a:cubicBezTo>
                  <a:cubicBezTo>
                    <a:pt x="5840" y="33494"/>
                    <a:pt x="5840" y="33494"/>
                    <a:pt x="5840" y="33580"/>
                  </a:cubicBezTo>
                  <a:cubicBezTo>
                    <a:pt x="5850" y="33546"/>
                    <a:pt x="5850" y="33511"/>
                    <a:pt x="5840" y="33477"/>
                  </a:cubicBezTo>
                  <a:cubicBezTo>
                    <a:pt x="5840" y="33477"/>
                    <a:pt x="5840" y="33580"/>
                    <a:pt x="5840" y="33614"/>
                  </a:cubicBezTo>
                  <a:cubicBezTo>
                    <a:pt x="5600" y="33202"/>
                    <a:pt x="5685" y="28461"/>
                    <a:pt x="5222" y="30299"/>
                  </a:cubicBezTo>
                  <a:cubicBezTo>
                    <a:pt x="5222" y="30299"/>
                    <a:pt x="5222" y="30093"/>
                    <a:pt x="5222" y="30042"/>
                  </a:cubicBezTo>
                  <a:cubicBezTo>
                    <a:pt x="5222" y="29990"/>
                    <a:pt x="5222" y="30042"/>
                    <a:pt x="5222" y="30128"/>
                  </a:cubicBezTo>
                  <a:cubicBezTo>
                    <a:pt x="5222" y="30213"/>
                    <a:pt x="5222" y="29887"/>
                    <a:pt x="5067" y="29784"/>
                  </a:cubicBezTo>
                  <a:cubicBezTo>
                    <a:pt x="4913" y="29681"/>
                    <a:pt x="5067" y="29784"/>
                    <a:pt x="5067" y="29784"/>
                  </a:cubicBezTo>
                  <a:lnTo>
                    <a:pt x="5067" y="29784"/>
                  </a:lnTo>
                  <a:cubicBezTo>
                    <a:pt x="5067" y="29784"/>
                    <a:pt x="5067" y="29612"/>
                    <a:pt x="5067" y="29544"/>
                  </a:cubicBezTo>
                  <a:cubicBezTo>
                    <a:pt x="5067" y="29475"/>
                    <a:pt x="5067" y="29664"/>
                    <a:pt x="5067" y="29715"/>
                  </a:cubicBezTo>
                  <a:cubicBezTo>
                    <a:pt x="5067" y="29458"/>
                    <a:pt x="4947" y="29166"/>
                    <a:pt x="4844" y="28908"/>
                  </a:cubicBezTo>
                  <a:cubicBezTo>
                    <a:pt x="4844" y="28994"/>
                    <a:pt x="4844" y="29080"/>
                    <a:pt x="4844" y="29183"/>
                  </a:cubicBezTo>
                  <a:cubicBezTo>
                    <a:pt x="4689" y="28753"/>
                    <a:pt x="4672" y="28290"/>
                    <a:pt x="4552" y="27843"/>
                  </a:cubicBezTo>
                  <a:cubicBezTo>
                    <a:pt x="4552" y="27929"/>
                    <a:pt x="4552" y="27843"/>
                    <a:pt x="4552" y="27740"/>
                  </a:cubicBezTo>
                  <a:cubicBezTo>
                    <a:pt x="4552" y="27637"/>
                    <a:pt x="4552" y="27740"/>
                    <a:pt x="4552" y="27740"/>
                  </a:cubicBezTo>
                  <a:cubicBezTo>
                    <a:pt x="4552" y="27740"/>
                    <a:pt x="4552" y="27740"/>
                    <a:pt x="4552" y="27740"/>
                  </a:cubicBezTo>
                  <a:cubicBezTo>
                    <a:pt x="4552" y="27740"/>
                    <a:pt x="4552" y="27740"/>
                    <a:pt x="4552" y="27740"/>
                  </a:cubicBezTo>
                  <a:cubicBezTo>
                    <a:pt x="4343" y="27287"/>
                    <a:pt x="4226" y="26796"/>
                    <a:pt x="4208" y="26297"/>
                  </a:cubicBezTo>
                  <a:cubicBezTo>
                    <a:pt x="4218" y="26366"/>
                    <a:pt x="4218" y="26435"/>
                    <a:pt x="4208" y="26503"/>
                  </a:cubicBezTo>
                  <a:cubicBezTo>
                    <a:pt x="4218" y="26435"/>
                    <a:pt x="4218" y="26366"/>
                    <a:pt x="4208" y="26297"/>
                  </a:cubicBezTo>
                  <a:lnTo>
                    <a:pt x="4208" y="26297"/>
                  </a:lnTo>
                  <a:cubicBezTo>
                    <a:pt x="4208" y="26297"/>
                    <a:pt x="4208" y="26297"/>
                    <a:pt x="4208" y="26297"/>
                  </a:cubicBezTo>
                  <a:lnTo>
                    <a:pt x="4208" y="26297"/>
                  </a:lnTo>
                  <a:lnTo>
                    <a:pt x="4208" y="26297"/>
                  </a:lnTo>
                  <a:cubicBezTo>
                    <a:pt x="4208" y="26297"/>
                    <a:pt x="4208" y="26297"/>
                    <a:pt x="4208" y="26400"/>
                  </a:cubicBezTo>
                  <a:cubicBezTo>
                    <a:pt x="4208" y="26503"/>
                    <a:pt x="4208" y="26400"/>
                    <a:pt x="4208" y="26400"/>
                  </a:cubicBezTo>
                  <a:lnTo>
                    <a:pt x="4208" y="26400"/>
                  </a:lnTo>
                  <a:lnTo>
                    <a:pt x="4208" y="26400"/>
                  </a:lnTo>
                  <a:cubicBezTo>
                    <a:pt x="4208" y="26314"/>
                    <a:pt x="4208" y="26194"/>
                    <a:pt x="4208" y="26091"/>
                  </a:cubicBezTo>
                  <a:lnTo>
                    <a:pt x="4208" y="26091"/>
                  </a:lnTo>
                  <a:cubicBezTo>
                    <a:pt x="4200" y="26034"/>
                    <a:pt x="4200" y="25976"/>
                    <a:pt x="4208" y="25919"/>
                  </a:cubicBezTo>
                  <a:lnTo>
                    <a:pt x="4208" y="25919"/>
                  </a:lnTo>
                  <a:cubicBezTo>
                    <a:pt x="4191" y="25679"/>
                    <a:pt x="4191" y="25438"/>
                    <a:pt x="4208" y="25198"/>
                  </a:cubicBezTo>
                  <a:lnTo>
                    <a:pt x="4208" y="25198"/>
                  </a:lnTo>
                  <a:cubicBezTo>
                    <a:pt x="4208" y="25198"/>
                    <a:pt x="4208" y="25112"/>
                    <a:pt x="4208" y="25078"/>
                  </a:cubicBezTo>
                  <a:lnTo>
                    <a:pt x="4208" y="25078"/>
                  </a:lnTo>
                  <a:cubicBezTo>
                    <a:pt x="4764" y="15747"/>
                    <a:pt x="10928" y="7687"/>
                    <a:pt x="19787" y="4706"/>
                  </a:cubicBezTo>
                  <a:lnTo>
                    <a:pt x="19787" y="4706"/>
                  </a:lnTo>
                  <a:lnTo>
                    <a:pt x="19994" y="4706"/>
                  </a:lnTo>
                  <a:lnTo>
                    <a:pt x="19994" y="4706"/>
                  </a:lnTo>
                  <a:lnTo>
                    <a:pt x="20217" y="4706"/>
                  </a:lnTo>
                  <a:lnTo>
                    <a:pt x="20062" y="4706"/>
                  </a:lnTo>
                  <a:lnTo>
                    <a:pt x="20337" y="4706"/>
                  </a:lnTo>
                  <a:lnTo>
                    <a:pt x="20234" y="4706"/>
                  </a:lnTo>
                  <a:lnTo>
                    <a:pt x="20234" y="4706"/>
                  </a:lnTo>
                  <a:lnTo>
                    <a:pt x="20423" y="4706"/>
                  </a:lnTo>
                  <a:lnTo>
                    <a:pt x="20423" y="4706"/>
                  </a:lnTo>
                  <a:lnTo>
                    <a:pt x="21711" y="4414"/>
                  </a:lnTo>
                  <a:lnTo>
                    <a:pt x="21711" y="4414"/>
                  </a:lnTo>
                  <a:lnTo>
                    <a:pt x="22038" y="4414"/>
                  </a:lnTo>
                  <a:lnTo>
                    <a:pt x="21814" y="4414"/>
                  </a:lnTo>
                  <a:lnTo>
                    <a:pt x="21814" y="4414"/>
                  </a:lnTo>
                  <a:lnTo>
                    <a:pt x="22415" y="4414"/>
                  </a:lnTo>
                  <a:lnTo>
                    <a:pt x="22415" y="4414"/>
                  </a:lnTo>
                  <a:lnTo>
                    <a:pt x="22106" y="4414"/>
                  </a:lnTo>
                  <a:lnTo>
                    <a:pt x="22398" y="4414"/>
                  </a:lnTo>
                  <a:lnTo>
                    <a:pt x="22398" y="4414"/>
                  </a:lnTo>
                  <a:lnTo>
                    <a:pt x="22690" y="4414"/>
                  </a:lnTo>
                  <a:lnTo>
                    <a:pt x="22587" y="4414"/>
                  </a:lnTo>
                  <a:lnTo>
                    <a:pt x="22484" y="4414"/>
                  </a:lnTo>
                  <a:lnTo>
                    <a:pt x="22725" y="4414"/>
                  </a:lnTo>
                  <a:lnTo>
                    <a:pt x="22347" y="4414"/>
                  </a:lnTo>
                  <a:lnTo>
                    <a:pt x="22244" y="4414"/>
                  </a:lnTo>
                  <a:lnTo>
                    <a:pt x="22055" y="4414"/>
                  </a:lnTo>
                  <a:lnTo>
                    <a:pt x="22415" y="4414"/>
                  </a:lnTo>
                  <a:lnTo>
                    <a:pt x="22020" y="4414"/>
                  </a:lnTo>
                  <a:lnTo>
                    <a:pt x="22020" y="4414"/>
                  </a:lnTo>
                  <a:lnTo>
                    <a:pt x="21608" y="4414"/>
                  </a:lnTo>
                  <a:lnTo>
                    <a:pt x="21608" y="4414"/>
                  </a:lnTo>
                  <a:lnTo>
                    <a:pt x="21213" y="4500"/>
                  </a:lnTo>
                  <a:lnTo>
                    <a:pt x="21385" y="4500"/>
                  </a:lnTo>
                  <a:lnTo>
                    <a:pt x="21385" y="4500"/>
                  </a:lnTo>
                  <a:cubicBezTo>
                    <a:pt x="21251" y="4544"/>
                    <a:pt x="21113" y="4572"/>
                    <a:pt x="20973" y="4586"/>
                  </a:cubicBezTo>
                  <a:lnTo>
                    <a:pt x="21144" y="4586"/>
                  </a:lnTo>
                  <a:lnTo>
                    <a:pt x="20955" y="4586"/>
                  </a:lnTo>
                  <a:lnTo>
                    <a:pt x="20955" y="4586"/>
                  </a:lnTo>
                  <a:lnTo>
                    <a:pt x="20835" y="4586"/>
                  </a:lnTo>
                  <a:lnTo>
                    <a:pt x="20835" y="4586"/>
                  </a:lnTo>
                  <a:lnTo>
                    <a:pt x="20835" y="4586"/>
                  </a:lnTo>
                  <a:cubicBezTo>
                    <a:pt x="20835" y="4586"/>
                    <a:pt x="20835" y="4586"/>
                    <a:pt x="20835" y="4586"/>
                  </a:cubicBezTo>
                  <a:lnTo>
                    <a:pt x="20835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560" y="4586"/>
                  </a:lnTo>
                  <a:lnTo>
                    <a:pt x="20560" y="4586"/>
                  </a:lnTo>
                  <a:lnTo>
                    <a:pt x="20114" y="4706"/>
                  </a:lnTo>
                  <a:lnTo>
                    <a:pt x="20114" y="4706"/>
                  </a:lnTo>
                  <a:lnTo>
                    <a:pt x="19787" y="4827"/>
                  </a:lnTo>
                  <a:lnTo>
                    <a:pt x="19787" y="4827"/>
                  </a:lnTo>
                  <a:lnTo>
                    <a:pt x="19392" y="4947"/>
                  </a:lnTo>
                  <a:lnTo>
                    <a:pt x="19392" y="4947"/>
                  </a:lnTo>
                  <a:lnTo>
                    <a:pt x="19100" y="5153"/>
                  </a:lnTo>
                  <a:lnTo>
                    <a:pt x="19100" y="5153"/>
                  </a:lnTo>
                  <a:lnTo>
                    <a:pt x="18997" y="5153"/>
                  </a:lnTo>
                  <a:lnTo>
                    <a:pt x="18997" y="5153"/>
                  </a:lnTo>
                  <a:lnTo>
                    <a:pt x="18430" y="5359"/>
                  </a:lnTo>
                  <a:lnTo>
                    <a:pt x="18568" y="5359"/>
                  </a:lnTo>
                  <a:lnTo>
                    <a:pt x="18568" y="5359"/>
                  </a:lnTo>
                  <a:cubicBezTo>
                    <a:pt x="18763" y="5286"/>
                    <a:pt x="18964" y="5229"/>
                    <a:pt x="19169" y="5187"/>
                  </a:cubicBezTo>
                  <a:lnTo>
                    <a:pt x="19169" y="5187"/>
                  </a:lnTo>
                  <a:lnTo>
                    <a:pt x="19341" y="5187"/>
                  </a:lnTo>
                  <a:lnTo>
                    <a:pt x="19461" y="5187"/>
                  </a:lnTo>
                  <a:lnTo>
                    <a:pt x="19186" y="5187"/>
                  </a:lnTo>
                  <a:lnTo>
                    <a:pt x="19186" y="5187"/>
                  </a:lnTo>
                  <a:lnTo>
                    <a:pt x="19032" y="5187"/>
                  </a:lnTo>
                  <a:lnTo>
                    <a:pt x="19032" y="5187"/>
                  </a:lnTo>
                  <a:lnTo>
                    <a:pt x="18911" y="5187"/>
                  </a:lnTo>
                  <a:lnTo>
                    <a:pt x="18911" y="5187"/>
                  </a:lnTo>
                  <a:lnTo>
                    <a:pt x="18740" y="5187"/>
                  </a:lnTo>
                  <a:lnTo>
                    <a:pt x="18740" y="5187"/>
                  </a:lnTo>
                  <a:lnTo>
                    <a:pt x="18894" y="5187"/>
                  </a:lnTo>
                  <a:lnTo>
                    <a:pt x="18894" y="5187"/>
                  </a:lnTo>
                  <a:lnTo>
                    <a:pt x="19049" y="5187"/>
                  </a:lnTo>
                  <a:lnTo>
                    <a:pt x="19049" y="5187"/>
                  </a:lnTo>
                  <a:lnTo>
                    <a:pt x="18860" y="5187"/>
                  </a:lnTo>
                  <a:cubicBezTo>
                    <a:pt x="18997" y="5187"/>
                    <a:pt x="19392" y="5067"/>
                    <a:pt x="19032" y="5187"/>
                  </a:cubicBezTo>
                  <a:lnTo>
                    <a:pt x="19186" y="5187"/>
                  </a:lnTo>
                  <a:lnTo>
                    <a:pt x="19289" y="5187"/>
                  </a:lnTo>
                  <a:lnTo>
                    <a:pt x="19650" y="5084"/>
                  </a:lnTo>
                  <a:cubicBezTo>
                    <a:pt x="19252" y="5196"/>
                    <a:pt x="18862" y="5334"/>
                    <a:pt x="18482" y="5497"/>
                  </a:cubicBezTo>
                  <a:lnTo>
                    <a:pt x="18654" y="5497"/>
                  </a:lnTo>
                  <a:lnTo>
                    <a:pt x="18654" y="5497"/>
                  </a:lnTo>
                  <a:cubicBezTo>
                    <a:pt x="18654" y="5497"/>
                    <a:pt x="18860" y="5497"/>
                    <a:pt x="18740" y="5497"/>
                  </a:cubicBezTo>
                  <a:lnTo>
                    <a:pt x="18894" y="5497"/>
                  </a:lnTo>
                  <a:lnTo>
                    <a:pt x="18894" y="5497"/>
                  </a:lnTo>
                  <a:lnTo>
                    <a:pt x="19032" y="5497"/>
                  </a:lnTo>
                  <a:cubicBezTo>
                    <a:pt x="18929" y="5497"/>
                    <a:pt x="18808" y="5497"/>
                    <a:pt x="18722" y="5617"/>
                  </a:cubicBezTo>
                  <a:lnTo>
                    <a:pt x="18722" y="5617"/>
                  </a:lnTo>
                  <a:lnTo>
                    <a:pt x="18585" y="5617"/>
                  </a:lnTo>
                  <a:lnTo>
                    <a:pt x="18585" y="5617"/>
                  </a:lnTo>
                  <a:lnTo>
                    <a:pt x="18413" y="5617"/>
                  </a:lnTo>
                  <a:cubicBezTo>
                    <a:pt x="18505" y="5624"/>
                    <a:pt x="18597" y="5624"/>
                    <a:pt x="18688" y="5617"/>
                  </a:cubicBezTo>
                  <a:cubicBezTo>
                    <a:pt x="18396" y="5771"/>
                    <a:pt x="18035" y="5909"/>
                    <a:pt x="17743" y="6098"/>
                  </a:cubicBezTo>
                  <a:lnTo>
                    <a:pt x="17743" y="6098"/>
                  </a:lnTo>
                  <a:lnTo>
                    <a:pt x="17554" y="6201"/>
                  </a:lnTo>
                  <a:lnTo>
                    <a:pt x="17743" y="6201"/>
                  </a:lnTo>
                  <a:lnTo>
                    <a:pt x="17743" y="6201"/>
                  </a:lnTo>
                  <a:cubicBezTo>
                    <a:pt x="17743" y="6201"/>
                    <a:pt x="17743" y="6201"/>
                    <a:pt x="17743" y="6201"/>
                  </a:cubicBezTo>
                  <a:cubicBezTo>
                    <a:pt x="17557" y="6309"/>
                    <a:pt x="17362" y="6402"/>
                    <a:pt x="17159" y="6476"/>
                  </a:cubicBezTo>
                  <a:cubicBezTo>
                    <a:pt x="17159" y="6476"/>
                    <a:pt x="17159" y="6476"/>
                    <a:pt x="17159" y="6476"/>
                  </a:cubicBezTo>
                  <a:cubicBezTo>
                    <a:pt x="17159" y="6476"/>
                    <a:pt x="17056" y="6476"/>
                    <a:pt x="17039" y="6476"/>
                  </a:cubicBezTo>
                  <a:lnTo>
                    <a:pt x="17039" y="6476"/>
                  </a:lnTo>
                  <a:cubicBezTo>
                    <a:pt x="16976" y="6499"/>
                    <a:pt x="16918" y="6534"/>
                    <a:pt x="16867" y="6579"/>
                  </a:cubicBezTo>
                  <a:lnTo>
                    <a:pt x="16867" y="6579"/>
                  </a:lnTo>
                  <a:cubicBezTo>
                    <a:pt x="16867" y="6579"/>
                    <a:pt x="16627" y="6750"/>
                    <a:pt x="16730" y="6716"/>
                  </a:cubicBezTo>
                  <a:lnTo>
                    <a:pt x="16730" y="6716"/>
                  </a:lnTo>
                  <a:lnTo>
                    <a:pt x="16730" y="6716"/>
                  </a:lnTo>
                  <a:lnTo>
                    <a:pt x="16730" y="6716"/>
                  </a:lnTo>
                  <a:cubicBezTo>
                    <a:pt x="16730" y="6716"/>
                    <a:pt x="16730" y="6716"/>
                    <a:pt x="16730" y="6716"/>
                  </a:cubicBezTo>
                  <a:lnTo>
                    <a:pt x="16885" y="6716"/>
                  </a:lnTo>
                  <a:lnTo>
                    <a:pt x="16627" y="6853"/>
                  </a:lnTo>
                  <a:lnTo>
                    <a:pt x="16627" y="6853"/>
                  </a:lnTo>
                  <a:cubicBezTo>
                    <a:pt x="16627" y="6853"/>
                    <a:pt x="16455" y="6853"/>
                    <a:pt x="16386" y="6991"/>
                  </a:cubicBezTo>
                  <a:cubicBezTo>
                    <a:pt x="16318" y="7128"/>
                    <a:pt x="16507" y="6991"/>
                    <a:pt x="16558" y="6991"/>
                  </a:cubicBezTo>
                  <a:cubicBezTo>
                    <a:pt x="16389" y="7066"/>
                    <a:pt x="16228" y="7158"/>
                    <a:pt x="16077" y="7266"/>
                  </a:cubicBezTo>
                  <a:lnTo>
                    <a:pt x="16077" y="7266"/>
                  </a:lnTo>
                  <a:lnTo>
                    <a:pt x="16077" y="7266"/>
                  </a:lnTo>
                  <a:cubicBezTo>
                    <a:pt x="16317" y="7116"/>
                    <a:pt x="16570" y="6989"/>
                    <a:pt x="16833" y="6888"/>
                  </a:cubicBezTo>
                  <a:lnTo>
                    <a:pt x="16833" y="6888"/>
                  </a:lnTo>
                  <a:cubicBezTo>
                    <a:pt x="16833" y="6888"/>
                    <a:pt x="16833" y="6888"/>
                    <a:pt x="16833" y="6888"/>
                  </a:cubicBezTo>
                  <a:lnTo>
                    <a:pt x="16833" y="6888"/>
                  </a:lnTo>
                  <a:lnTo>
                    <a:pt x="16936" y="6888"/>
                  </a:lnTo>
                  <a:lnTo>
                    <a:pt x="16833" y="6888"/>
                  </a:lnTo>
                  <a:cubicBezTo>
                    <a:pt x="16833" y="6888"/>
                    <a:pt x="16988" y="6785"/>
                    <a:pt x="17056" y="6785"/>
                  </a:cubicBezTo>
                  <a:lnTo>
                    <a:pt x="17056" y="6785"/>
                  </a:lnTo>
                  <a:cubicBezTo>
                    <a:pt x="17056" y="6785"/>
                    <a:pt x="17314" y="6682"/>
                    <a:pt x="17159" y="6785"/>
                  </a:cubicBezTo>
                  <a:lnTo>
                    <a:pt x="17039" y="6785"/>
                  </a:lnTo>
                  <a:cubicBezTo>
                    <a:pt x="17073" y="6775"/>
                    <a:pt x="17109" y="6775"/>
                    <a:pt x="17142" y="6785"/>
                  </a:cubicBezTo>
                  <a:lnTo>
                    <a:pt x="17022" y="6785"/>
                  </a:lnTo>
                  <a:lnTo>
                    <a:pt x="17022" y="6785"/>
                  </a:lnTo>
                  <a:cubicBezTo>
                    <a:pt x="17022" y="6785"/>
                    <a:pt x="17022" y="6785"/>
                    <a:pt x="16885" y="6785"/>
                  </a:cubicBezTo>
                  <a:cubicBezTo>
                    <a:pt x="16747" y="6785"/>
                    <a:pt x="17074" y="6785"/>
                    <a:pt x="17005" y="6785"/>
                  </a:cubicBezTo>
                  <a:cubicBezTo>
                    <a:pt x="17104" y="6745"/>
                    <a:pt x="17215" y="6745"/>
                    <a:pt x="17314" y="6785"/>
                  </a:cubicBezTo>
                  <a:lnTo>
                    <a:pt x="17314" y="6785"/>
                  </a:lnTo>
                  <a:cubicBezTo>
                    <a:pt x="17125" y="6922"/>
                    <a:pt x="16902" y="7025"/>
                    <a:pt x="16696" y="7145"/>
                  </a:cubicBezTo>
                  <a:lnTo>
                    <a:pt x="16696" y="7145"/>
                  </a:lnTo>
                  <a:lnTo>
                    <a:pt x="16696" y="7145"/>
                  </a:lnTo>
                  <a:lnTo>
                    <a:pt x="16696" y="7145"/>
                  </a:lnTo>
                  <a:cubicBezTo>
                    <a:pt x="16696" y="7145"/>
                    <a:pt x="16696" y="7145"/>
                    <a:pt x="16696" y="7145"/>
                  </a:cubicBezTo>
                  <a:lnTo>
                    <a:pt x="16696" y="7145"/>
                  </a:lnTo>
                  <a:lnTo>
                    <a:pt x="16696" y="7145"/>
                  </a:lnTo>
                  <a:lnTo>
                    <a:pt x="16455" y="7300"/>
                  </a:lnTo>
                  <a:lnTo>
                    <a:pt x="16455" y="7300"/>
                  </a:lnTo>
                  <a:cubicBezTo>
                    <a:pt x="16455" y="7300"/>
                    <a:pt x="16455" y="7300"/>
                    <a:pt x="16455" y="7386"/>
                  </a:cubicBezTo>
                  <a:lnTo>
                    <a:pt x="16610" y="7386"/>
                  </a:lnTo>
                  <a:lnTo>
                    <a:pt x="16610" y="7386"/>
                  </a:lnTo>
                  <a:lnTo>
                    <a:pt x="16610" y="7489"/>
                  </a:lnTo>
                  <a:cubicBezTo>
                    <a:pt x="16610" y="7489"/>
                    <a:pt x="16610" y="7489"/>
                    <a:pt x="16610" y="7489"/>
                  </a:cubicBezTo>
                  <a:lnTo>
                    <a:pt x="16610" y="7489"/>
                  </a:lnTo>
                  <a:cubicBezTo>
                    <a:pt x="16953" y="7266"/>
                    <a:pt x="16713" y="7489"/>
                    <a:pt x="16610" y="7592"/>
                  </a:cubicBezTo>
                  <a:cubicBezTo>
                    <a:pt x="16730" y="7592"/>
                    <a:pt x="16833" y="7386"/>
                    <a:pt x="16970" y="7334"/>
                  </a:cubicBezTo>
                  <a:lnTo>
                    <a:pt x="16970" y="7334"/>
                  </a:lnTo>
                  <a:cubicBezTo>
                    <a:pt x="16970" y="7334"/>
                    <a:pt x="17280" y="7145"/>
                    <a:pt x="17108" y="7334"/>
                  </a:cubicBezTo>
                  <a:lnTo>
                    <a:pt x="17245" y="7334"/>
                  </a:lnTo>
                  <a:lnTo>
                    <a:pt x="17142" y="7334"/>
                  </a:lnTo>
                  <a:cubicBezTo>
                    <a:pt x="17142" y="7334"/>
                    <a:pt x="17142" y="7334"/>
                    <a:pt x="17142" y="7334"/>
                  </a:cubicBezTo>
                  <a:cubicBezTo>
                    <a:pt x="17142" y="7334"/>
                    <a:pt x="17022" y="7334"/>
                    <a:pt x="16988" y="7437"/>
                  </a:cubicBezTo>
                  <a:lnTo>
                    <a:pt x="16988" y="7437"/>
                  </a:lnTo>
                  <a:cubicBezTo>
                    <a:pt x="16988" y="7437"/>
                    <a:pt x="16885" y="7437"/>
                    <a:pt x="16867" y="7437"/>
                  </a:cubicBezTo>
                  <a:cubicBezTo>
                    <a:pt x="17211" y="7317"/>
                    <a:pt x="16747" y="7437"/>
                    <a:pt x="16610" y="7575"/>
                  </a:cubicBezTo>
                  <a:lnTo>
                    <a:pt x="16610" y="7575"/>
                  </a:lnTo>
                  <a:lnTo>
                    <a:pt x="16421" y="7678"/>
                  </a:lnTo>
                  <a:lnTo>
                    <a:pt x="16421" y="7678"/>
                  </a:lnTo>
                  <a:lnTo>
                    <a:pt x="16283" y="7678"/>
                  </a:lnTo>
                  <a:cubicBezTo>
                    <a:pt x="16438" y="7678"/>
                    <a:pt x="16283" y="7678"/>
                    <a:pt x="16283" y="7678"/>
                  </a:cubicBezTo>
                  <a:lnTo>
                    <a:pt x="16283" y="7678"/>
                  </a:lnTo>
                  <a:lnTo>
                    <a:pt x="16129" y="7678"/>
                  </a:lnTo>
                  <a:lnTo>
                    <a:pt x="16129" y="7678"/>
                  </a:lnTo>
                  <a:lnTo>
                    <a:pt x="16129" y="7678"/>
                  </a:lnTo>
                  <a:lnTo>
                    <a:pt x="16129" y="7678"/>
                  </a:lnTo>
                  <a:cubicBezTo>
                    <a:pt x="16026" y="7678"/>
                    <a:pt x="15923" y="7833"/>
                    <a:pt x="15820" y="7867"/>
                  </a:cubicBezTo>
                  <a:cubicBezTo>
                    <a:pt x="15717" y="7901"/>
                    <a:pt x="15974" y="7764"/>
                    <a:pt x="16043" y="7747"/>
                  </a:cubicBezTo>
                  <a:cubicBezTo>
                    <a:pt x="16112" y="7729"/>
                    <a:pt x="16043" y="7747"/>
                    <a:pt x="16043" y="7747"/>
                  </a:cubicBezTo>
                  <a:cubicBezTo>
                    <a:pt x="16131" y="7705"/>
                    <a:pt x="16223" y="7670"/>
                    <a:pt x="16318" y="7644"/>
                  </a:cubicBezTo>
                  <a:lnTo>
                    <a:pt x="16198" y="7644"/>
                  </a:lnTo>
                  <a:cubicBezTo>
                    <a:pt x="16386" y="7558"/>
                    <a:pt x="16558" y="7420"/>
                    <a:pt x="16747" y="7352"/>
                  </a:cubicBezTo>
                  <a:lnTo>
                    <a:pt x="16747" y="7352"/>
                  </a:lnTo>
                  <a:lnTo>
                    <a:pt x="16747" y="7352"/>
                  </a:lnTo>
                  <a:cubicBezTo>
                    <a:pt x="16976" y="7288"/>
                    <a:pt x="17195" y="7196"/>
                    <a:pt x="17400" y="7077"/>
                  </a:cubicBezTo>
                  <a:cubicBezTo>
                    <a:pt x="17400" y="7077"/>
                    <a:pt x="17400" y="7077"/>
                    <a:pt x="17262" y="7077"/>
                  </a:cubicBezTo>
                  <a:lnTo>
                    <a:pt x="17262" y="7077"/>
                  </a:lnTo>
                  <a:cubicBezTo>
                    <a:pt x="17366" y="7077"/>
                    <a:pt x="17761" y="6836"/>
                    <a:pt x="17520" y="6991"/>
                  </a:cubicBezTo>
                  <a:cubicBezTo>
                    <a:pt x="17692" y="6991"/>
                    <a:pt x="17692" y="6819"/>
                    <a:pt x="17846" y="6768"/>
                  </a:cubicBezTo>
                  <a:cubicBezTo>
                    <a:pt x="17692" y="6768"/>
                    <a:pt x="17846" y="6768"/>
                    <a:pt x="17846" y="6768"/>
                  </a:cubicBezTo>
                  <a:lnTo>
                    <a:pt x="17846" y="6768"/>
                  </a:lnTo>
                  <a:cubicBezTo>
                    <a:pt x="18036" y="6628"/>
                    <a:pt x="18252" y="6528"/>
                    <a:pt x="18482" y="6476"/>
                  </a:cubicBezTo>
                  <a:lnTo>
                    <a:pt x="18482" y="6476"/>
                  </a:lnTo>
                  <a:cubicBezTo>
                    <a:pt x="18662" y="6364"/>
                    <a:pt x="18859" y="6282"/>
                    <a:pt x="19066" y="6235"/>
                  </a:cubicBezTo>
                  <a:lnTo>
                    <a:pt x="18911" y="6321"/>
                  </a:lnTo>
                  <a:cubicBezTo>
                    <a:pt x="19100" y="6321"/>
                    <a:pt x="19238" y="6149"/>
                    <a:pt x="19427" y="6115"/>
                  </a:cubicBezTo>
                  <a:lnTo>
                    <a:pt x="19238" y="6252"/>
                  </a:lnTo>
                  <a:cubicBezTo>
                    <a:pt x="20286" y="5617"/>
                    <a:pt x="22038" y="4998"/>
                    <a:pt x="20303" y="5909"/>
                  </a:cubicBezTo>
                  <a:cubicBezTo>
                    <a:pt x="20578" y="5823"/>
                    <a:pt x="21230" y="5411"/>
                    <a:pt x="21024" y="5651"/>
                  </a:cubicBezTo>
                  <a:cubicBezTo>
                    <a:pt x="21780" y="5393"/>
                    <a:pt x="20629" y="6012"/>
                    <a:pt x="20303" y="6149"/>
                  </a:cubicBezTo>
                  <a:cubicBezTo>
                    <a:pt x="20698" y="6012"/>
                    <a:pt x="20303" y="6149"/>
                    <a:pt x="20303" y="6149"/>
                  </a:cubicBezTo>
                  <a:cubicBezTo>
                    <a:pt x="20303" y="6149"/>
                    <a:pt x="20560" y="5977"/>
                    <a:pt x="20406" y="6149"/>
                  </a:cubicBezTo>
                  <a:cubicBezTo>
                    <a:pt x="20663" y="5857"/>
                    <a:pt x="20921" y="6149"/>
                    <a:pt x="20492" y="6235"/>
                  </a:cubicBezTo>
                  <a:cubicBezTo>
                    <a:pt x="20448" y="6218"/>
                    <a:pt x="20398" y="6218"/>
                    <a:pt x="20354" y="6235"/>
                  </a:cubicBezTo>
                  <a:cubicBezTo>
                    <a:pt x="20612" y="6235"/>
                    <a:pt x="20251" y="6321"/>
                    <a:pt x="20165" y="6355"/>
                  </a:cubicBezTo>
                  <a:cubicBezTo>
                    <a:pt x="20818" y="6149"/>
                    <a:pt x="19616" y="6647"/>
                    <a:pt x="20337" y="6355"/>
                  </a:cubicBezTo>
                  <a:cubicBezTo>
                    <a:pt x="19427" y="6750"/>
                    <a:pt x="20749" y="6355"/>
                    <a:pt x="19856" y="6716"/>
                  </a:cubicBezTo>
                  <a:cubicBezTo>
                    <a:pt x="19856" y="6819"/>
                    <a:pt x="19856" y="6716"/>
                    <a:pt x="20097" y="6716"/>
                  </a:cubicBezTo>
                  <a:cubicBezTo>
                    <a:pt x="19967" y="6814"/>
                    <a:pt x="19822" y="6889"/>
                    <a:pt x="19667" y="6939"/>
                  </a:cubicBezTo>
                  <a:cubicBezTo>
                    <a:pt x="19564" y="6939"/>
                    <a:pt x="20423" y="6939"/>
                    <a:pt x="19495" y="7145"/>
                  </a:cubicBezTo>
                  <a:cubicBezTo>
                    <a:pt x="19392" y="7145"/>
                    <a:pt x="19959" y="7145"/>
                    <a:pt x="19358" y="7266"/>
                  </a:cubicBezTo>
                  <a:cubicBezTo>
                    <a:pt x="19856" y="7094"/>
                    <a:pt x="19925" y="7266"/>
                    <a:pt x="19358" y="7352"/>
                  </a:cubicBezTo>
                  <a:cubicBezTo>
                    <a:pt x="19581" y="7541"/>
                    <a:pt x="19255" y="7592"/>
                    <a:pt x="19358" y="7523"/>
                  </a:cubicBezTo>
                  <a:cubicBezTo>
                    <a:pt x="19083" y="7523"/>
                    <a:pt x="19358" y="7747"/>
                    <a:pt x="19049" y="7626"/>
                  </a:cubicBezTo>
                  <a:cubicBezTo>
                    <a:pt x="18860" y="7953"/>
                    <a:pt x="19186" y="7764"/>
                    <a:pt x="18860" y="7918"/>
                  </a:cubicBezTo>
                  <a:cubicBezTo>
                    <a:pt x="19118" y="7833"/>
                    <a:pt x="18654" y="8193"/>
                    <a:pt x="18860" y="8039"/>
                  </a:cubicBezTo>
                  <a:cubicBezTo>
                    <a:pt x="18534" y="8365"/>
                    <a:pt x="19152" y="7850"/>
                    <a:pt x="18705" y="8399"/>
                  </a:cubicBezTo>
                  <a:cubicBezTo>
                    <a:pt x="18482" y="8520"/>
                    <a:pt x="19066" y="8399"/>
                    <a:pt x="18551" y="8588"/>
                  </a:cubicBezTo>
                  <a:cubicBezTo>
                    <a:pt x="18929" y="8434"/>
                    <a:pt x="18637" y="8966"/>
                    <a:pt x="18396" y="8829"/>
                  </a:cubicBezTo>
                  <a:cubicBezTo>
                    <a:pt x="18396" y="8966"/>
                    <a:pt x="18242" y="9069"/>
                    <a:pt x="18190" y="8966"/>
                  </a:cubicBezTo>
                  <a:cubicBezTo>
                    <a:pt x="18138" y="8863"/>
                    <a:pt x="18018" y="9155"/>
                    <a:pt x="18190" y="8966"/>
                  </a:cubicBezTo>
                  <a:cubicBezTo>
                    <a:pt x="18362" y="8777"/>
                    <a:pt x="17692" y="9447"/>
                    <a:pt x="17846" y="9155"/>
                  </a:cubicBezTo>
                  <a:cubicBezTo>
                    <a:pt x="17709" y="8966"/>
                    <a:pt x="18173" y="8709"/>
                    <a:pt x="18224" y="8605"/>
                  </a:cubicBezTo>
                  <a:cubicBezTo>
                    <a:pt x="17915" y="8777"/>
                    <a:pt x="18104" y="8605"/>
                    <a:pt x="18224" y="8434"/>
                  </a:cubicBezTo>
                  <a:cubicBezTo>
                    <a:pt x="18345" y="8262"/>
                    <a:pt x="17967" y="8640"/>
                    <a:pt x="18053" y="8434"/>
                  </a:cubicBezTo>
                  <a:cubicBezTo>
                    <a:pt x="17761" y="8709"/>
                    <a:pt x="17589" y="8743"/>
                    <a:pt x="17486" y="9155"/>
                  </a:cubicBezTo>
                  <a:cubicBezTo>
                    <a:pt x="17383" y="9567"/>
                    <a:pt x="16816" y="10065"/>
                    <a:pt x="16747" y="9842"/>
                  </a:cubicBezTo>
                  <a:cubicBezTo>
                    <a:pt x="16678" y="9619"/>
                    <a:pt x="16867" y="9722"/>
                    <a:pt x="16747" y="9396"/>
                  </a:cubicBezTo>
                  <a:cubicBezTo>
                    <a:pt x="16524" y="9791"/>
                    <a:pt x="16524" y="10306"/>
                    <a:pt x="16524" y="10306"/>
                  </a:cubicBezTo>
                  <a:cubicBezTo>
                    <a:pt x="15820" y="10461"/>
                    <a:pt x="16644" y="9104"/>
                    <a:pt x="16799" y="9069"/>
                  </a:cubicBezTo>
                  <a:cubicBezTo>
                    <a:pt x="16524" y="9172"/>
                    <a:pt x="16799" y="9069"/>
                    <a:pt x="16558" y="9069"/>
                  </a:cubicBezTo>
                  <a:cubicBezTo>
                    <a:pt x="16678" y="8897"/>
                    <a:pt x="16386" y="9155"/>
                    <a:pt x="16301" y="9069"/>
                  </a:cubicBezTo>
                  <a:cubicBezTo>
                    <a:pt x="16215" y="8983"/>
                    <a:pt x="17005" y="8382"/>
                    <a:pt x="16850" y="8794"/>
                  </a:cubicBezTo>
                  <a:cubicBezTo>
                    <a:pt x="18310" y="8485"/>
                    <a:pt x="19203" y="7077"/>
                    <a:pt x="19530" y="6733"/>
                  </a:cubicBezTo>
                  <a:cubicBezTo>
                    <a:pt x="19032" y="7145"/>
                    <a:pt x="19169" y="6733"/>
                    <a:pt x="18980" y="6733"/>
                  </a:cubicBezTo>
                  <a:cubicBezTo>
                    <a:pt x="18791" y="6733"/>
                    <a:pt x="19238" y="6579"/>
                    <a:pt x="18980" y="6561"/>
                  </a:cubicBezTo>
                  <a:cubicBezTo>
                    <a:pt x="19203" y="6321"/>
                    <a:pt x="18980" y="6561"/>
                    <a:pt x="18980" y="6373"/>
                  </a:cubicBezTo>
                  <a:lnTo>
                    <a:pt x="19083" y="6373"/>
                  </a:lnTo>
                  <a:lnTo>
                    <a:pt x="18929" y="6458"/>
                  </a:lnTo>
                  <a:cubicBezTo>
                    <a:pt x="18671" y="6579"/>
                    <a:pt x="18430" y="6733"/>
                    <a:pt x="18173" y="6871"/>
                  </a:cubicBezTo>
                  <a:lnTo>
                    <a:pt x="18173" y="6871"/>
                  </a:lnTo>
                  <a:lnTo>
                    <a:pt x="18293" y="6871"/>
                  </a:lnTo>
                  <a:lnTo>
                    <a:pt x="18242" y="6871"/>
                  </a:lnTo>
                  <a:lnTo>
                    <a:pt x="18242" y="6871"/>
                  </a:lnTo>
                  <a:cubicBezTo>
                    <a:pt x="18242" y="6957"/>
                    <a:pt x="17984" y="6871"/>
                    <a:pt x="17898" y="7025"/>
                  </a:cubicBezTo>
                  <a:lnTo>
                    <a:pt x="17898" y="7025"/>
                  </a:lnTo>
                  <a:lnTo>
                    <a:pt x="17898" y="7025"/>
                  </a:lnTo>
                  <a:lnTo>
                    <a:pt x="18001" y="7025"/>
                  </a:lnTo>
                  <a:cubicBezTo>
                    <a:pt x="18001" y="7025"/>
                    <a:pt x="18001" y="7025"/>
                    <a:pt x="18001" y="7025"/>
                  </a:cubicBezTo>
                  <a:lnTo>
                    <a:pt x="18001" y="7025"/>
                  </a:lnTo>
                  <a:cubicBezTo>
                    <a:pt x="18001" y="7025"/>
                    <a:pt x="17881" y="7025"/>
                    <a:pt x="17829" y="7025"/>
                  </a:cubicBezTo>
                  <a:lnTo>
                    <a:pt x="17829" y="7025"/>
                  </a:lnTo>
                  <a:lnTo>
                    <a:pt x="17829" y="7025"/>
                  </a:lnTo>
                  <a:cubicBezTo>
                    <a:pt x="17623" y="7180"/>
                    <a:pt x="17400" y="7300"/>
                    <a:pt x="17177" y="7437"/>
                  </a:cubicBezTo>
                  <a:lnTo>
                    <a:pt x="17434" y="7334"/>
                  </a:lnTo>
                  <a:lnTo>
                    <a:pt x="17434" y="7334"/>
                  </a:lnTo>
                  <a:lnTo>
                    <a:pt x="17864" y="7111"/>
                  </a:lnTo>
                  <a:cubicBezTo>
                    <a:pt x="17702" y="7258"/>
                    <a:pt x="17523" y="7385"/>
                    <a:pt x="17331" y="7489"/>
                  </a:cubicBezTo>
                  <a:lnTo>
                    <a:pt x="17331" y="7489"/>
                  </a:lnTo>
                  <a:cubicBezTo>
                    <a:pt x="17075" y="7607"/>
                    <a:pt x="16843" y="7770"/>
                    <a:pt x="16644" y="7970"/>
                  </a:cubicBezTo>
                  <a:cubicBezTo>
                    <a:pt x="16644" y="7970"/>
                    <a:pt x="16747" y="7884"/>
                    <a:pt x="16799" y="7884"/>
                  </a:cubicBezTo>
                  <a:lnTo>
                    <a:pt x="16799" y="7884"/>
                  </a:lnTo>
                  <a:lnTo>
                    <a:pt x="17675" y="7437"/>
                  </a:lnTo>
                  <a:lnTo>
                    <a:pt x="17675" y="7437"/>
                  </a:lnTo>
                  <a:lnTo>
                    <a:pt x="17675" y="7437"/>
                  </a:lnTo>
                  <a:cubicBezTo>
                    <a:pt x="17675" y="7437"/>
                    <a:pt x="17675" y="7334"/>
                    <a:pt x="17812" y="7352"/>
                  </a:cubicBezTo>
                  <a:lnTo>
                    <a:pt x="17812" y="7352"/>
                  </a:lnTo>
                  <a:cubicBezTo>
                    <a:pt x="17812" y="7352"/>
                    <a:pt x="17812" y="7352"/>
                    <a:pt x="17932" y="7352"/>
                  </a:cubicBezTo>
                  <a:lnTo>
                    <a:pt x="17932" y="7352"/>
                  </a:lnTo>
                  <a:lnTo>
                    <a:pt x="18362" y="7111"/>
                  </a:lnTo>
                  <a:cubicBezTo>
                    <a:pt x="18362" y="7111"/>
                    <a:pt x="18362" y="7111"/>
                    <a:pt x="18362" y="7266"/>
                  </a:cubicBezTo>
                  <a:lnTo>
                    <a:pt x="18362" y="7266"/>
                  </a:lnTo>
                  <a:cubicBezTo>
                    <a:pt x="18341" y="7321"/>
                    <a:pt x="18297" y="7365"/>
                    <a:pt x="18242" y="7386"/>
                  </a:cubicBezTo>
                  <a:cubicBezTo>
                    <a:pt x="18242" y="7300"/>
                    <a:pt x="18242" y="7472"/>
                    <a:pt x="18104" y="7489"/>
                  </a:cubicBezTo>
                  <a:cubicBezTo>
                    <a:pt x="17967" y="7506"/>
                    <a:pt x="17967" y="7626"/>
                    <a:pt x="17898" y="7626"/>
                  </a:cubicBezTo>
                  <a:cubicBezTo>
                    <a:pt x="17829" y="7626"/>
                    <a:pt x="17898" y="7626"/>
                    <a:pt x="17898" y="7626"/>
                  </a:cubicBezTo>
                  <a:lnTo>
                    <a:pt x="17898" y="7626"/>
                  </a:lnTo>
                  <a:cubicBezTo>
                    <a:pt x="17898" y="7626"/>
                    <a:pt x="17606" y="7764"/>
                    <a:pt x="17692" y="7626"/>
                  </a:cubicBezTo>
                  <a:lnTo>
                    <a:pt x="17692" y="7626"/>
                  </a:lnTo>
                  <a:cubicBezTo>
                    <a:pt x="17692" y="7626"/>
                    <a:pt x="17692" y="7712"/>
                    <a:pt x="17537" y="7729"/>
                  </a:cubicBezTo>
                  <a:lnTo>
                    <a:pt x="17537" y="7729"/>
                  </a:lnTo>
                  <a:cubicBezTo>
                    <a:pt x="17537" y="7729"/>
                    <a:pt x="17417" y="7729"/>
                    <a:pt x="17537" y="7729"/>
                  </a:cubicBezTo>
                  <a:cubicBezTo>
                    <a:pt x="17222" y="8004"/>
                    <a:pt x="16845" y="8199"/>
                    <a:pt x="16438" y="8296"/>
                  </a:cubicBezTo>
                  <a:cubicBezTo>
                    <a:pt x="16466" y="8278"/>
                    <a:pt x="16495" y="8261"/>
                    <a:pt x="16524" y="8245"/>
                  </a:cubicBezTo>
                  <a:lnTo>
                    <a:pt x="16524" y="8245"/>
                  </a:lnTo>
                  <a:lnTo>
                    <a:pt x="16661" y="8125"/>
                  </a:lnTo>
                  <a:lnTo>
                    <a:pt x="16661" y="8125"/>
                  </a:lnTo>
                  <a:cubicBezTo>
                    <a:pt x="16661" y="8125"/>
                    <a:pt x="16490" y="8210"/>
                    <a:pt x="16661" y="8125"/>
                  </a:cubicBezTo>
                  <a:cubicBezTo>
                    <a:pt x="16557" y="8250"/>
                    <a:pt x="16436" y="8360"/>
                    <a:pt x="16301" y="8451"/>
                  </a:cubicBezTo>
                  <a:lnTo>
                    <a:pt x="16404" y="8296"/>
                  </a:lnTo>
                  <a:cubicBezTo>
                    <a:pt x="16404" y="8296"/>
                    <a:pt x="16404" y="8382"/>
                    <a:pt x="16283" y="8399"/>
                  </a:cubicBezTo>
                  <a:cubicBezTo>
                    <a:pt x="16163" y="8417"/>
                    <a:pt x="16283" y="8399"/>
                    <a:pt x="16283" y="8399"/>
                  </a:cubicBezTo>
                  <a:lnTo>
                    <a:pt x="16283" y="8399"/>
                  </a:lnTo>
                  <a:lnTo>
                    <a:pt x="16438" y="8279"/>
                  </a:lnTo>
                  <a:cubicBezTo>
                    <a:pt x="16438" y="8279"/>
                    <a:pt x="16335" y="8279"/>
                    <a:pt x="16438" y="8279"/>
                  </a:cubicBezTo>
                  <a:lnTo>
                    <a:pt x="16438" y="8279"/>
                  </a:lnTo>
                  <a:lnTo>
                    <a:pt x="16438" y="8279"/>
                  </a:lnTo>
                  <a:cubicBezTo>
                    <a:pt x="16260" y="8438"/>
                    <a:pt x="16057" y="8566"/>
                    <a:pt x="15837" y="8657"/>
                  </a:cubicBezTo>
                  <a:lnTo>
                    <a:pt x="15837" y="8657"/>
                  </a:lnTo>
                  <a:cubicBezTo>
                    <a:pt x="15510" y="8846"/>
                    <a:pt x="15837" y="8520"/>
                    <a:pt x="15837" y="8365"/>
                  </a:cubicBezTo>
                  <a:cubicBezTo>
                    <a:pt x="15545" y="8537"/>
                    <a:pt x="15614" y="8846"/>
                    <a:pt x="15287" y="8932"/>
                  </a:cubicBezTo>
                  <a:lnTo>
                    <a:pt x="15287" y="8932"/>
                  </a:lnTo>
                  <a:lnTo>
                    <a:pt x="14841" y="9138"/>
                  </a:lnTo>
                  <a:cubicBezTo>
                    <a:pt x="14841" y="9138"/>
                    <a:pt x="14841" y="9138"/>
                    <a:pt x="14841" y="9138"/>
                  </a:cubicBezTo>
                  <a:lnTo>
                    <a:pt x="14841" y="9138"/>
                  </a:lnTo>
                  <a:lnTo>
                    <a:pt x="14841" y="9138"/>
                  </a:lnTo>
                  <a:cubicBezTo>
                    <a:pt x="14841" y="9138"/>
                    <a:pt x="14841" y="9138"/>
                    <a:pt x="14961" y="9035"/>
                  </a:cubicBezTo>
                  <a:cubicBezTo>
                    <a:pt x="15081" y="8932"/>
                    <a:pt x="14841" y="9035"/>
                    <a:pt x="14806" y="9121"/>
                  </a:cubicBezTo>
                  <a:cubicBezTo>
                    <a:pt x="14849" y="9096"/>
                    <a:pt x="14884" y="9060"/>
                    <a:pt x="14909" y="9018"/>
                  </a:cubicBezTo>
                  <a:cubicBezTo>
                    <a:pt x="14909" y="9018"/>
                    <a:pt x="14514" y="9344"/>
                    <a:pt x="14686" y="9138"/>
                  </a:cubicBezTo>
                  <a:lnTo>
                    <a:pt x="14531" y="9258"/>
                  </a:lnTo>
                  <a:cubicBezTo>
                    <a:pt x="14601" y="9111"/>
                    <a:pt x="14687" y="8973"/>
                    <a:pt x="14789" y="8846"/>
                  </a:cubicBezTo>
                  <a:lnTo>
                    <a:pt x="14789" y="8846"/>
                  </a:lnTo>
                  <a:lnTo>
                    <a:pt x="14789" y="8846"/>
                  </a:lnTo>
                  <a:lnTo>
                    <a:pt x="14703" y="8949"/>
                  </a:lnTo>
                  <a:cubicBezTo>
                    <a:pt x="14909" y="8794"/>
                    <a:pt x="14600" y="9138"/>
                    <a:pt x="14549" y="9121"/>
                  </a:cubicBezTo>
                  <a:lnTo>
                    <a:pt x="14686" y="9121"/>
                  </a:lnTo>
                  <a:cubicBezTo>
                    <a:pt x="14549" y="9361"/>
                    <a:pt x="13999" y="9653"/>
                    <a:pt x="14411" y="9121"/>
                  </a:cubicBezTo>
                  <a:cubicBezTo>
                    <a:pt x="14274" y="9207"/>
                    <a:pt x="14205" y="9361"/>
                    <a:pt x="14085" y="9447"/>
                  </a:cubicBezTo>
                  <a:lnTo>
                    <a:pt x="14085" y="9447"/>
                  </a:lnTo>
                  <a:lnTo>
                    <a:pt x="14085" y="9447"/>
                  </a:lnTo>
                  <a:lnTo>
                    <a:pt x="14085" y="9447"/>
                  </a:lnTo>
                  <a:lnTo>
                    <a:pt x="13930" y="9585"/>
                  </a:lnTo>
                  <a:cubicBezTo>
                    <a:pt x="13930" y="9585"/>
                    <a:pt x="13930" y="9585"/>
                    <a:pt x="13930" y="9585"/>
                  </a:cubicBezTo>
                  <a:cubicBezTo>
                    <a:pt x="13930" y="9585"/>
                    <a:pt x="13810" y="9585"/>
                    <a:pt x="13776" y="9585"/>
                  </a:cubicBezTo>
                  <a:cubicBezTo>
                    <a:pt x="13741" y="9585"/>
                    <a:pt x="13260" y="9911"/>
                    <a:pt x="13123" y="9945"/>
                  </a:cubicBezTo>
                  <a:lnTo>
                    <a:pt x="13123" y="9945"/>
                  </a:lnTo>
                  <a:cubicBezTo>
                    <a:pt x="12737" y="10291"/>
                    <a:pt x="12330" y="10612"/>
                    <a:pt x="11903" y="10907"/>
                  </a:cubicBezTo>
                  <a:cubicBezTo>
                    <a:pt x="12900" y="10254"/>
                    <a:pt x="11749" y="11405"/>
                    <a:pt x="11525" y="11405"/>
                  </a:cubicBezTo>
                  <a:cubicBezTo>
                    <a:pt x="11972" y="11405"/>
                    <a:pt x="11732" y="11783"/>
                    <a:pt x="11525" y="12092"/>
                  </a:cubicBezTo>
                  <a:lnTo>
                    <a:pt x="11525" y="12092"/>
                  </a:lnTo>
                  <a:cubicBezTo>
                    <a:pt x="11512" y="12253"/>
                    <a:pt x="11471" y="12409"/>
                    <a:pt x="11405" y="12556"/>
                  </a:cubicBezTo>
                  <a:cubicBezTo>
                    <a:pt x="11525" y="12556"/>
                    <a:pt x="11508" y="12693"/>
                    <a:pt x="11629" y="12693"/>
                  </a:cubicBezTo>
                  <a:lnTo>
                    <a:pt x="11629" y="12693"/>
                  </a:lnTo>
                  <a:cubicBezTo>
                    <a:pt x="11143" y="13178"/>
                    <a:pt x="10727" y="13727"/>
                    <a:pt x="10392" y="14325"/>
                  </a:cubicBezTo>
                  <a:cubicBezTo>
                    <a:pt x="10598" y="14325"/>
                    <a:pt x="10546" y="14325"/>
                    <a:pt x="10753" y="14188"/>
                  </a:cubicBezTo>
                  <a:cubicBezTo>
                    <a:pt x="10753" y="14274"/>
                    <a:pt x="10546" y="14445"/>
                    <a:pt x="10649" y="14514"/>
                  </a:cubicBezTo>
                  <a:cubicBezTo>
                    <a:pt x="11067" y="13670"/>
                    <a:pt x="11757" y="12992"/>
                    <a:pt x="12608" y="12590"/>
                  </a:cubicBezTo>
                  <a:cubicBezTo>
                    <a:pt x="13106" y="12024"/>
                    <a:pt x="13484" y="11337"/>
                    <a:pt x="13999" y="11148"/>
                  </a:cubicBezTo>
                  <a:lnTo>
                    <a:pt x="13999" y="11148"/>
                  </a:lnTo>
                  <a:cubicBezTo>
                    <a:pt x="14085" y="11148"/>
                    <a:pt x="14119" y="10976"/>
                    <a:pt x="14205" y="10976"/>
                  </a:cubicBezTo>
                  <a:cubicBezTo>
                    <a:pt x="14291" y="10976"/>
                    <a:pt x="14205" y="10873"/>
                    <a:pt x="14325" y="10856"/>
                  </a:cubicBezTo>
                  <a:cubicBezTo>
                    <a:pt x="14446" y="10838"/>
                    <a:pt x="15493" y="9808"/>
                    <a:pt x="15081" y="10409"/>
                  </a:cubicBezTo>
                  <a:cubicBezTo>
                    <a:pt x="15081" y="10409"/>
                    <a:pt x="15253" y="10409"/>
                    <a:pt x="15201" y="10409"/>
                  </a:cubicBezTo>
                  <a:lnTo>
                    <a:pt x="15201" y="10409"/>
                  </a:lnTo>
                  <a:cubicBezTo>
                    <a:pt x="15510" y="10409"/>
                    <a:pt x="15201" y="10409"/>
                    <a:pt x="15304" y="10564"/>
                  </a:cubicBezTo>
                  <a:cubicBezTo>
                    <a:pt x="15407" y="10718"/>
                    <a:pt x="15201" y="10649"/>
                    <a:pt x="15167" y="10701"/>
                  </a:cubicBezTo>
                  <a:lnTo>
                    <a:pt x="15167" y="10701"/>
                  </a:lnTo>
                  <a:cubicBezTo>
                    <a:pt x="15167" y="10701"/>
                    <a:pt x="15167" y="10804"/>
                    <a:pt x="15167" y="10856"/>
                  </a:cubicBezTo>
                  <a:lnTo>
                    <a:pt x="15167" y="10856"/>
                  </a:lnTo>
                  <a:cubicBezTo>
                    <a:pt x="15167" y="10856"/>
                    <a:pt x="15167" y="10941"/>
                    <a:pt x="15167" y="10941"/>
                  </a:cubicBezTo>
                  <a:lnTo>
                    <a:pt x="15167" y="10941"/>
                  </a:lnTo>
                  <a:cubicBezTo>
                    <a:pt x="15167" y="10941"/>
                    <a:pt x="15167" y="11027"/>
                    <a:pt x="15047" y="11079"/>
                  </a:cubicBez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cubicBezTo>
                    <a:pt x="15201" y="11079"/>
                    <a:pt x="15047" y="11165"/>
                    <a:pt x="15047" y="11216"/>
                  </a:cubicBezTo>
                  <a:cubicBezTo>
                    <a:pt x="15047" y="11268"/>
                    <a:pt x="15150" y="11113"/>
                    <a:pt x="15201" y="11130"/>
                  </a:cubicBezTo>
                  <a:cubicBezTo>
                    <a:pt x="15253" y="11148"/>
                    <a:pt x="14909" y="11337"/>
                    <a:pt x="14789" y="11508"/>
                  </a:cubicBezTo>
                  <a:lnTo>
                    <a:pt x="14789" y="11508"/>
                  </a:lnTo>
                  <a:cubicBezTo>
                    <a:pt x="14789" y="11508"/>
                    <a:pt x="14652" y="11629"/>
                    <a:pt x="14583" y="11508"/>
                  </a:cubicBezTo>
                  <a:cubicBezTo>
                    <a:pt x="14772" y="11680"/>
                    <a:pt x="14308" y="12041"/>
                    <a:pt x="14325" y="11989"/>
                  </a:cubicBezTo>
                  <a:cubicBezTo>
                    <a:pt x="14342" y="11938"/>
                    <a:pt x="14325" y="12144"/>
                    <a:pt x="14325" y="11989"/>
                  </a:cubicBezTo>
                  <a:cubicBezTo>
                    <a:pt x="14325" y="11835"/>
                    <a:pt x="14119" y="12264"/>
                    <a:pt x="14016" y="12367"/>
                  </a:cubicBezTo>
                  <a:cubicBezTo>
                    <a:pt x="14291" y="12178"/>
                    <a:pt x="14360" y="12144"/>
                    <a:pt x="14016" y="12367"/>
                  </a:cubicBezTo>
                  <a:cubicBezTo>
                    <a:pt x="14016" y="12367"/>
                    <a:pt x="14308" y="12127"/>
                    <a:pt x="14308" y="12230"/>
                  </a:cubicBezTo>
                  <a:cubicBezTo>
                    <a:pt x="14308" y="12333"/>
                    <a:pt x="14463" y="12109"/>
                    <a:pt x="14549" y="12075"/>
                  </a:cubicBezTo>
                  <a:cubicBezTo>
                    <a:pt x="14564" y="12131"/>
                    <a:pt x="14564" y="12191"/>
                    <a:pt x="14549" y="12247"/>
                  </a:cubicBezTo>
                  <a:cubicBezTo>
                    <a:pt x="14549" y="12161"/>
                    <a:pt x="14961" y="11800"/>
                    <a:pt x="14995" y="11921"/>
                  </a:cubicBezTo>
                  <a:cubicBezTo>
                    <a:pt x="15030" y="12041"/>
                    <a:pt x="14995" y="11921"/>
                    <a:pt x="14995" y="11921"/>
                  </a:cubicBezTo>
                  <a:cubicBezTo>
                    <a:pt x="14995" y="11921"/>
                    <a:pt x="14995" y="11817"/>
                    <a:pt x="15133" y="11817"/>
                  </a:cubicBezTo>
                  <a:lnTo>
                    <a:pt x="15133" y="11817"/>
                  </a:lnTo>
                  <a:cubicBezTo>
                    <a:pt x="15133" y="11732"/>
                    <a:pt x="15579" y="11457"/>
                    <a:pt x="15442" y="11577"/>
                  </a:cubicBezTo>
                  <a:lnTo>
                    <a:pt x="15442" y="11577"/>
                  </a:lnTo>
                  <a:cubicBezTo>
                    <a:pt x="15442" y="11577"/>
                    <a:pt x="15442" y="11697"/>
                    <a:pt x="15322" y="11697"/>
                  </a:cubicBezTo>
                  <a:cubicBezTo>
                    <a:pt x="15201" y="11697"/>
                    <a:pt x="15322" y="11697"/>
                    <a:pt x="15322" y="11783"/>
                  </a:cubicBezTo>
                  <a:lnTo>
                    <a:pt x="15322" y="11783"/>
                  </a:lnTo>
                  <a:cubicBezTo>
                    <a:pt x="15218" y="11783"/>
                    <a:pt x="15322" y="11955"/>
                    <a:pt x="15150" y="12006"/>
                  </a:cubicBezTo>
                  <a:cubicBezTo>
                    <a:pt x="14978" y="12058"/>
                    <a:pt x="15150" y="12127"/>
                    <a:pt x="15150" y="12006"/>
                  </a:cubicBezTo>
                  <a:cubicBezTo>
                    <a:pt x="15150" y="11886"/>
                    <a:pt x="14789" y="12161"/>
                    <a:pt x="15150" y="12144"/>
                  </a:cubicBezTo>
                  <a:cubicBezTo>
                    <a:pt x="15510" y="12127"/>
                    <a:pt x="14961" y="12298"/>
                    <a:pt x="15150" y="12247"/>
                  </a:cubicBezTo>
                  <a:cubicBezTo>
                    <a:pt x="15339" y="12195"/>
                    <a:pt x="14995" y="12419"/>
                    <a:pt x="14978" y="12247"/>
                  </a:cubicBezTo>
                  <a:cubicBezTo>
                    <a:pt x="14961" y="12075"/>
                    <a:pt x="14978" y="12333"/>
                    <a:pt x="14978" y="12350"/>
                  </a:cubicBezTo>
                  <a:cubicBezTo>
                    <a:pt x="14978" y="12367"/>
                    <a:pt x="15098" y="12350"/>
                    <a:pt x="15150" y="12350"/>
                  </a:cubicBezTo>
                  <a:cubicBezTo>
                    <a:pt x="15201" y="12350"/>
                    <a:pt x="14961" y="12350"/>
                    <a:pt x="14892" y="12505"/>
                  </a:cubicBezTo>
                  <a:cubicBezTo>
                    <a:pt x="15133" y="12505"/>
                    <a:pt x="15047" y="12505"/>
                    <a:pt x="14892" y="12608"/>
                  </a:cubicBezTo>
                  <a:cubicBezTo>
                    <a:pt x="14738" y="12711"/>
                    <a:pt x="14892" y="12608"/>
                    <a:pt x="14995" y="12608"/>
                  </a:cubicBezTo>
                  <a:cubicBezTo>
                    <a:pt x="15011" y="12682"/>
                    <a:pt x="14963" y="12755"/>
                    <a:pt x="14889" y="12770"/>
                  </a:cubicBezTo>
                  <a:cubicBezTo>
                    <a:pt x="14861" y="12776"/>
                    <a:pt x="14832" y="12773"/>
                    <a:pt x="14806" y="12762"/>
                  </a:cubicBezTo>
                  <a:cubicBezTo>
                    <a:pt x="14806" y="12762"/>
                    <a:pt x="14961" y="12848"/>
                    <a:pt x="14806" y="12917"/>
                  </a:cubicBezTo>
                  <a:cubicBezTo>
                    <a:pt x="14995" y="13020"/>
                    <a:pt x="14600" y="13157"/>
                    <a:pt x="14566" y="13089"/>
                  </a:cubicBezTo>
                  <a:cubicBezTo>
                    <a:pt x="14531" y="13020"/>
                    <a:pt x="14566" y="13363"/>
                    <a:pt x="14411" y="13312"/>
                  </a:cubicBezTo>
                  <a:cubicBezTo>
                    <a:pt x="14257" y="13260"/>
                    <a:pt x="14669" y="13312"/>
                    <a:pt x="14531" y="13415"/>
                  </a:cubicBezTo>
                  <a:cubicBezTo>
                    <a:pt x="14394" y="13518"/>
                    <a:pt x="14531" y="13415"/>
                    <a:pt x="14531" y="13501"/>
                  </a:cubicBezTo>
                  <a:cubicBezTo>
                    <a:pt x="14531" y="13587"/>
                    <a:pt x="14531" y="13501"/>
                    <a:pt x="14531" y="13621"/>
                  </a:cubicBezTo>
                  <a:lnTo>
                    <a:pt x="14634" y="13621"/>
                  </a:lnTo>
                  <a:cubicBezTo>
                    <a:pt x="14634" y="13707"/>
                    <a:pt x="14428" y="13879"/>
                    <a:pt x="14325" y="13844"/>
                  </a:cubicBezTo>
                  <a:cubicBezTo>
                    <a:pt x="14222" y="13810"/>
                    <a:pt x="14480" y="13844"/>
                    <a:pt x="14549" y="13844"/>
                  </a:cubicBezTo>
                  <a:cubicBezTo>
                    <a:pt x="14325" y="14050"/>
                    <a:pt x="14549" y="13844"/>
                    <a:pt x="14549" y="13844"/>
                  </a:cubicBezTo>
                  <a:cubicBezTo>
                    <a:pt x="14549" y="13844"/>
                    <a:pt x="14549" y="13844"/>
                    <a:pt x="14394" y="13999"/>
                  </a:cubicBezTo>
                  <a:cubicBezTo>
                    <a:pt x="14394" y="13999"/>
                    <a:pt x="14686" y="13810"/>
                    <a:pt x="14549" y="13999"/>
                  </a:cubicBezTo>
                  <a:lnTo>
                    <a:pt x="14549" y="13999"/>
                  </a:lnTo>
                  <a:cubicBezTo>
                    <a:pt x="14549" y="13999"/>
                    <a:pt x="14463" y="14102"/>
                    <a:pt x="14446" y="14153"/>
                  </a:cubicBezTo>
                  <a:cubicBezTo>
                    <a:pt x="14428" y="14205"/>
                    <a:pt x="14755" y="14153"/>
                    <a:pt x="14549" y="14153"/>
                  </a:cubicBezTo>
                  <a:cubicBezTo>
                    <a:pt x="14806" y="14342"/>
                    <a:pt x="14205" y="14239"/>
                    <a:pt x="14119" y="14360"/>
                  </a:cubicBezTo>
                  <a:cubicBezTo>
                    <a:pt x="14566" y="14360"/>
                    <a:pt x="13982" y="14360"/>
                    <a:pt x="13896" y="14497"/>
                  </a:cubicBezTo>
                  <a:cubicBezTo>
                    <a:pt x="13870" y="14437"/>
                    <a:pt x="13870" y="14368"/>
                    <a:pt x="13896" y="14308"/>
                  </a:cubicBezTo>
                  <a:cubicBezTo>
                    <a:pt x="13896" y="14445"/>
                    <a:pt x="13896" y="14531"/>
                    <a:pt x="13793" y="14634"/>
                  </a:cubicBezTo>
                  <a:cubicBezTo>
                    <a:pt x="13982" y="14634"/>
                    <a:pt x="14188" y="14342"/>
                    <a:pt x="14428" y="14411"/>
                  </a:cubicBezTo>
                  <a:cubicBezTo>
                    <a:pt x="14308" y="14257"/>
                    <a:pt x="14806" y="14411"/>
                    <a:pt x="14428" y="14617"/>
                  </a:cubicBezTo>
                  <a:cubicBezTo>
                    <a:pt x="14428" y="14617"/>
                    <a:pt x="14428" y="14617"/>
                    <a:pt x="14428" y="14617"/>
                  </a:cubicBezTo>
                  <a:cubicBezTo>
                    <a:pt x="14428" y="14617"/>
                    <a:pt x="14703" y="14463"/>
                    <a:pt x="14566" y="14617"/>
                  </a:cubicBezTo>
                  <a:cubicBezTo>
                    <a:pt x="14428" y="14772"/>
                    <a:pt x="14669" y="14617"/>
                    <a:pt x="14652" y="14617"/>
                  </a:cubicBezTo>
                  <a:cubicBezTo>
                    <a:pt x="14634" y="14617"/>
                    <a:pt x="14652" y="14789"/>
                    <a:pt x="14497" y="14772"/>
                  </a:cubicBezTo>
                  <a:cubicBezTo>
                    <a:pt x="14600" y="14772"/>
                    <a:pt x="14360" y="14995"/>
                    <a:pt x="14360" y="14875"/>
                  </a:cubicBezTo>
                  <a:cubicBezTo>
                    <a:pt x="14360" y="14755"/>
                    <a:pt x="14549" y="15047"/>
                    <a:pt x="14360" y="15012"/>
                  </a:cubicBezTo>
                  <a:cubicBezTo>
                    <a:pt x="14583" y="15115"/>
                    <a:pt x="13879" y="15407"/>
                    <a:pt x="13844" y="15287"/>
                  </a:cubicBezTo>
                  <a:cubicBezTo>
                    <a:pt x="13810" y="15167"/>
                    <a:pt x="13724" y="15287"/>
                    <a:pt x="13844" y="15287"/>
                  </a:cubicBezTo>
                  <a:cubicBezTo>
                    <a:pt x="13381" y="15682"/>
                    <a:pt x="13003" y="15734"/>
                    <a:pt x="12590" y="15407"/>
                  </a:cubicBezTo>
                  <a:cubicBezTo>
                    <a:pt x="12590" y="15407"/>
                    <a:pt x="12213" y="15407"/>
                    <a:pt x="12247" y="15253"/>
                  </a:cubicBezTo>
                  <a:cubicBezTo>
                    <a:pt x="11629" y="15631"/>
                    <a:pt x="11062" y="16026"/>
                    <a:pt x="10426" y="16369"/>
                  </a:cubicBezTo>
                  <a:cubicBezTo>
                    <a:pt x="10849" y="16193"/>
                    <a:pt x="11326" y="16193"/>
                    <a:pt x="11749" y="16369"/>
                  </a:cubicBezTo>
                  <a:cubicBezTo>
                    <a:pt x="11704" y="16429"/>
                    <a:pt x="11645" y="16477"/>
                    <a:pt x="11577" y="16507"/>
                  </a:cubicBezTo>
                  <a:cubicBezTo>
                    <a:pt x="11749" y="16507"/>
                    <a:pt x="11354" y="16885"/>
                    <a:pt x="11577" y="16936"/>
                  </a:cubicBezTo>
                  <a:cubicBezTo>
                    <a:pt x="11405" y="17022"/>
                    <a:pt x="11732" y="17262"/>
                    <a:pt x="11835" y="17125"/>
                  </a:cubicBezTo>
                  <a:cubicBezTo>
                    <a:pt x="11835" y="17125"/>
                    <a:pt x="11972" y="17262"/>
                    <a:pt x="11835" y="17245"/>
                  </a:cubicBezTo>
                  <a:cubicBezTo>
                    <a:pt x="12075" y="17245"/>
                    <a:pt x="11182" y="17520"/>
                    <a:pt x="11251" y="17365"/>
                  </a:cubicBezTo>
                  <a:cubicBezTo>
                    <a:pt x="11101" y="17505"/>
                    <a:pt x="10940" y="17631"/>
                    <a:pt x="10770" y="17743"/>
                  </a:cubicBezTo>
                  <a:lnTo>
                    <a:pt x="10770" y="17743"/>
                  </a:lnTo>
                  <a:cubicBezTo>
                    <a:pt x="10667" y="17743"/>
                    <a:pt x="10770" y="17589"/>
                    <a:pt x="10770" y="17640"/>
                  </a:cubicBezTo>
                  <a:cubicBezTo>
                    <a:pt x="10770" y="17417"/>
                    <a:pt x="11371" y="16988"/>
                    <a:pt x="11371" y="17280"/>
                  </a:cubicBezTo>
                  <a:cubicBezTo>
                    <a:pt x="11371" y="17177"/>
                    <a:pt x="11491" y="17280"/>
                    <a:pt x="11543" y="17194"/>
                  </a:cubicBezTo>
                  <a:cubicBezTo>
                    <a:pt x="11233" y="17073"/>
                    <a:pt x="11233" y="17194"/>
                    <a:pt x="11543" y="16970"/>
                  </a:cubicBezTo>
                  <a:lnTo>
                    <a:pt x="11543" y="16970"/>
                  </a:lnTo>
                  <a:lnTo>
                    <a:pt x="11543" y="16970"/>
                  </a:lnTo>
                  <a:cubicBezTo>
                    <a:pt x="11543" y="17073"/>
                    <a:pt x="11045" y="17245"/>
                    <a:pt x="11233" y="16970"/>
                  </a:cubicBezTo>
                  <a:cubicBezTo>
                    <a:pt x="11096" y="17125"/>
                    <a:pt x="11045" y="17073"/>
                    <a:pt x="10924" y="16970"/>
                  </a:cubicBezTo>
                  <a:cubicBezTo>
                    <a:pt x="10804" y="16867"/>
                    <a:pt x="10924" y="17091"/>
                    <a:pt x="10924" y="17159"/>
                  </a:cubicBezTo>
                  <a:cubicBezTo>
                    <a:pt x="10924" y="17228"/>
                    <a:pt x="10924" y="17331"/>
                    <a:pt x="10924" y="17159"/>
                  </a:cubicBezTo>
                  <a:cubicBezTo>
                    <a:pt x="10924" y="16988"/>
                    <a:pt x="10598" y="17314"/>
                    <a:pt x="10667" y="17159"/>
                  </a:cubicBezTo>
                  <a:cubicBezTo>
                    <a:pt x="10735" y="17005"/>
                    <a:pt x="10478" y="17245"/>
                    <a:pt x="10667" y="17159"/>
                  </a:cubicBezTo>
                  <a:cubicBezTo>
                    <a:pt x="10856" y="17073"/>
                    <a:pt x="10546" y="17297"/>
                    <a:pt x="10478" y="17331"/>
                  </a:cubicBezTo>
                  <a:lnTo>
                    <a:pt x="10478" y="17331"/>
                  </a:lnTo>
                  <a:cubicBezTo>
                    <a:pt x="10478" y="17331"/>
                    <a:pt x="10478" y="17417"/>
                    <a:pt x="10478" y="17331"/>
                  </a:cubicBezTo>
                  <a:cubicBezTo>
                    <a:pt x="10478" y="17245"/>
                    <a:pt x="10357" y="17469"/>
                    <a:pt x="10478" y="17331"/>
                  </a:cubicBezTo>
                  <a:cubicBezTo>
                    <a:pt x="10254" y="17331"/>
                    <a:pt x="9722" y="18345"/>
                    <a:pt x="10083" y="18001"/>
                  </a:cubicBezTo>
                  <a:cubicBezTo>
                    <a:pt x="10083" y="18138"/>
                    <a:pt x="9842" y="18327"/>
                    <a:pt x="9911" y="18087"/>
                  </a:cubicBezTo>
                  <a:cubicBezTo>
                    <a:pt x="9773" y="18259"/>
                    <a:pt x="9791" y="18241"/>
                    <a:pt x="9808" y="18087"/>
                  </a:cubicBezTo>
                  <a:cubicBezTo>
                    <a:pt x="9360" y="18252"/>
                    <a:pt x="8984" y="18568"/>
                    <a:pt x="8743" y="18980"/>
                  </a:cubicBezTo>
                  <a:lnTo>
                    <a:pt x="8743" y="18980"/>
                  </a:lnTo>
                  <a:lnTo>
                    <a:pt x="8743" y="18980"/>
                  </a:lnTo>
                  <a:cubicBezTo>
                    <a:pt x="8743" y="18980"/>
                    <a:pt x="8743" y="18825"/>
                    <a:pt x="8743" y="18740"/>
                  </a:cubicBezTo>
                  <a:cubicBezTo>
                    <a:pt x="8605" y="18980"/>
                    <a:pt x="8588" y="19289"/>
                    <a:pt x="8365" y="19495"/>
                  </a:cubicBezTo>
                  <a:lnTo>
                    <a:pt x="8365" y="19495"/>
                  </a:lnTo>
                  <a:lnTo>
                    <a:pt x="8262" y="19650"/>
                  </a:lnTo>
                  <a:cubicBezTo>
                    <a:pt x="8298" y="19536"/>
                    <a:pt x="8356" y="19431"/>
                    <a:pt x="8434" y="19341"/>
                  </a:cubicBezTo>
                  <a:cubicBezTo>
                    <a:pt x="8434" y="19341"/>
                    <a:pt x="8434" y="19255"/>
                    <a:pt x="8434" y="19221"/>
                  </a:cubicBezTo>
                  <a:lnTo>
                    <a:pt x="8434" y="19221"/>
                  </a:lnTo>
                  <a:cubicBezTo>
                    <a:pt x="8434" y="19014"/>
                    <a:pt x="8605" y="18860"/>
                    <a:pt x="8674" y="18671"/>
                  </a:cubicBezTo>
                  <a:cubicBezTo>
                    <a:pt x="8545" y="18838"/>
                    <a:pt x="8441" y="19023"/>
                    <a:pt x="8365" y="19221"/>
                  </a:cubicBezTo>
                  <a:cubicBezTo>
                    <a:pt x="8365" y="19117"/>
                    <a:pt x="8365" y="19032"/>
                    <a:pt x="8365" y="18929"/>
                  </a:cubicBezTo>
                  <a:cubicBezTo>
                    <a:pt x="8365" y="18825"/>
                    <a:pt x="8365" y="19581"/>
                    <a:pt x="8365" y="19324"/>
                  </a:cubicBezTo>
                  <a:cubicBezTo>
                    <a:pt x="8365" y="19324"/>
                    <a:pt x="8365" y="19598"/>
                    <a:pt x="8365" y="19530"/>
                  </a:cubicBezTo>
                  <a:cubicBezTo>
                    <a:pt x="8365" y="19461"/>
                    <a:pt x="8365" y="19616"/>
                    <a:pt x="8365" y="19650"/>
                  </a:cubicBezTo>
                  <a:cubicBezTo>
                    <a:pt x="8374" y="19605"/>
                    <a:pt x="8374" y="19558"/>
                    <a:pt x="8365" y="19513"/>
                  </a:cubicBezTo>
                  <a:cubicBezTo>
                    <a:pt x="8365" y="19650"/>
                    <a:pt x="8502" y="19719"/>
                    <a:pt x="8365" y="19856"/>
                  </a:cubicBezTo>
                  <a:lnTo>
                    <a:pt x="8365" y="19856"/>
                  </a:lnTo>
                  <a:cubicBezTo>
                    <a:pt x="8365" y="19993"/>
                    <a:pt x="8176" y="20148"/>
                    <a:pt x="8210" y="19976"/>
                  </a:cubicBezTo>
                  <a:cubicBezTo>
                    <a:pt x="8245" y="19805"/>
                    <a:pt x="8210" y="20079"/>
                    <a:pt x="8210" y="20097"/>
                  </a:cubicBezTo>
                  <a:cubicBezTo>
                    <a:pt x="8210" y="20114"/>
                    <a:pt x="8296" y="20097"/>
                    <a:pt x="8313" y="20234"/>
                  </a:cubicBezTo>
                  <a:cubicBezTo>
                    <a:pt x="8304" y="20200"/>
                    <a:pt x="8304" y="20165"/>
                    <a:pt x="8313" y="20131"/>
                  </a:cubicBezTo>
                  <a:cubicBezTo>
                    <a:pt x="8313" y="20234"/>
                    <a:pt x="8313" y="20285"/>
                    <a:pt x="8176" y="20354"/>
                  </a:cubicBezTo>
                  <a:cubicBezTo>
                    <a:pt x="8039" y="20423"/>
                    <a:pt x="8176" y="20354"/>
                    <a:pt x="8176" y="20251"/>
                  </a:cubicBezTo>
                  <a:cubicBezTo>
                    <a:pt x="8176" y="20148"/>
                    <a:pt x="8176" y="20251"/>
                    <a:pt x="8176" y="20251"/>
                  </a:cubicBezTo>
                  <a:cubicBezTo>
                    <a:pt x="8176" y="20251"/>
                    <a:pt x="8176" y="20474"/>
                    <a:pt x="8176" y="20389"/>
                  </a:cubicBezTo>
                  <a:lnTo>
                    <a:pt x="8176" y="20389"/>
                  </a:lnTo>
                  <a:lnTo>
                    <a:pt x="8176" y="20389"/>
                  </a:lnTo>
                  <a:lnTo>
                    <a:pt x="8176" y="20389"/>
                  </a:lnTo>
                  <a:cubicBezTo>
                    <a:pt x="6991" y="20389"/>
                    <a:pt x="6458" y="24992"/>
                    <a:pt x="6579" y="22982"/>
                  </a:cubicBezTo>
                  <a:cubicBezTo>
                    <a:pt x="6579" y="22982"/>
                    <a:pt x="6579" y="22982"/>
                    <a:pt x="6579" y="22982"/>
                  </a:cubicBezTo>
                  <a:cubicBezTo>
                    <a:pt x="6579" y="22982"/>
                    <a:pt x="6579" y="22982"/>
                    <a:pt x="6579" y="22982"/>
                  </a:cubicBezTo>
                  <a:lnTo>
                    <a:pt x="6579" y="22982"/>
                  </a:lnTo>
                  <a:cubicBezTo>
                    <a:pt x="6579" y="22879"/>
                    <a:pt x="6579" y="22707"/>
                    <a:pt x="6579" y="22604"/>
                  </a:cubicBezTo>
                  <a:cubicBezTo>
                    <a:pt x="6579" y="22501"/>
                    <a:pt x="6579" y="22604"/>
                    <a:pt x="6579" y="22707"/>
                  </a:cubicBezTo>
                  <a:cubicBezTo>
                    <a:pt x="6579" y="22810"/>
                    <a:pt x="6853" y="21780"/>
                    <a:pt x="6579" y="21745"/>
                  </a:cubicBezTo>
                  <a:cubicBezTo>
                    <a:pt x="6304" y="21711"/>
                    <a:pt x="6476" y="21849"/>
                    <a:pt x="6579" y="21745"/>
                  </a:cubicBezTo>
                  <a:lnTo>
                    <a:pt x="6579" y="21745"/>
                  </a:lnTo>
                  <a:lnTo>
                    <a:pt x="6579" y="21745"/>
                  </a:lnTo>
                  <a:cubicBezTo>
                    <a:pt x="6579" y="21745"/>
                    <a:pt x="6579" y="21574"/>
                    <a:pt x="6579" y="21642"/>
                  </a:cubicBezTo>
                  <a:cubicBezTo>
                    <a:pt x="6587" y="21603"/>
                    <a:pt x="6587" y="21562"/>
                    <a:pt x="6579" y="21522"/>
                  </a:cubicBezTo>
                  <a:lnTo>
                    <a:pt x="6579" y="21522"/>
                  </a:lnTo>
                  <a:cubicBezTo>
                    <a:pt x="6579" y="21522"/>
                    <a:pt x="6579" y="21436"/>
                    <a:pt x="6579" y="21385"/>
                  </a:cubicBezTo>
                  <a:lnTo>
                    <a:pt x="6579" y="21385"/>
                  </a:lnTo>
                  <a:cubicBezTo>
                    <a:pt x="6579" y="21385"/>
                    <a:pt x="6579" y="21385"/>
                    <a:pt x="6579" y="21385"/>
                  </a:cubicBezTo>
                  <a:cubicBezTo>
                    <a:pt x="6579" y="21385"/>
                    <a:pt x="6579" y="21385"/>
                    <a:pt x="6579" y="21385"/>
                  </a:cubicBezTo>
                  <a:cubicBezTo>
                    <a:pt x="6579" y="21385"/>
                    <a:pt x="6579" y="21282"/>
                    <a:pt x="6579" y="21230"/>
                  </a:cubicBezTo>
                  <a:lnTo>
                    <a:pt x="6579" y="21333"/>
                  </a:lnTo>
                  <a:cubicBezTo>
                    <a:pt x="6579" y="21230"/>
                    <a:pt x="6390" y="21333"/>
                    <a:pt x="6373" y="21453"/>
                  </a:cubicBezTo>
                  <a:lnTo>
                    <a:pt x="6373" y="21453"/>
                  </a:lnTo>
                  <a:cubicBezTo>
                    <a:pt x="6373" y="21642"/>
                    <a:pt x="6373" y="21763"/>
                    <a:pt x="6373" y="21849"/>
                  </a:cubicBezTo>
                  <a:cubicBezTo>
                    <a:pt x="6373" y="21934"/>
                    <a:pt x="6373" y="21471"/>
                    <a:pt x="6373" y="21763"/>
                  </a:cubicBezTo>
                  <a:lnTo>
                    <a:pt x="6373" y="21660"/>
                  </a:lnTo>
                  <a:cubicBezTo>
                    <a:pt x="6373" y="21539"/>
                    <a:pt x="6373" y="21471"/>
                    <a:pt x="6373" y="21350"/>
                  </a:cubicBezTo>
                  <a:cubicBezTo>
                    <a:pt x="6373" y="21230"/>
                    <a:pt x="6373" y="21350"/>
                    <a:pt x="6373" y="21350"/>
                  </a:cubicBezTo>
                  <a:cubicBezTo>
                    <a:pt x="6373" y="21591"/>
                    <a:pt x="6373" y="21076"/>
                    <a:pt x="6184" y="21350"/>
                  </a:cubicBezTo>
                  <a:cubicBezTo>
                    <a:pt x="6184" y="21350"/>
                    <a:pt x="6184" y="21196"/>
                    <a:pt x="6184" y="21127"/>
                  </a:cubicBezTo>
                  <a:cubicBezTo>
                    <a:pt x="6184" y="21058"/>
                    <a:pt x="6184" y="21247"/>
                    <a:pt x="6184" y="21127"/>
                  </a:cubicBezTo>
                  <a:cubicBezTo>
                    <a:pt x="6193" y="21213"/>
                    <a:pt x="6193" y="21299"/>
                    <a:pt x="6184" y="21385"/>
                  </a:cubicBezTo>
                  <a:lnTo>
                    <a:pt x="6184" y="21385"/>
                  </a:lnTo>
                  <a:lnTo>
                    <a:pt x="6184" y="21505"/>
                  </a:lnTo>
                  <a:lnTo>
                    <a:pt x="6184" y="21505"/>
                  </a:lnTo>
                  <a:cubicBezTo>
                    <a:pt x="6184" y="21591"/>
                    <a:pt x="6184" y="21505"/>
                    <a:pt x="6184" y="21505"/>
                  </a:cubicBezTo>
                  <a:lnTo>
                    <a:pt x="6184" y="21505"/>
                  </a:lnTo>
                  <a:cubicBezTo>
                    <a:pt x="6184" y="21505"/>
                    <a:pt x="6184" y="21505"/>
                    <a:pt x="6184" y="21505"/>
                  </a:cubicBezTo>
                  <a:lnTo>
                    <a:pt x="6184" y="21505"/>
                  </a:lnTo>
                  <a:cubicBezTo>
                    <a:pt x="6184" y="21505"/>
                    <a:pt x="6184" y="21608"/>
                    <a:pt x="6184" y="21608"/>
                  </a:cubicBezTo>
                  <a:lnTo>
                    <a:pt x="6184" y="21608"/>
                  </a:lnTo>
                  <a:cubicBezTo>
                    <a:pt x="6085" y="21918"/>
                    <a:pt x="6005" y="22233"/>
                    <a:pt x="5943" y="22553"/>
                  </a:cubicBezTo>
                  <a:cubicBezTo>
                    <a:pt x="5943" y="22553"/>
                    <a:pt x="5943" y="22433"/>
                    <a:pt x="5943" y="22398"/>
                  </a:cubicBezTo>
                  <a:cubicBezTo>
                    <a:pt x="5943" y="22364"/>
                    <a:pt x="5840" y="22862"/>
                    <a:pt x="5943" y="22621"/>
                  </a:cubicBezTo>
                  <a:cubicBezTo>
                    <a:pt x="5838" y="23115"/>
                    <a:pt x="5758" y="23614"/>
                    <a:pt x="5703" y="24116"/>
                  </a:cubicBezTo>
                  <a:cubicBezTo>
                    <a:pt x="5668" y="24579"/>
                    <a:pt x="5668" y="25044"/>
                    <a:pt x="5703" y="25507"/>
                  </a:cubicBezTo>
                  <a:cubicBezTo>
                    <a:pt x="5703" y="25507"/>
                    <a:pt x="5703" y="25507"/>
                    <a:pt x="5703" y="25507"/>
                  </a:cubicBezTo>
                  <a:cubicBezTo>
                    <a:pt x="5709" y="25479"/>
                    <a:pt x="5709" y="25449"/>
                    <a:pt x="5703" y="25421"/>
                  </a:cubicBezTo>
                  <a:lnTo>
                    <a:pt x="5703" y="25421"/>
                  </a:lnTo>
                  <a:cubicBezTo>
                    <a:pt x="5703" y="25421"/>
                    <a:pt x="5703" y="25421"/>
                    <a:pt x="5703" y="25421"/>
                  </a:cubicBezTo>
                  <a:lnTo>
                    <a:pt x="5703" y="25421"/>
                  </a:lnTo>
                  <a:cubicBezTo>
                    <a:pt x="5703" y="25421"/>
                    <a:pt x="5703" y="25559"/>
                    <a:pt x="5703" y="25627"/>
                  </a:cubicBezTo>
                  <a:lnTo>
                    <a:pt x="5703" y="25627"/>
                  </a:lnTo>
                  <a:lnTo>
                    <a:pt x="5703" y="25627"/>
                  </a:lnTo>
                  <a:cubicBezTo>
                    <a:pt x="5711" y="25553"/>
                    <a:pt x="5711" y="25478"/>
                    <a:pt x="5703" y="25404"/>
                  </a:cubicBezTo>
                  <a:lnTo>
                    <a:pt x="5703" y="25404"/>
                  </a:lnTo>
                  <a:cubicBezTo>
                    <a:pt x="5857" y="25249"/>
                    <a:pt x="5703" y="24511"/>
                    <a:pt x="5995" y="24665"/>
                  </a:cubicBezTo>
                  <a:cubicBezTo>
                    <a:pt x="5995" y="24665"/>
                    <a:pt x="5995" y="24562"/>
                    <a:pt x="5995" y="24665"/>
                  </a:cubicBezTo>
                  <a:cubicBezTo>
                    <a:pt x="5995" y="24769"/>
                    <a:pt x="5995" y="24665"/>
                    <a:pt x="5995" y="24665"/>
                  </a:cubicBezTo>
                  <a:cubicBezTo>
                    <a:pt x="5995" y="24665"/>
                    <a:pt x="5995" y="24820"/>
                    <a:pt x="5995" y="24665"/>
                  </a:cubicBezTo>
                  <a:cubicBezTo>
                    <a:pt x="6098" y="24957"/>
                    <a:pt x="5806" y="25284"/>
                    <a:pt x="5857" y="25593"/>
                  </a:cubicBezTo>
                  <a:cubicBezTo>
                    <a:pt x="5857" y="25593"/>
                    <a:pt x="5857" y="25868"/>
                    <a:pt x="5857" y="25919"/>
                  </a:cubicBezTo>
                  <a:cubicBezTo>
                    <a:pt x="5814" y="26294"/>
                    <a:pt x="5476" y="26563"/>
                    <a:pt x="5101" y="26521"/>
                  </a:cubicBezTo>
                  <a:cubicBezTo>
                    <a:pt x="4727" y="26478"/>
                    <a:pt x="4457" y="26140"/>
                    <a:pt x="4500" y="25765"/>
                  </a:cubicBezTo>
                  <a:cubicBezTo>
                    <a:pt x="4500" y="25954"/>
                    <a:pt x="4500" y="26349"/>
                    <a:pt x="4397" y="26658"/>
                  </a:cubicBezTo>
                  <a:lnTo>
                    <a:pt x="4397" y="26658"/>
                  </a:lnTo>
                  <a:cubicBezTo>
                    <a:pt x="4380" y="26726"/>
                    <a:pt x="4380" y="26796"/>
                    <a:pt x="4397" y="26864"/>
                  </a:cubicBezTo>
                  <a:lnTo>
                    <a:pt x="4397" y="26864"/>
                  </a:lnTo>
                  <a:cubicBezTo>
                    <a:pt x="4397" y="26864"/>
                    <a:pt x="4397" y="26864"/>
                    <a:pt x="4397" y="26950"/>
                  </a:cubicBezTo>
                  <a:cubicBezTo>
                    <a:pt x="4397" y="27036"/>
                    <a:pt x="4603" y="27139"/>
                    <a:pt x="4586" y="26950"/>
                  </a:cubicBezTo>
                  <a:cubicBezTo>
                    <a:pt x="4586" y="27053"/>
                    <a:pt x="4586" y="27105"/>
                    <a:pt x="4724" y="27190"/>
                  </a:cubicBezTo>
                  <a:lnTo>
                    <a:pt x="4724" y="27190"/>
                  </a:lnTo>
                  <a:cubicBezTo>
                    <a:pt x="4738" y="27241"/>
                    <a:pt x="4738" y="27295"/>
                    <a:pt x="4724" y="27345"/>
                  </a:cubicBezTo>
                  <a:cubicBezTo>
                    <a:pt x="4724" y="27208"/>
                    <a:pt x="4724" y="27345"/>
                    <a:pt x="4724" y="27448"/>
                  </a:cubicBezTo>
                  <a:lnTo>
                    <a:pt x="4724" y="27448"/>
                  </a:lnTo>
                  <a:cubicBezTo>
                    <a:pt x="4767" y="27681"/>
                    <a:pt x="4767" y="27920"/>
                    <a:pt x="4724" y="28152"/>
                  </a:cubicBezTo>
                  <a:lnTo>
                    <a:pt x="4724" y="28152"/>
                  </a:lnTo>
                  <a:cubicBezTo>
                    <a:pt x="4732" y="28307"/>
                    <a:pt x="4732" y="28462"/>
                    <a:pt x="4724" y="28616"/>
                  </a:cubicBezTo>
                  <a:cubicBezTo>
                    <a:pt x="4724" y="28616"/>
                    <a:pt x="4724" y="28513"/>
                    <a:pt x="4724" y="28444"/>
                  </a:cubicBezTo>
                  <a:cubicBezTo>
                    <a:pt x="4715" y="28564"/>
                    <a:pt x="4715" y="28685"/>
                    <a:pt x="4724" y="28805"/>
                  </a:cubicBezTo>
                  <a:cubicBezTo>
                    <a:pt x="4734" y="28777"/>
                    <a:pt x="4734" y="28747"/>
                    <a:pt x="4724" y="28719"/>
                  </a:cubicBezTo>
                  <a:cubicBezTo>
                    <a:pt x="4697" y="28861"/>
                    <a:pt x="4697" y="29007"/>
                    <a:pt x="4724" y="29149"/>
                  </a:cubicBezTo>
                  <a:cubicBezTo>
                    <a:pt x="4724" y="29063"/>
                    <a:pt x="4947" y="30042"/>
                    <a:pt x="4930" y="29733"/>
                  </a:cubicBezTo>
                  <a:cubicBezTo>
                    <a:pt x="5136" y="30265"/>
                    <a:pt x="5170" y="29131"/>
                    <a:pt x="5634" y="30471"/>
                  </a:cubicBezTo>
                  <a:cubicBezTo>
                    <a:pt x="5634" y="30368"/>
                    <a:pt x="5634" y="29337"/>
                    <a:pt x="5960" y="29595"/>
                  </a:cubicBezTo>
                  <a:cubicBezTo>
                    <a:pt x="5960" y="29818"/>
                    <a:pt x="5960" y="29595"/>
                    <a:pt x="5960" y="29475"/>
                  </a:cubicBezTo>
                  <a:cubicBezTo>
                    <a:pt x="5960" y="29355"/>
                    <a:pt x="6252" y="29303"/>
                    <a:pt x="6355" y="29234"/>
                  </a:cubicBezTo>
                  <a:cubicBezTo>
                    <a:pt x="6476" y="29458"/>
                    <a:pt x="6355" y="29836"/>
                    <a:pt x="6355" y="30145"/>
                  </a:cubicBezTo>
                  <a:cubicBezTo>
                    <a:pt x="6630" y="30901"/>
                    <a:pt x="6355" y="29681"/>
                    <a:pt x="6665" y="29664"/>
                  </a:cubicBezTo>
                  <a:cubicBezTo>
                    <a:pt x="6974" y="29647"/>
                    <a:pt x="6527" y="29544"/>
                    <a:pt x="6665" y="29441"/>
                  </a:cubicBezTo>
                  <a:cubicBezTo>
                    <a:pt x="6802" y="29337"/>
                    <a:pt x="6665" y="29664"/>
                    <a:pt x="6785" y="29733"/>
                  </a:cubicBezTo>
                  <a:cubicBezTo>
                    <a:pt x="6933" y="29741"/>
                    <a:pt x="7051" y="29859"/>
                    <a:pt x="7060" y="30007"/>
                  </a:cubicBezTo>
                  <a:cubicBezTo>
                    <a:pt x="6939" y="30213"/>
                    <a:pt x="7352" y="30145"/>
                    <a:pt x="7472" y="30196"/>
                  </a:cubicBezTo>
                  <a:cubicBezTo>
                    <a:pt x="7558" y="30660"/>
                    <a:pt x="8090" y="30042"/>
                    <a:pt x="8262" y="30402"/>
                  </a:cubicBezTo>
                  <a:cubicBezTo>
                    <a:pt x="8004" y="30402"/>
                    <a:pt x="8073" y="30402"/>
                    <a:pt x="8262" y="30643"/>
                  </a:cubicBezTo>
                  <a:cubicBezTo>
                    <a:pt x="8262" y="30471"/>
                    <a:pt x="8863" y="31107"/>
                    <a:pt x="8434" y="31107"/>
                  </a:cubicBezTo>
                  <a:cubicBezTo>
                    <a:pt x="8885" y="31152"/>
                    <a:pt x="9220" y="31547"/>
                    <a:pt x="9189" y="32000"/>
                  </a:cubicBezTo>
                  <a:cubicBezTo>
                    <a:pt x="9189" y="31673"/>
                    <a:pt x="9550" y="32154"/>
                    <a:pt x="9550" y="32309"/>
                  </a:cubicBezTo>
                  <a:cubicBezTo>
                    <a:pt x="9464" y="32103"/>
                    <a:pt x="10461" y="32309"/>
                    <a:pt x="10220" y="32532"/>
                  </a:cubicBezTo>
                  <a:cubicBezTo>
                    <a:pt x="10443" y="32361"/>
                    <a:pt x="10976" y="33030"/>
                    <a:pt x="10856" y="33151"/>
                  </a:cubicBezTo>
                  <a:cubicBezTo>
                    <a:pt x="11010" y="32893"/>
                    <a:pt x="11130" y="33735"/>
                    <a:pt x="11302" y="33924"/>
                  </a:cubicBezTo>
                  <a:cubicBezTo>
                    <a:pt x="11474" y="34113"/>
                    <a:pt x="10976" y="34559"/>
                    <a:pt x="11045" y="34868"/>
                  </a:cubicBezTo>
                  <a:cubicBezTo>
                    <a:pt x="11045" y="34611"/>
                    <a:pt x="11233" y="34628"/>
                    <a:pt x="11148" y="34868"/>
                  </a:cubicBezTo>
                  <a:cubicBezTo>
                    <a:pt x="11148" y="34868"/>
                    <a:pt x="11268" y="34559"/>
                    <a:pt x="11337" y="34731"/>
                  </a:cubicBezTo>
                  <a:cubicBezTo>
                    <a:pt x="11405" y="34903"/>
                    <a:pt x="11337" y="34731"/>
                    <a:pt x="11337" y="34731"/>
                  </a:cubicBezTo>
                  <a:cubicBezTo>
                    <a:pt x="11337" y="34216"/>
                    <a:pt x="12401" y="35143"/>
                    <a:pt x="11337" y="35092"/>
                  </a:cubicBezTo>
                  <a:cubicBezTo>
                    <a:pt x="11749" y="35092"/>
                    <a:pt x="11543" y="35315"/>
                    <a:pt x="11680" y="35624"/>
                  </a:cubicBezTo>
                  <a:cubicBezTo>
                    <a:pt x="11543" y="35074"/>
                    <a:pt x="12075" y="34576"/>
                    <a:pt x="12419" y="35074"/>
                  </a:cubicBezTo>
                  <a:cubicBezTo>
                    <a:pt x="12419" y="35074"/>
                    <a:pt x="12608" y="35177"/>
                    <a:pt x="12642" y="35263"/>
                  </a:cubicBezTo>
                  <a:cubicBezTo>
                    <a:pt x="12676" y="35349"/>
                    <a:pt x="12986" y="35366"/>
                    <a:pt x="12882" y="35469"/>
                  </a:cubicBezTo>
                  <a:cubicBezTo>
                    <a:pt x="12779" y="35573"/>
                    <a:pt x="12882" y="35727"/>
                    <a:pt x="12968" y="35830"/>
                  </a:cubicBezTo>
                  <a:cubicBezTo>
                    <a:pt x="13054" y="35933"/>
                    <a:pt x="12968" y="35487"/>
                    <a:pt x="12968" y="35710"/>
                  </a:cubicBezTo>
                  <a:cubicBezTo>
                    <a:pt x="12968" y="35555"/>
                    <a:pt x="13106" y="35607"/>
                    <a:pt x="12968" y="35504"/>
                  </a:cubicBezTo>
                  <a:cubicBezTo>
                    <a:pt x="12831" y="35401"/>
                    <a:pt x="13363" y="35761"/>
                    <a:pt x="13363" y="35641"/>
                  </a:cubicBezTo>
                  <a:cubicBezTo>
                    <a:pt x="13363" y="35521"/>
                    <a:pt x="13363" y="35641"/>
                    <a:pt x="13466" y="35744"/>
                  </a:cubicBezTo>
                  <a:cubicBezTo>
                    <a:pt x="13569" y="35847"/>
                    <a:pt x="13466" y="35744"/>
                    <a:pt x="13466" y="35744"/>
                  </a:cubicBezTo>
                  <a:lnTo>
                    <a:pt x="13466" y="35744"/>
                  </a:lnTo>
                  <a:lnTo>
                    <a:pt x="13466" y="35744"/>
                  </a:lnTo>
                  <a:cubicBezTo>
                    <a:pt x="14841" y="36157"/>
                    <a:pt x="16438" y="37462"/>
                    <a:pt x="14926" y="38922"/>
                  </a:cubicBezTo>
                  <a:cubicBezTo>
                    <a:pt x="14926" y="38836"/>
                    <a:pt x="14926" y="38682"/>
                    <a:pt x="14926" y="38819"/>
                  </a:cubicBezTo>
                  <a:cubicBezTo>
                    <a:pt x="14926" y="38956"/>
                    <a:pt x="14823" y="38819"/>
                    <a:pt x="14806" y="38819"/>
                  </a:cubicBezTo>
                  <a:lnTo>
                    <a:pt x="14806" y="38819"/>
                  </a:lnTo>
                  <a:cubicBezTo>
                    <a:pt x="15133" y="39386"/>
                    <a:pt x="15717" y="41619"/>
                    <a:pt x="14806" y="41447"/>
                  </a:cubicBezTo>
                  <a:cubicBezTo>
                    <a:pt x="14806" y="41447"/>
                    <a:pt x="14514" y="41447"/>
                    <a:pt x="14806" y="41447"/>
                  </a:cubicBezTo>
                  <a:cubicBezTo>
                    <a:pt x="15098" y="41447"/>
                    <a:pt x="14652" y="41447"/>
                    <a:pt x="14600" y="41447"/>
                  </a:cubicBezTo>
                  <a:cubicBezTo>
                    <a:pt x="14549" y="41447"/>
                    <a:pt x="14600" y="41533"/>
                    <a:pt x="14600" y="41687"/>
                  </a:cubicBezTo>
                  <a:cubicBezTo>
                    <a:pt x="14360" y="41498"/>
                    <a:pt x="14257" y="41997"/>
                    <a:pt x="14154" y="41962"/>
                  </a:cubicBezTo>
                  <a:cubicBezTo>
                    <a:pt x="14050" y="41928"/>
                    <a:pt x="14154" y="41962"/>
                    <a:pt x="14154" y="41962"/>
                  </a:cubicBezTo>
                  <a:cubicBezTo>
                    <a:pt x="14154" y="41962"/>
                    <a:pt x="14291" y="42048"/>
                    <a:pt x="14154" y="42048"/>
                  </a:cubicBezTo>
                  <a:cubicBezTo>
                    <a:pt x="14016" y="42048"/>
                    <a:pt x="14154" y="42048"/>
                    <a:pt x="14154" y="42048"/>
                  </a:cubicBezTo>
                  <a:cubicBezTo>
                    <a:pt x="14154" y="42048"/>
                    <a:pt x="14446" y="42426"/>
                    <a:pt x="14411" y="42529"/>
                  </a:cubicBezTo>
                  <a:cubicBezTo>
                    <a:pt x="14377" y="42632"/>
                    <a:pt x="14411" y="43697"/>
                    <a:pt x="14411" y="43336"/>
                  </a:cubicBezTo>
                  <a:cubicBezTo>
                    <a:pt x="14411" y="43336"/>
                    <a:pt x="14411" y="43336"/>
                    <a:pt x="14411" y="43250"/>
                  </a:cubicBezTo>
                  <a:cubicBezTo>
                    <a:pt x="14411" y="43165"/>
                    <a:pt x="14411" y="43113"/>
                    <a:pt x="14411" y="43113"/>
                  </a:cubicBezTo>
                  <a:cubicBezTo>
                    <a:pt x="14338" y="43042"/>
                    <a:pt x="14257" y="42979"/>
                    <a:pt x="14171" y="42924"/>
                  </a:cubicBezTo>
                  <a:cubicBezTo>
                    <a:pt x="14231" y="42979"/>
                    <a:pt x="14283" y="43043"/>
                    <a:pt x="14325" y="43113"/>
                  </a:cubicBezTo>
                  <a:cubicBezTo>
                    <a:pt x="14325" y="43113"/>
                    <a:pt x="14446" y="43354"/>
                    <a:pt x="14325" y="43250"/>
                  </a:cubicBezTo>
                  <a:cubicBezTo>
                    <a:pt x="14858" y="44041"/>
                    <a:pt x="14325" y="44264"/>
                    <a:pt x="13844" y="43817"/>
                  </a:cubicBezTo>
                  <a:lnTo>
                    <a:pt x="14549" y="44418"/>
                  </a:lnTo>
                  <a:lnTo>
                    <a:pt x="14549" y="44418"/>
                  </a:lnTo>
                  <a:cubicBezTo>
                    <a:pt x="14637" y="44494"/>
                    <a:pt x="14707" y="44587"/>
                    <a:pt x="14755" y="44693"/>
                  </a:cubicBezTo>
                  <a:lnTo>
                    <a:pt x="14755" y="44693"/>
                  </a:lnTo>
                  <a:cubicBezTo>
                    <a:pt x="14755" y="44693"/>
                    <a:pt x="14944" y="44951"/>
                    <a:pt x="14755" y="44882"/>
                  </a:cubicBezTo>
                  <a:cubicBezTo>
                    <a:pt x="14566" y="44814"/>
                    <a:pt x="14394" y="44882"/>
                    <a:pt x="14291" y="44882"/>
                  </a:cubicBezTo>
                  <a:cubicBezTo>
                    <a:pt x="14188" y="44882"/>
                    <a:pt x="14480" y="45037"/>
                    <a:pt x="14566" y="45123"/>
                  </a:cubicBezTo>
                  <a:lnTo>
                    <a:pt x="14566" y="45123"/>
                  </a:lnTo>
                  <a:cubicBezTo>
                    <a:pt x="14909" y="45466"/>
                    <a:pt x="14995" y="45569"/>
                    <a:pt x="14463" y="45294"/>
                  </a:cubicBezTo>
                  <a:cubicBezTo>
                    <a:pt x="14621" y="45462"/>
                    <a:pt x="14807" y="45602"/>
                    <a:pt x="15012" y="45707"/>
                  </a:cubicBezTo>
                  <a:cubicBezTo>
                    <a:pt x="15012" y="45707"/>
                    <a:pt x="15012" y="45707"/>
                    <a:pt x="15012" y="45707"/>
                  </a:cubicBezTo>
                  <a:lnTo>
                    <a:pt x="15012" y="45707"/>
                  </a:lnTo>
                  <a:cubicBezTo>
                    <a:pt x="15304" y="45930"/>
                    <a:pt x="15133" y="45947"/>
                    <a:pt x="15717" y="46359"/>
                  </a:cubicBezTo>
                  <a:lnTo>
                    <a:pt x="15717" y="46359"/>
                  </a:lnTo>
                  <a:lnTo>
                    <a:pt x="15717" y="46359"/>
                  </a:lnTo>
                  <a:lnTo>
                    <a:pt x="15717" y="46359"/>
                  </a:lnTo>
                  <a:cubicBezTo>
                    <a:pt x="15991" y="46669"/>
                    <a:pt x="16438" y="46737"/>
                    <a:pt x="16730" y="47012"/>
                  </a:cubicBezTo>
                  <a:lnTo>
                    <a:pt x="16730" y="47012"/>
                  </a:lnTo>
                  <a:lnTo>
                    <a:pt x="16730" y="47012"/>
                  </a:lnTo>
                  <a:lnTo>
                    <a:pt x="16730" y="47012"/>
                  </a:lnTo>
                  <a:lnTo>
                    <a:pt x="16885" y="47132"/>
                  </a:lnTo>
                  <a:lnTo>
                    <a:pt x="16885" y="47132"/>
                  </a:lnTo>
                  <a:lnTo>
                    <a:pt x="17091" y="47270"/>
                  </a:lnTo>
                  <a:cubicBezTo>
                    <a:pt x="17091" y="47270"/>
                    <a:pt x="17091" y="47270"/>
                    <a:pt x="16988" y="47270"/>
                  </a:cubicBezTo>
                  <a:cubicBezTo>
                    <a:pt x="17278" y="47454"/>
                    <a:pt x="17582" y="47614"/>
                    <a:pt x="17898" y="47751"/>
                  </a:cubicBezTo>
                  <a:lnTo>
                    <a:pt x="17898" y="47751"/>
                  </a:lnTo>
                  <a:cubicBezTo>
                    <a:pt x="17795" y="47751"/>
                    <a:pt x="17898" y="47751"/>
                    <a:pt x="17898" y="47751"/>
                  </a:cubicBezTo>
                  <a:lnTo>
                    <a:pt x="17898" y="47751"/>
                  </a:lnTo>
                  <a:cubicBezTo>
                    <a:pt x="18059" y="47847"/>
                    <a:pt x="18225" y="47933"/>
                    <a:pt x="18396" y="48008"/>
                  </a:cubicBezTo>
                  <a:lnTo>
                    <a:pt x="18173" y="48008"/>
                  </a:lnTo>
                  <a:close/>
                  <a:moveTo>
                    <a:pt x="20560" y="10117"/>
                  </a:moveTo>
                  <a:cubicBezTo>
                    <a:pt x="20286" y="10409"/>
                    <a:pt x="20560" y="10014"/>
                    <a:pt x="20560" y="9980"/>
                  </a:cubicBezTo>
                  <a:cubicBezTo>
                    <a:pt x="20560" y="9945"/>
                    <a:pt x="20423" y="10134"/>
                    <a:pt x="20286" y="10323"/>
                  </a:cubicBezTo>
                  <a:cubicBezTo>
                    <a:pt x="19822" y="10083"/>
                    <a:pt x="19581" y="10976"/>
                    <a:pt x="19289" y="10907"/>
                  </a:cubicBezTo>
                  <a:cubicBezTo>
                    <a:pt x="19530" y="11165"/>
                    <a:pt x="19100" y="10907"/>
                    <a:pt x="19152" y="11165"/>
                  </a:cubicBezTo>
                  <a:cubicBezTo>
                    <a:pt x="19014" y="10959"/>
                    <a:pt x="19152" y="11165"/>
                    <a:pt x="19152" y="11165"/>
                  </a:cubicBezTo>
                  <a:cubicBezTo>
                    <a:pt x="19152" y="10907"/>
                    <a:pt x="19152" y="11457"/>
                    <a:pt x="18997" y="11165"/>
                  </a:cubicBezTo>
                  <a:cubicBezTo>
                    <a:pt x="18688" y="11165"/>
                    <a:pt x="18997" y="11577"/>
                    <a:pt x="18585" y="11577"/>
                  </a:cubicBezTo>
                  <a:cubicBezTo>
                    <a:pt x="18585" y="11577"/>
                    <a:pt x="18327" y="12024"/>
                    <a:pt x="18259" y="11903"/>
                  </a:cubicBezTo>
                  <a:cubicBezTo>
                    <a:pt x="18190" y="11783"/>
                    <a:pt x="17846" y="12453"/>
                    <a:pt x="18001" y="12109"/>
                  </a:cubicBezTo>
                  <a:cubicBezTo>
                    <a:pt x="17537" y="12401"/>
                    <a:pt x="18104" y="11938"/>
                    <a:pt x="17743" y="12006"/>
                  </a:cubicBezTo>
                  <a:cubicBezTo>
                    <a:pt x="18173" y="11680"/>
                    <a:pt x="18070" y="11749"/>
                    <a:pt x="17503" y="11783"/>
                  </a:cubicBezTo>
                  <a:cubicBezTo>
                    <a:pt x="17588" y="11313"/>
                    <a:pt x="17763" y="10864"/>
                    <a:pt x="18018" y="10461"/>
                  </a:cubicBezTo>
                  <a:cubicBezTo>
                    <a:pt x="18018" y="10220"/>
                    <a:pt x="18224" y="10461"/>
                    <a:pt x="18448" y="10134"/>
                  </a:cubicBezTo>
                  <a:cubicBezTo>
                    <a:pt x="17984" y="10306"/>
                    <a:pt x="17984" y="10134"/>
                    <a:pt x="18448" y="9739"/>
                  </a:cubicBezTo>
                  <a:cubicBezTo>
                    <a:pt x="18345" y="9739"/>
                    <a:pt x="18207" y="9739"/>
                    <a:pt x="18345" y="9739"/>
                  </a:cubicBezTo>
                  <a:cubicBezTo>
                    <a:pt x="18482" y="9739"/>
                    <a:pt x="18345" y="9636"/>
                    <a:pt x="18963" y="9344"/>
                  </a:cubicBezTo>
                  <a:cubicBezTo>
                    <a:pt x="17709" y="9808"/>
                    <a:pt x="19392" y="8966"/>
                    <a:pt x="18774" y="9104"/>
                  </a:cubicBezTo>
                  <a:cubicBezTo>
                    <a:pt x="19272" y="8657"/>
                    <a:pt x="19152" y="9293"/>
                    <a:pt x="19324" y="9104"/>
                  </a:cubicBezTo>
                  <a:cubicBezTo>
                    <a:pt x="18997" y="9104"/>
                    <a:pt x="19667" y="8863"/>
                    <a:pt x="19324" y="8966"/>
                  </a:cubicBezTo>
                  <a:cubicBezTo>
                    <a:pt x="19444" y="8846"/>
                    <a:pt x="19169" y="8966"/>
                    <a:pt x="18946" y="8966"/>
                  </a:cubicBezTo>
                  <a:cubicBezTo>
                    <a:pt x="19427" y="8537"/>
                    <a:pt x="19238" y="9086"/>
                    <a:pt x="19598" y="8674"/>
                  </a:cubicBezTo>
                  <a:cubicBezTo>
                    <a:pt x="19289" y="8846"/>
                    <a:pt x="19341" y="8554"/>
                    <a:pt x="19598" y="8674"/>
                  </a:cubicBezTo>
                  <a:cubicBezTo>
                    <a:pt x="19808" y="8533"/>
                    <a:pt x="20004" y="8372"/>
                    <a:pt x="20182" y="8193"/>
                  </a:cubicBezTo>
                  <a:cubicBezTo>
                    <a:pt x="19994" y="8193"/>
                    <a:pt x="20182" y="7266"/>
                    <a:pt x="20354" y="7953"/>
                  </a:cubicBezTo>
                  <a:cubicBezTo>
                    <a:pt x="20354" y="7953"/>
                    <a:pt x="20509" y="7712"/>
                    <a:pt x="20560" y="7764"/>
                  </a:cubicBezTo>
                  <a:cubicBezTo>
                    <a:pt x="20612" y="7815"/>
                    <a:pt x="21144" y="6991"/>
                    <a:pt x="20681" y="7386"/>
                  </a:cubicBezTo>
                  <a:cubicBezTo>
                    <a:pt x="20217" y="7781"/>
                    <a:pt x="21162" y="6922"/>
                    <a:pt x="21746" y="6338"/>
                  </a:cubicBezTo>
                  <a:cubicBezTo>
                    <a:pt x="23154" y="5256"/>
                    <a:pt x="21746" y="5497"/>
                    <a:pt x="22914" y="4981"/>
                  </a:cubicBezTo>
                  <a:cubicBezTo>
                    <a:pt x="23085" y="4981"/>
                    <a:pt x="23206" y="5067"/>
                    <a:pt x="23326" y="4844"/>
                  </a:cubicBezTo>
                  <a:cubicBezTo>
                    <a:pt x="26332" y="3556"/>
                    <a:pt x="25576" y="4260"/>
                    <a:pt x="26761" y="3693"/>
                  </a:cubicBezTo>
                  <a:cubicBezTo>
                    <a:pt x="26418" y="3882"/>
                    <a:pt x="26761" y="3693"/>
                    <a:pt x="26881" y="3693"/>
                  </a:cubicBezTo>
                  <a:cubicBezTo>
                    <a:pt x="26503" y="3951"/>
                    <a:pt x="26710" y="3693"/>
                    <a:pt x="26607" y="3951"/>
                  </a:cubicBezTo>
                  <a:cubicBezTo>
                    <a:pt x="26761" y="4140"/>
                    <a:pt x="25765" y="4243"/>
                    <a:pt x="26211" y="4208"/>
                  </a:cubicBezTo>
                  <a:cubicBezTo>
                    <a:pt x="26658" y="4174"/>
                    <a:pt x="26057" y="4346"/>
                    <a:pt x="26211" y="4329"/>
                  </a:cubicBezTo>
                  <a:cubicBezTo>
                    <a:pt x="26555" y="4054"/>
                    <a:pt x="26211" y="4483"/>
                    <a:pt x="26074" y="4500"/>
                  </a:cubicBezTo>
                  <a:cubicBezTo>
                    <a:pt x="25284" y="5119"/>
                    <a:pt x="27036" y="3744"/>
                    <a:pt x="26383" y="4621"/>
                  </a:cubicBezTo>
                  <a:cubicBezTo>
                    <a:pt x="26108" y="4844"/>
                    <a:pt x="25816" y="4861"/>
                    <a:pt x="26057" y="4947"/>
                  </a:cubicBezTo>
                  <a:cubicBezTo>
                    <a:pt x="25672" y="5283"/>
                    <a:pt x="25406" y="5735"/>
                    <a:pt x="25301" y="6235"/>
                  </a:cubicBezTo>
                  <a:cubicBezTo>
                    <a:pt x="25198" y="5874"/>
                    <a:pt x="24751" y="6424"/>
                    <a:pt x="25112" y="6373"/>
                  </a:cubicBezTo>
                  <a:cubicBezTo>
                    <a:pt x="24837" y="6596"/>
                    <a:pt x="25112" y="6373"/>
                    <a:pt x="25009" y="6596"/>
                  </a:cubicBezTo>
                  <a:cubicBezTo>
                    <a:pt x="24906" y="6819"/>
                    <a:pt x="24837" y="6596"/>
                    <a:pt x="24751" y="6596"/>
                  </a:cubicBezTo>
                  <a:cubicBezTo>
                    <a:pt x="24666" y="6596"/>
                    <a:pt x="24751" y="6957"/>
                    <a:pt x="24751" y="6768"/>
                  </a:cubicBezTo>
                  <a:cubicBezTo>
                    <a:pt x="24751" y="6871"/>
                    <a:pt x="25061" y="7128"/>
                    <a:pt x="24751" y="7180"/>
                  </a:cubicBezTo>
                  <a:cubicBezTo>
                    <a:pt x="24271" y="6750"/>
                    <a:pt x="24751" y="7575"/>
                    <a:pt x="24442" y="7489"/>
                  </a:cubicBezTo>
                  <a:cubicBezTo>
                    <a:pt x="23961" y="7729"/>
                    <a:pt x="24442" y="7060"/>
                    <a:pt x="24133" y="7489"/>
                  </a:cubicBezTo>
                  <a:cubicBezTo>
                    <a:pt x="24133" y="7283"/>
                    <a:pt x="23807" y="7609"/>
                    <a:pt x="23738" y="7626"/>
                  </a:cubicBezTo>
                  <a:cubicBezTo>
                    <a:pt x="24150" y="7626"/>
                    <a:pt x="23738" y="7764"/>
                    <a:pt x="23738" y="7781"/>
                  </a:cubicBezTo>
                  <a:cubicBezTo>
                    <a:pt x="24236" y="7781"/>
                    <a:pt x="23738" y="7918"/>
                    <a:pt x="23824" y="7987"/>
                  </a:cubicBezTo>
                  <a:cubicBezTo>
                    <a:pt x="24442" y="8090"/>
                    <a:pt x="23515" y="9705"/>
                    <a:pt x="23583" y="8262"/>
                  </a:cubicBezTo>
                  <a:cubicBezTo>
                    <a:pt x="23034" y="7901"/>
                    <a:pt x="23978" y="8657"/>
                    <a:pt x="23137" y="8520"/>
                  </a:cubicBezTo>
                  <a:cubicBezTo>
                    <a:pt x="23291" y="8640"/>
                    <a:pt x="22673" y="8777"/>
                    <a:pt x="22931" y="8726"/>
                  </a:cubicBezTo>
                  <a:cubicBezTo>
                    <a:pt x="23188" y="8674"/>
                    <a:pt x="23326" y="8915"/>
                    <a:pt x="22931" y="8846"/>
                  </a:cubicBezTo>
                  <a:cubicBezTo>
                    <a:pt x="22536" y="8777"/>
                    <a:pt x="24082" y="8846"/>
                    <a:pt x="23446" y="9121"/>
                  </a:cubicBezTo>
                  <a:cubicBezTo>
                    <a:pt x="23446" y="9121"/>
                    <a:pt x="23171" y="9327"/>
                    <a:pt x="23137" y="9275"/>
                  </a:cubicBezTo>
                  <a:cubicBezTo>
                    <a:pt x="23103" y="9224"/>
                    <a:pt x="21866" y="9859"/>
                    <a:pt x="21952" y="9396"/>
                  </a:cubicBezTo>
                  <a:cubicBezTo>
                    <a:pt x="22038" y="8932"/>
                    <a:pt x="21952" y="9636"/>
                    <a:pt x="21831" y="9653"/>
                  </a:cubicBezTo>
                  <a:cubicBezTo>
                    <a:pt x="21385" y="9688"/>
                    <a:pt x="20612" y="10529"/>
                    <a:pt x="20560" y="10117"/>
                  </a:cubicBezTo>
                  <a:close/>
                  <a:moveTo>
                    <a:pt x="23669" y="11440"/>
                  </a:moveTo>
                  <a:cubicBezTo>
                    <a:pt x="23669" y="11577"/>
                    <a:pt x="23463" y="11543"/>
                    <a:pt x="23412" y="11440"/>
                  </a:cubicBezTo>
                  <a:cubicBezTo>
                    <a:pt x="23360" y="11337"/>
                    <a:pt x="23223" y="11440"/>
                    <a:pt x="23274" y="11319"/>
                  </a:cubicBezTo>
                  <a:cubicBezTo>
                    <a:pt x="23326" y="11199"/>
                    <a:pt x="23188" y="11319"/>
                    <a:pt x="23274" y="11319"/>
                  </a:cubicBezTo>
                  <a:cubicBezTo>
                    <a:pt x="23173" y="11345"/>
                    <a:pt x="23067" y="11345"/>
                    <a:pt x="22965" y="11319"/>
                  </a:cubicBezTo>
                  <a:cubicBezTo>
                    <a:pt x="22965" y="11319"/>
                    <a:pt x="22965" y="11319"/>
                    <a:pt x="22965" y="11319"/>
                  </a:cubicBezTo>
                  <a:cubicBezTo>
                    <a:pt x="22965" y="11319"/>
                    <a:pt x="22965" y="11319"/>
                    <a:pt x="22965" y="11233"/>
                  </a:cubicBezTo>
                  <a:cubicBezTo>
                    <a:pt x="22965" y="11148"/>
                    <a:pt x="22965" y="11233"/>
                    <a:pt x="22965" y="11233"/>
                  </a:cubicBezTo>
                  <a:cubicBezTo>
                    <a:pt x="22965" y="11233"/>
                    <a:pt x="23120" y="11096"/>
                    <a:pt x="23206" y="11148"/>
                  </a:cubicBezTo>
                  <a:cubicBezTo>
                    <a:pt x="23291" y="11199"/>
                    <a:pt x="22948" y="11251"/>
                    <a:pt x="23206" y="11027"/>
                  </a:cubicBezTo>
                  <a:cubicBezTo>
                    <a:pt x="23206" y="11113"/>
                    <a:pt x="23051" y="11027"/>
                    <a:pt x="23206" y="10941"/>
                  </a:cubicBezTo>
                  <a:cubicBezTo>
                    <a:pt x="23360" y="10856"/>
                    <a:pt x="22948" y="10941"/>
                    <a:pt x="22948" y="10821"/>
                  </a:cubicBezTo>
                  <a:cubicBezTo>
                    <a:pt x="22948" y="10701"/>
                    <a:pt x="23206" y="10735"/>
                    <a:pt x="23223" y="10821"/>
                  </a:cubicBezTo>
                  <a:cubicBezTo>
                    <a:pt x="23240" y="10907"/>
                    <a:pt x="23395" y="10821"/>
                    <a:pt x="23412" y="10718"/>
                  </a:cubicBezTo>
                  <a:cubicBezTo>
                    <a:pt x="23429" y="10615"/>
                    <a:pt x="23291" y="10718"/>
                    <a:pt x="23412" y="10718"/>
                  </a:cubicBezTo>
                  <a:cubicBezTo>
                    <a:pt x="23532" y="10718"/>
                    <a:pt x="23291" y="10718"/>
                    <a:pt x="23412" y="10632"/>
                  </a:cubicBezTo>
                  <a:cubicBezTo>
                    <a:pt x="23532" y="10546"/>
                    <a:pt x="23412" y="10632"/>
                    <a:pt x="23412" y="10632"/>
                  </a:cubicBezTo>
                  <a:cubicBezTo>
                    <a:pt x="23412" y="10632"/>
                    <a:pt x="23412" y="10718"/>
                    <a:pt x="23412" y="10632"/>
                  </a:cubicBezTo>
                  <a:cubicBezTo>
                    <a:pt x="23412" y="10546"/>
                    <a:pt x="23412" y="10632"/>
                    <a:pt x="23412" y="10632"/>
                  </a:cubicBezTo>
                  <a:cubicBezTo>
                    <a:pt x="23223" y="10873"/>
                    <a:pt x="23120" y="10478"/>
                    <a:pt x="23291" y="10632"/>
                  </a:cubicBezTo>
                  <a:cubicBezTo>
                    <a:pt x="23463" y="10787"/>
                    <a:pt x="23291" y="10478"/>
                    <a:pt x="23291" y="10632"/>
                  </a:cubicBezTo>
                  <a:cubicBezTo>
                    <a:pt x="23291" y="10787"/>
                    <a:pt x="23291" y="10632"/>
                    <a:pt x="23291" y="10632"/>
                  </a:cubicBezTo>
                  <a:cubicBezTo>
                    <a:pt x="23291" y="10632"/>
                    <a:pt x="23291" y="10529"/>
                    <a:pt x="23291" y="10632"/>
                  </a:cubicBezTo>
                  <a:cubicBezTo>
                    <a:pt x="23291" y="10735"/>
                    <a:pt x="23291" y="10478"/>
                    <a:pt x="23291" y="10632"/>
                  </a:cubicBezTo>
                  <a:cubicBezTo>
                    <a:pt x="23291" y="10787"/>
                    <a:pt x="23412" y="10632"/>
                    <a:pt x="23291" y="10632"/>
                  </a:cubicBezTo>
                  <a:cubicBezTo>
                    <a:pt x="23171" y="10632"/>
                    <a:pt x="23395" y="10632"/>
                    <a:pt x="23291" y="10632"/>
                  </a:cubicBezTo>
                  <a:cubicBezTo>
                    <a:pt x="23188" y="10632"/>
                    <a:pt x="23120" y="10478"/>
                    <a:pt x="23291" y="10478"/>
                  </a:cubicBezTo>
                  <a:cubicBezTo>
                    <a:pt x="22999" y="10375"/>
                    <a:pt x="23395" y="10375"/>
                    <a:pt x="23291" y="10581"/>
                  </a:cubicBezTo>
                  <a:cubicBezTo>
                    <a:pt x="23291" y="10581"/>
                    <a:pt x="23291" y="10581"/>
                    <a:pt x="23291" y="10581"/>
                  </a:cubicBezTo>
                  <a:cubicBezTo>
                    <a:pt x="23291" y="10581"/>
                    <a:pt x="23291" y="10701"/>
                    <a:pt x="23291" y="10581"/>
                  </a:cubicBezTo>
                  <a:cubicBezTo>
                    <a:pt x="23302" y="10608"/>
                    <a:pt x="23302" y="10639"/>
                    <a:pt x="23291" y="10667"/>
                  </a:cubicBezTo>
                  <a:cubicBezTo>
                    <a:pt x="23291" y="10667"/>
                    <a:pt x="23291" y="10753"/>
                    <a:pt x="23291" y="10787"/>
                  </a:cubicBezTo>
                  <a:cubicBezTo>
                    <a:pt x="23291" y="10821"/>
                    <a:pt x="23291" y="10787"/>
                    <a:pt x="23291" y="10873"/>
                  </a:cubicBezTo>
                  <a:cubicBezTo>
                    <a:pt x="23311" y="10799"/>
                    <a:pt x="23361" y="10737"/>
                    <a:pt x="23429" y="10701"/>
                  </a:cubicBezTo>
                  <a:cubicBezTo>
                    <a:pt x="23429" y="10907"/>
                    <a:pt x="23429" y="10478"/>
                    <a:pt x="23601" y="10461"/>
                  </a:cubicBezTo>
                  <a:cubicBezTo>
                    <a:pt x="23772" y="10443"/>
                    <a:pt x="23601" y="10581"/>
                    <a:pt x="23601" y="10598"/>
                  </a:cubicBezTo>
                  <a:cubicBezTo>
                    <a:pt x="23601" y="10615"/>
                    <a:pt x="23687" y="10461"/>
                    <a:pt x="23790" y="10478"/>
                  </a:cubicBezTo>
                  <a:cubicBezTo>
                    <a:pt x="23832" y="10576"/>
                    <a:pt x="23832" y="10688"/>
                    <a:pt x="23790" y="10787"/>
                  </a:cubicBezTo>
                  <a:cubicBezTo>
                    <a:pt x="23893" y="10701"/>
                    <a:pt x="23790" y="10461"/>
                    <a:pt x="23961" y="10512"/>
                  </a:cubicBezTo>
                  <a:cubicBezTo>
                    <a:pt x="24133" y="10564"/>
                    <a:pt x="24116" y="10375"/>
                    <a:pt x="24099" y="10512"/>
                  </a:cubicBezTo>
                  <a:cubicBezTo>
                    <a:pt x="24082" y="10649"/>
                    <a:pt x="24356" y="10220"/>
                    <a:pt x="24322" y="10512"/>
                  </a:cubicBezTo>
                  <a:cubicBezTo>
                    <a:pt x="24288" y="10804"/>
                    <a:pt x="24442" y="10357"/>
                    <a:pt x="24528" y="10512"/>
                  </a:cubicBezTo>
                  <a:cubicBezTo>
                    <a:pt x="24614" y="10667"/>
                    <a:pt x="24356" y="10667"/>
                    <a:pt x="24528" y="10632"/>
                  </a:cubicBezTo>
                  <a:cubicBezTo>
                    <a:pt x="24700" y="10598"/>
                    <a:pt x="24425" y="10632"/>
                    <a:pt x="24528" y="10804"/>
                  </a:cubicBezTo>
                  <a:cubicBezTo>
                    <a:pt x="24631" y="10976"/>
                    <a:pt x="24528" y="10804"/>
                    <a:pt x="24528" y="10804"/>
                  </a:cubicBezTo>
                  <a:cubicBezTo>
                    <a:pt x="24751" y="10804"/>
                    <a:pt x="24614" y="10804"/>
                    <a:pt x="24528" y="10924"/>
                  </a:cubicBezTo>
                  <a:cubicBezTo>
                    <a:pt x="24442" y="11045"/>
                    <a:pt x="24528" y="11079"/>
                    <a:pt x="24528" y="11148"/>
                  </a:cubicBezTo>
                  <a:cubicBezTo>
                    <a:pt x="24374" y="10924"/>
                    <a:pt x="24528" y="11440"/>
                    <a:pt x="24288" y="11148"/>
                  </a:cubicBezTo>
                  <a:cubicBezTo>
                    <a:pt x="24288" y="11268"/>
                    <a:pt x="24064" y="11268"/>
                    <a:pt x="23978" y="11388"/>
                  </a:cubicBezTo>
                  <a:lnTo>
                    <a:pt x="23978" y="11388"/>
                  </a:lnTo>
                  <a:cubicBezTo>
                    <a:pt x="23978" y="11388"/>
                    <a:pt x="23841" y="11388"/>
                    <a:pt x="23790" y="11388"/>
                  </a:cubicBezTo>
                  <a:cubicBezTo>
                    <a:pt x="23738" y="11388"/>
                    <a:pt x="23790" y="11388"/>
                    <a:pt x="23790" y="11388"/>
                  </a:cubicBezTo>
                  <a:cubicBezTo>
                    <a:pt x="23790" y="11388"/>
                    <a:pt x="23738" y="11594"/>
                    <a:pt x="23669" y="11440"/>
                  </a:cubicBezTo>
                  <a:close/>
                  <a:moveTo>
                    <a:pt x="38184" y="41533"/>
                  </a:moveTo>
                  <a:cubicBezTo>
                    <a:pt x="38063" y="41224"/>
                    <a:pt x="38579" y="40880"/>
                    <a:pt x="38802" y="40640"/>
                  </a:cubicBezTo>
                  <a:cubicBezTo>
                    <a:pt x="39025" y="40399"/>
                    <a:pt x="39025" y="39729"/>
                    <a:pt x="39540" y="39523"/>
                  </a:cubicBezTo>
                  <a:lnTo>
                    <a:pt x="39540" y="39523"/>
                  </a:lnTo>
                  <a:cubicBezTo>
                    <a:pt x="39540" y="39523"/>
                    <a:pt x="39540" y="39523"/>
                    <a:pt x="39540" y="39523"/>
                  </a:cubicBezTo>
                  <a:cubicBezTo>
                    <a:pt x="39540" y="39523"/>
                    <a:pt x="39644" y="39523"/>
                    <a:pt x="39781" y="39386"/>
                  </a:cubicBezTo>
                  <a:cubicBezTo>
                    <a:pt x="39661" y="39678"/>
                    <a:pt x="40073" y="39077"/>
                    <a:pt x="39953" y="39386"/>
                  </a:cubicBezTo>
                  <a:cubicBezTo>
                    <a:pt x="39832" y="39695"/>
                    <a:pt x="39953" y="39386"/>
                    <a:pt x="39953" y="39386"/>
                  </a:cubicBezTo>
                  <a:cubicBezTo>
                    <a:pt x="39953" y="39386"/>
                    <a:pt x="39953" y="39386"/>
                    <a:pt x="39953" y="39248"/>
                  </a:cubicBezTo>
                  <a:cubicBezTo>
                    <a:pt x="39953" y="39111"/>
                    <a:pt x="40073" y="39248"/>
                    <a:pt x="39953" y="39248"/>
                  </a:cubicBezTo>
                  <a:lnTo>
                    <a:pt x="39953" y="39248"/>
                  </a:lnTo>
                  <a:cubicBezTo>
                    <a:pt x="39953" y="39248"/>
                    <a:pt x="39953" y="39248"/>
                    <a:pt x="39953" y="39369"/>
                  </a:cubicBezTo>
                  <a:cubicBezTo>
                    <a:pt x="39953" y="39489"/>
                    <a:pt x="40090" y="39197"/>
                    <a:pt x="40107" y="39266"/>
                  </a:cubicBezTo>
                  <a:cubicBezTo>
                    <a:pt x="40124" y="39334"/>
                    <a:pt x="40107" y="39266"/>
                    <a:pt x="40107" y="39145"/>
                  </a:cubicBezTo>
                  <a:cubicBezTo>
                    <a:pt x="40107" y="39025"/>
                    <a:pt x="40262" y="39145"/>
                    <a:pt x="40107" y="39042"/>
                  </a:cubicBezTo>
                  <a:cubicBezTo>
                    <a:pt x="39953" y="38939"/>
                    <a:pt x="40107" y="39145"/>
                    <a:pt x="40262" y="38939"/>
                  </a:cubicBezTo>
                  <a:cubicBezTo>
                    <a:pt x="40416" y="38733"/>
                    <a:pt x="40537" y="38733"/>
                    <a:pt x="40485" y="38561"/>
                  </a:cubicBezTo>
                  <a:cubicBezTo>
                    <a:pt x="40434" y="38389"/>
                    <a:pt x="40588" y="38561"/>
                    <a:pt x="40674" y="38441"/>
                  </a:cubicBezTo>
                  <a:cubicBezTo>
                    <a:pt x="40760" y="38321"/>
                    <a:pt x="40674" y="38664"/>
                    <a:pt x="40674" y="38664"/>
                  </a:cubicBezTo>
                  <a:cubicBezTo>
                    <a:pt x="41344" y="38922"/>
                    <a:pt x="37514" y="43560"/>
                    <a:pt x="38184" y="41533"/>
                  </a:cubicBezTo>
                  <a:close/>
                  <a:moveTo>
                    <a:pt x="49159" y="26589"/>
                  </a:moveTo>
                  <a:cubicBezTo>
                    <a:pt x="49159" y="26589"/>
                    <a:pt x="49159" y="26589"/>
                    <a:pt x="49159" y="26589"/>
                  </a:cubicBezTo>
                  <a:cubicBezTo>
                    <a:pt x="48810" y="27921"/>
                    <a:pt x="48552" y="29276"/>
                    <a:pt x="48386" y="30643"/>
                  </a:cubicBezTo>
                  <a:cubicBezTo>
                    <a:pt x="48386" y="30540"/>
                    <a:pt x="48215" y="30780"/>
                    <a:pt x="48215" y="30849"/>
                  </a:cubicBezTo>
                  <a:cubicBezTo>
                    <a:pt x="48026" y="31570"/>
                    <a:pt x="47579" y="26864"/>
                    <a:pt x="47613" y="26452"/>
                  </a:cubicBezTo>
                  <a:cubicBezTo>
                    <a:pt x="47459" y="26452"/>
                    <a:pt x="47613" y="26263"/>
                    <a:pt x="47613" y="26160"/>
                  </a:cubicBezTo>
                  <a:cubicBezTo>
                    <a:pt x="47613" y="26057"/>
                    <a:pt x="47528" y="26160"/>
                    <a:pt x="47528" y="26160"/>
                  </a:cubicBezTo>
                  <a:cubicBezTo>
                    <a:pt x="47528" y="26555"/>
                    <a:pt x="47373" y="27362"/>
                    <a:pt x="47098" y="26606"/>
                  </a:cubicBezTo>
                  <a:cubicBezTo>
                    <a:pt x="47098" y="26606"/>
                    <a:pt x="46909" y="26332"/>
                    <a:pt x="46995" y="26383"/>
                  </a:cubicBezTo>
                  <a:lnTo>
                    <a:pt x="46995" y="26383"/>
                  </a:lnTo>
                  <a:cubicBezTo>
                    <a:pt x="46995" y="26538"/>
                    <a:pt x="46995" y="26383"/>
                    <a:pt x="46995" y="26383"/>
                  </a:cubicBezTo>
                  <a:cubicBezTo>
                    <a:pt x="46995" y="26383"/>
                    <a:pt x="47201" y="26074"/>
                    <a:pt x="47081" y="26040"/>
                  </a:cubicBezTo>
                  <a:cubicBezTo>
                    <a:pt x="47081" y="26383"/>
                    <a:pt x="46583" y="26040"/>
                    <a:pt x="46806" y="25833"/>
                  </a:cubicBezTo>
                  <a:cubicBezTo>
                    <a:pt x="46806" y="25833"/>
                    <a:pt x="46806" y="25937"/>
                    <a:pt x="46686" y="25971"/>
                  </a:cubicBezTo>
                  <a:cubicBezTo>
                    <a:pt x="46566" y="26005"/>
                    <a:pt x="46686" y="25885"/>
                    <a:pt x="46549" y="25971"/>
                  </a:cubicBezTo>
                  <a:cubicBezTo>
                    <a:pt x="46411" y="26057"/>
                    <a:pt x="46549" y="25696"/>
                    <a:pt x="46428" y="25559"/>
                  </a:cubicBezTo>
                  <a:cubicBezTo>
                    <a:pt x="46239" y="25730"/>
                    <a:pt x="46428" y="25318"/>
                    <a:pt x="46119" y="25438"/>
                  </a:cubicBezTo>
                  <a:cubicBezTo>
                    <a:pt x="46119" y="25438"/>
                    <a:pt x="45965" y="25524"/>
                    <a:pt x="45913" y="25610"/>
                  </a:cubicBezTo>
                  <a:cubicBezTo>
                    <a:pt x="45861" y="25696"/>
                    <a:pt x="45810" y="25610"/>
                    <a:pt x="45741" y="25610"/>
                  </a:cubicBezTo>
                  <a:cubicBezTo>
                    <a:pt x="45673" y="25610"/>
                    <a:pt x="45604" y="25610"/>
                    <a:pt x="45552" y="25765"/>
                  </a:cubicBezTo>
                  <a:cubicBezTo>
                    <a:pt x="45501" y="25919"/>
                    <a:pt x="45552" y="25765"/>
                    <a:pt x="45432" y="25765"/>
                  </a:cubicBezTo>
                  <a:cubicBezTo>
                    <a:pt x="45312" y="25765"/>
                    <a:pt x="45260" y="25885"/>
                    <a:pt x="45209" y="25679"/>
                  </a:cubicBezTo>
                  <a:cubicBezTo>
                    <a:pt x="45209" y="25782"/>
                    <a:pt x="44814" y="25679"/>
                    <a:pt x="44728" y="25679"/>
                  </a:cubicBezTo>
                  <a:cubicBezTo>
                    <a:pt x="44642" y="25679"/>
                    <a:pt x="44573" y="25679"/>
                    <a:pt x="44453" y="25679"/>
                  </a:cubicBezTo>
                  <a:cubicBezTo>
                    <a:pt x="44178" y="24683"/>
                    <a:pt x="44144" y="25541"/>
                    <a:pt x="43663" y="25404"/>
                  </a:cubicBezTo>
                  <a:cubicBezTo>
                    <a:pt x="43560" y="25404"/>
                    <a:pt x="43251" y="25284"/>
                    <a:pt x="43285" y="25146"/>
                  </a:cubicBezTo>
                  <a:cubicBezTo>
                    <a:pt x="43319" y="25009"/>
                    <a:pt x="42838" y="25146"/>
                    <a:pt x="42804" y="24803"/>
                  </a:cubicBezTo>
                  <a:cubicBezTo>
                    <a:pt x="42804" y="24803"/>
                    <a:pt x="42684" y="24803"/>
                    <a:pt x="42804" y="24803"/>
                  </a:cubicBezTo>
                  <a:cubicBezTo>
                    <a:pt x="42632" y="24803"/>
                    <a:pt x="42564" y="24185"/>
                    <a:pt x="42375" y="24425"/>
                  </a:cubicBezTo>
                  <a:cubicBezTo>
                    <a:pt x="42375" y="24339"/>
                    <a:pt x="42220" y="24425"/>
                    <a:pt x="42272" y="24270"/>
                  </a:cubicBezTo>
                  <a:cubicBezTo>
                    <a:pt x="42323" y="24116"/>
                    <a:pt x="42272" y="24270"/>
                    <a:pt x="42272" y="24270"/>
                  </a:cubicBezTo>
                  <a:cubicBezTo>
                    <a:pt x="42272" y="24270"/>
                    <a:pt x="42272" y="24494"/>
                    <a:pt x="42272" y="24270"/>
                  </a:cubicBezTo>
                  <a:cubicBezTo>
                    <a:pt x="42272" y="24047"/>
                    <a:pt x="42272" y="24580"/>
                    <a:pt x="42100" y="24597"/>
                  </a:cubicBezTo>
                  <a:lnTo>
                    <a:pt x="42220" y="24597"/>
                  </a:lnTo>
                  <a:lnTo>
                    <a:pt x="42220" y="24597"/>
                  </a:lnTo>
                  <a:cubicBezTo>
                    <a:pt x="42220" y="24597"/>
                    <a:pt x="42220" y="24700"/>
                    <a:pt x="42220" y="24734"/>
                  </a:cubicBezTo>
                  <a:cubicBezTo>
                    <a:pt x="42220" y="24769"/>
                    <a:pt x="42220" y="24837"/>
                    <a:pt x="42220" y="24734"/>
                  </a:cubicBezTo>
                  <a:cubicBezTo>
                    <a:pt x="42259" y="24896"/>
                    <a:pt x="42365" y="25033"/>
                    <a:pt x="42512" y="25112"/>
                  </a:cubicBezTo>
                  <a:cubicBezTo>
                    <a:pt x="42512" y="25112"/>
                    <a:pt x="42821" y="25438"/>
                    <a:pt x="42770" y="25610"/>
                  </a:cubicBezTo>
                  <a:lnTo>
                    <a:pt x="42770" y="25610"/>
                  </a:lnTo>
                  <a:cubicBezTo>
                    <a:pt x="42993" y="25851"/>
                    <a:pt x="43027" y="26314"/>
                    <a:pt x="43045" y="25782"/>
                  </a:cubicBezTo>
                  <a:cubicBezTo>
                    <a:pt x="43045" y="25645"/>
                    <a:pt x="43045" y="25438"/>
                    <a:pt x="43165" y="25627"/>
                  </a:cubicBezTo>
                  <a:cubicBezTo>
                    <a:pt x="43133" y="25786"/>
                    <a:pt x="43133" y="25950"/>
                    <a:pt x="43165" y="26108"/>
                  </a:cubicBezTo>
                  <a:cubicBezTo>
                    <a:pt x="43165" y="26108"/>
                    <a:pt x="43165" y="26297"/>
                    <a:pt x="43165" y="26211"/>
                  </a:cubicBezTo>
                  <a:lnTo>
                    <a:pt x="43165" y="26366"/>
                  </a:lnTo>
                  <a:cubicBezTo>
                    <a:pt x="43371" y="26177"/>
                    <a:pt x="43646" y="26366"/>
                    <a:pt x="43766" y="26091"/>
                  </a:cubicBezTo>
                  <a:lnTo>
                    <a:pt x="43766" y="26091"/>
                  </a:lnTo>
                  <a:cubicBezTo>
                    <a:pt x="43766" y="25833"/>
                    <a:pt x="44024" y="25593"/>
                    <a:pt x="44058" y="25318"/>
                  </a:cubicBezTo>
                  <a:lnTo>
                    <a:pt x="44058" y="25318"/>
                  </a:lnTo>
                  <a:cubicBezTo>
                    <a:pt x="44058" y="25318"/>
                    <a:pt x="44058" y="25146"/>
                    <a:pt x="44058" y="25215"/>
                  </a:cubicBezTo>
                  <a:cubicBezTo>
                    <a:pt x="44058" y="25284"/>
                    <a:pt x="44058" y="25559"/>
                    <a:pt x="44058" y="25507"/>
                  </a:cubicBezTo>
                  <a:cubicBezTo>
                    <a:pt x="44058" y="25851"/>
                    <a:pt x="44247" y="26280"/>
                    <a:pt x="44642" y="26091"/>
                  </a:cubicBezTo>
                  <a:cubicBezTo>
                    <a:pt x="44947" y="26440"/>
                    <a:pt x="44947" y="26961"/>
                    <a:pt x="44642" y="27311"/>
                  </a:cubicBezTo>
                  <a:cubicBezTo>
                    <a:pt x="44642" y="27105"/>
                    <a:pt x="44487" y="27757"/>
                    <a:pt x="44642" y="27877"/>
                  </a:cubicBezTo>
                  <a:cubicBezTo>
                    <a:pt x="44230" y="27877"/>
                    <a:pt x="44505" y="28290"/>
                    <a:pt x="44109" y="28376"/>
                  </a:cubicBezTo>
                  <a:cubicBezTo>
                    <a:pt x="44109" y="28496"/>
                    <a:pt x="44109" y="28599"/>
                    <a:pt x="44109" y="28719"/>
                  </a:cubicBezTo>
                  <a:cubicBezTo>
                    <a:pt x="43847" y="28757"/>
                    <a:pt x="43612" y="28900"/>
                    <a:pt x="43457" y="29114"/>
                  </a:cubicBezTo>
                  <a:cubicBezTo>
                    <a:pt x="43457" y="29475"/>
                    <a:pt x="42924" y="29595"/>
                    <a:pt x="42684" y="29767"/>
                  </a:cubicBezTo>
                  <a:cubicBezTo>
                    <a:pt x="42443" y="29939"/>
                    <a:pt x="42495" y="30042"/>
                    <a:pt x="42357" y="29990"/>
                  </a:cubicBezTo>
                  <a:cubicBezTo>
                    <a:pt x="42248" y="30193"/>
                    <a:pt x="42016" y="30299"/>
                    <a:pt x="41791" y="30248"/>
                  </a:cubicBezTo>
                  <a:cubicBezTo>
                    <a:pt x="41649" y="30457"/>
                    <a:pt x="41423" y="30595"/>
                    <a:pt x="41172" y="30626"/>
                  </a:cubicBezTo>
                  <a:cubicBezTo>
                    <a:pt x="41035" y="30317"/>
                    <a:pt x="41172" y="29904"/>
                    <a:pt x="40897" y="29629"/>
                  </a:cubicBezTo>
                  <a:cubicBezTo>
                    <a:pt x="41155" y="29011"/>
                    <a:pt x="40262" y="28204"/>
                    <a:pt x="39850" y="27706"/>
                  </a:cubicBezTo>
                  <a:cubicBezTo>
                    <a:pt x="39850" y="27293"/>
                    <a:pt x="39747" y="26589"/>
                    <a:pt x="39283" y="26606"/>
                  </a:cubicBezTo>
                  <a:cubicBezTo>
                    <a:pt x="39111" y="25799"/>
                    <a:pt x="38166" y="25370"/>
                    <a:pt x="38338" y="24751"/>
                  </a:cubicBezTo>
                  <a:cubicBezTo>
                    <a:pt x="38218" y="24975"/>
                    <a:pt x="38338" y="25249"/>
                    <a:pt x="38201" y="25438"/>
                  </a:cubicBezTo>
                  <a:cubicBezTo>
                    <a:pt x="37948" y="25233"/>
                    <a:pt x="37727" y="24989"/>
                    <a:pt x="37548" y="24717"/>
                  </a:cubicBezTo>
                  <a:cubicBezTo>
                    <a:pt x="37840" y="25370"/>
                    <a:pt x="38304" y="26022"/>
                    <a:pt x="38682" y="26692"/>
                  </a:cubicBezTo>
                  <a:lnTo>
                    <a:pt x="38682" y="26692"/>
                  </a:lnTo>
                  <a:cubicBezTo>
                    <a:pt x="38718" y="26746"/>
                    <a:pt x="38765" y="26793"/>
                    <a:pt x="38819" y="26830"/>
                  </a:cubicBezTo>
                  <a:cubicBezTo>
                    <a:pt x="38819" y="26830"/>
                    <a:pt x="38716" y="26830"/>
                    <a:pt x="38699" y="26830"/>
                  </a:cubicBezTo>
                  <a:cubicBezTo>
                    <a:pt x="38699" y="27328"/>
                    <a:pt x="39231" y="27311"/>
                    <a:pt x="39317" y="27826"/>
                  </a:cubicBezTo>
                  <a:cubicBezTo>
                    <a:pt x="39180" y="27826"/>
                    <a:pt x="39420" y="28187"/>
                    <a:pt x="39317" y="28376"/>
                  </a:cubicBezTo>
                  <a:cubicBezTo>
                    <a:pt x="39214" y="28565"/>
                    <a:pt x="39644" y="28719"/>
                    <a:pt x="39712" y="28891"/>
                  </a:cubicBezTo>
                  <a:cubicBezTo>
                    <a:pt x="39781" y="29063"/>
                    <a:pt x="39884" y="29561"/>
                    <a:pt x="40021" y="29715"/>
                  </a:cubicBezTo>
                  <a:cubicBezTo>
                    <a:pt x="40159" y="29870"/>
                    <a:pt x="40142" y="30007"/>
                    <a:pt x="40021" y="29801"/>
                  </a:cubicBezTo>
                  <a:cubicBezTo>
                    <a:pt x="39901" y="29595"/>
                    <a:pt x="40021" y="30042"/>
                    <a:pt x="40193" y="29939"/>
                  </a:cubicBezTo>
                  <a:cubicBezTo>
                    <a:pt x="40571" y="29939"/>
                    <a:pt x="40708" y="30591"/>
                    <a:pt x="40932" y="30626"/>
                  </a:cubicBezTo>
                  <a:cubicBezTo>
                    <a:pt x="41155" y="30660"/>
                    <a:pt x="40932" y="30746"/>
                    <a:pt x="41035" y="30746"/>
                  </a:cubicBezTo>
                  <a:cubicBezTo>
                    <a:pt x="41037" y="30889"/>
                    <a:pt x="40935" y="31013"/>
                    <a:pt x="40794" y="31038"/>
                  </a:cubicBezTo>
                  <a:cubicBezTo>
                    <a:pt x="41035" y="31038"/>
                    <a:pt x="41086" y="31364"/>
                    <a:pt x="41327" y="31450"/>
                  </a:cubicBezTo>
                  <a:cubicBezTo>
                    <a:pt x="41782" y="31205"/>
                    <a:pt x="42267" y="31020"/>
                    <a:pt x="42770" y="30901"/>
                  </a:cubicBezTo>
                  <a:cubicBezTo>
                    <a:pt x="42857" y="30834"/>
                    <a:pt x="42933" y="30752"/>
                    <a:pt x="42993" y="30660"/>
                  </a:cubicBezTo>
                  <a:cubicBezTo>
                    <a:pt x="43165" y="30660"/>
                    <a:pt x="42993" y="31021"/>
                    <a:pt x="42993" y="31210"/>
                  </a:cubicBezTo>
                  <a:cubicBezTo>
                    <a:pt x="42993" y="31399"/>
                    <a:pt x="42993" y="31210"/>
                    <a:pt x="42993" y="31210"/>
                  </a:cubicBezTo>
                  <a:cubicBezTo>
                    <a:pt x="42684" y="33580"/>
                    <a:pt x="39163" y="34989"/>
                    <a:pt x="38922" y="37033"/>
                  </a:cubicBezTo>
                  <a:cubicBezTo>
                    <a:pt x="38922" y="37033"/>
                    <a:pt x="38716" y="37204"/>
                    <a:pt x="38802" y="37307"/>
                  </a:cubicBezTo>
                  <a:cubicBezTo>
                    <a:pt x="38888" y="37410"/>
                    <a:pt x="38596" y="37874"/>
                    <a:pt x="38802" y="38012"/>
                  </a:cubicBezTo>
                  <a:cubicBezTo>
                    <a:pt x="38630" y="38407"/>
                    <a:pt x="38493" y="38991"/>
                    <a:pt x="38355" y="39248"/>
                  </a:cubicBezTo>
                  <a:cubicBezTo>
                    <a:pt x="38218" y="39506"/>
                    <a:pt x="38149" y="39369"/>
                    <a:pt x="38355" y="39351"/>
                  </a:cubicBezTo>
                  <a:cubicBezTo>
                    <a:pt x="38063" y="39781"/>
                    <a:pt x="37514" y="39901"/>
                    <a:pt x="37119" y="40193"/>
                  </a:cubicBezTo>
                  <a:lnTo>
                    <a:pt x="37119" y="40193"/>
                  </a:lnTo>
                  <a:cubicBezTo>
                    <a:pt x="36902" y="40432"/>
                    <a:pt x="36622" y="40604"/>
                    <a:pt x="36311" y="40691"/>
                  </a:cubicBezTo>
                  <a:cubicBezTo>
                    <a:pt x="36339" y="40751"/>
                    <a:pt x="36339" y="40820"/>
                    <a:pt x="36311" y="40880"/>
                  </a:cubicBezTo>
                  <a:cubicBezTo>
                    <a:pt x="36311" y="40880"/>
                    <a:pt x="36311" y="41000"/>
                    <a:pt x="36311" y="41035"/>
                  </a:cubicBezTo>
                  <a:cubicBezTo>
                    <a:pt x="36311" y="41069"/>
                    <a:pt x="36311" y="41292"/>
                    <a:pt x="36311" y="41395"/>
                  </a:cubicBezTo>
                  <a:cubicBezTo>
                    <a:pt x="36311" y="41498"/>
                    <a:pt x="36311" y="41310"/>
                    <a:pt x="36311" y="41292"/>
                  </a:cubicBezTo>
                  <a:lnTo>
                    <a:pt x="36311" y="41292"/>
                  </a:lnTo>
                  <a:lnTo>
                    <a:pt x="36311" y="41292"/>
                  </a:lnTo>
                  <a:cubicBezTo>
                    <a:pt x="36311" y="41447"/>
                    <a:pt x="36122" y="41567"/>
                    <a:pt x="36054" y="41705"/>
                  </a:cubicBezTo>
                  <a:lnTo>
                    <a:pt x="36054" y="41705"/>
                  </a:lnTo>
                  <a:cubicBezTo>
                    <a:pt x="35865" y="42117"/>
                    <a:pt x="35126" y="41997"/>
                    <a:pt x="35006" y="42392"/>
                  </a:cubicBezTo>
                  <a:lnTo>
                    <a:pt x="35126" y="42392"/>
                  </a:lnTo>
                  <a:cubicBezTo>
                    <a:pt x="35084" y="42471"/>
                    <a:pt x="35025" y="42542"/>
                    <a:pt x="34954" y="42598"/>
                  </a:cubicBezTo>
                  <a:lnTo>
                    <a:pt x="34954" y="42598"/>
                  </a:lnTo>
                  <a:cubicBezTo>
                    <a:pt x="34162" y="43425"/>
                    <a:pt x="33158" y="44019"/>
                    <a:pt x="32051" y="44315"/>
                  </a:cubicBezTo>
                  <a:cubicBezTo>
                    <a:pt x="31588" y="44161"/>
                    <a:pt x="31124" y="44453"/>
                    <a:pt x="30660" y="44418"/>
                  </a:cubicBezTo>
                  <a:cubicBezTo>
                    <a:pt x="30660" y="44333"/>
                    <a:pt x="30660" y="44418"/>
                    <a:pt x="30660" y="44418"/>
                  </a:cubicBezTo>
                  <a:cubicBezTo>
                    <a:pt x="30660" y="44418"/>
                    <a:pt x="30557" y="44333"/>
                    <a:pt x="30660" y="44418"/>
                  </a:cubicBezTo>
                  <a:cubicBezTo>
                    <a:pt x="30763" y="44504"/>
                    <a:pt x="30798" y="44230"/>
                    <a:pt x="30660" y="44092"/>
                  </a:cubicBezTo>
                  <a:cubicBezTo>
                    <a:pt x="30987" y="43938"/>
                    <a:pt x="30660" y="43508"/>
                    <a:pt x="30660" y="43199"/>
                  </a:cubicBezTo>
                  <a:cubicBezTo>
                    <a:pt x="30128" y="42392"/>
                    <a:pt x="30437" y="41189"/>
                    <a:pt x="29836" y="40296"/>
                  </a:cubicBezTo>
                  <a:cubicBezTo>
                    <a:pt x="29836" y="39369"/>
                    <a:pt x="31210" y="38956"/>
                    <a:pt x="30591" y="38046"/>
                  </a:cubicBezTo>
                  <a:cubicBezTo>
                    <a:pt x="30866" y="37840"/>
                    <a:pt x="30591" y="37428"/>
                    <a:pt x="30471" y="37204"/>
                  </a:cubicBezTo>
                  <a:lnTo>
                    <a:pt x="30574" y="37204"/>
                  </a:lnTo>
                  <a:cubicBezTo>
                    <a:pt x="30574" y="37204"/>
                    <a:pt x="30334" y="37204"/>
                    <a:pt x="30454" y="37050"/>
                  </a:cubicBezTo>
                  <a:cubicBezTo>
                    <a:pt x="30248" y="36449"/>
                    <a:pt x="29561" y="36242"/>
                    <a:pt x="29423" y="35607"/>
                  </a:cubicBezTo>
                  <a:cubicBezTo>
                    <a:pt x="29578" y="35607"/>
                    <a:pt x="29612" y="35487"/>
                    <a:pt x="29630" y="35298"/>
                  </a:cubicBezTo>
                  <a:cubicBezTo>
                    <a:pt x="29647" y="35109"/>
                    <a:pt x="29767" y="35298"/>
                    <a:pt x="29819" y="35298"/>
                  </a:cubicBezTo>
                  <a:cubicBezTo>
                    <a:pt x="29741" y="35301"/>
                    <a:pt x="29670" y="35252"/>
                    <a:pt x="29647" y="35177"/>
                  </a:cubicBezTo>
                  <a:cubicBezTo>
                    <a:pt x="29767" y="35177"/>
                    <a:pt x="29750" y="35057"/>
                    <a:pt x="29647" y="35040"/>
                  </a:cubicBezTo>
                  <a:cubicBezTo>
                    <a:pt x="29897" y="34793"/>
                    <a:pt x="29972" y="34419"/>
                    <a:pt x="29836" y="34095"/>
                  </a:cubicBezTo>
                  <a:cubicBezTo>
                    <a:pt x="29681" y="34198"/>
                    <a:pt x="29612" y="34095"/>
                    <a:pt x="29612" y="33906"/>
                  </a:cubicBezTo>
                  <a:cubicBezTo>
                    <a:pt x="29559" y="33957"/>
                    <a:pt x="29477" y="33957"/>
                    <a:pt x="29423" y="33906"/>
                  </a:cubicBezTo>
                  <a:cubicBezTo>
                    <a:pt x="29269" y="34095"/>
                    <a:pt x="28771" y="34078"/>
                    <a:pt x="28496" y="34044"/>
                  </a:cubicBezTo>
                  <a:cubicBezTo>
                    <a:pt x="28118" y="32807"/>
                    <a:pt x="26778" y="33529"/>
                    <a:pt x="25937" y="33821"/>
                  </a:cubicBezTo>
                  <a:cubicBezTo>
                    <a:pt x="24219" y="33305"/>
                    <a:pt x="23961" y="34490"/>
                    <a:pt x="22501" y="32687"/>
                  </a:cubicBezTo>
                  <a:cubicBezTo>
                    <a:pt x="22330" y="32687"/>
                    <a:pt x="22364" y="32429"/>
                    <a:pt x="22226" y="32361"/>
                  </a:cubicBezTo>
                  <a:cubicBezTo>
                    <a:pt x="22089" y="32292"/>
                    <a:pt x="22226" y="32240"/>
                    <a:pt x="22226" y="32137"/>
                  </a:cubicBezTo>
                  <a:cubicBezTo>
                    <a:pt x="22226" y="32034"/>
                    <a:pt x="21883" y="31897"/>
                    <a:pt x="21986" y="31828"/>
                  </a:cubicBezTo>
                  <a:cubicBezTo>
                    <a:pt x="21608" y="31828"/>
                    <a:pt x="21814" y="31485"/>
                    <a:pt x="21591" y="31536"/>
                  </a:cubicBezTo>
                  <a:cubicBezTo>
                    <a:pt x="21368" y="31588"/>
                    <a:pt x="21591" y="31450"/>
                    <a:pt x="21436" y="31450"/>
                  </a:cubicBezTo>
                  <a:lnTo>
                    <a:pt x="21436" y="31450"/>
                  </a:lnTo>
                  <a:lnTo>
                    <a:pt x="21436" y="31450"/>
                  </a:lnTo>
                  <a:cubicBezTo>
                    <a:pt x="21436" y="31450"/>
                    <a:pt x="21436" y="31450"/>
                    <a:pt x="21436" y="31347"/>
                  </a:cubicBezTo>
                  <a:cubicBezTo>
                    <a:pt x="21436" y="31244"/>
                    <a:pt x="21625" y="31347"/>
                    <a:pt x="21642" y="31347"/>
                  </a:cubicBezTo>
                  <a:cubicBezTo>
                    <a:pt x="21660" y="31347"/>
                    <a:pt x="21076" y="31347"/>
                    <a:pt x="21247" y="31158"/>
                  </a:cubicBezTo>
                  <a:cubicBezTo>
                    <a:pt x="21110" y="31158"/>
                    <a:pt x="21076" y="31158"/>
                    <a:pt x="21041" y="30986"/>
                  </a:cubicBezTo>
                  <a:cubicBezTo>
                    <a:pt x="21007" y="30815"/>
                    <a:pt x="21162" y="30986"/>
                    <a:pt x="21213" y="30986"/>
                  </a:cubicBezTo>
                  <a:cubicBezTo>
                    <a:pt x="21265" y="30986"/>
                    <a:pt x="21076" y="30986"/>
                    <a:pt x="21024" y="30986"/>
                  </a:cubicBezTo>
                  <a:cubicBezTo>
                    <a:pt x="20973" y="30986"/>
                    <a:pt x="21024" y="30849"/>
                    <a:pt x="21024" y="30780"/>
                  </a:cubicBezTo>
                  <a:cubicBezTo>
                    <a:pt x="21024" y="30712"/>
                    <a:pt x="21179" y="30935"/>
                    <a:pt x="21299" y="30780"/>
                  </a:cubicBezTo>
                  <a:cubicBezTo>
                    <a:pt x="21419" y="30626"/>
                    <a:pt x="21024" y="30694"/>
                    <a:pt x="21144" y="30626"/>
                  </a:cubicBezTo>
                  <a:lnTo>
                    <a:pt x="21144" y="30626"/>
                  </a:lnTo>
                  <a:cubicBezTo>
                    <a:pt x="21144" y="30626"/>
                    <a:pt x="20990" y="30368"/>
                    <a:pt x="20921" y="30299"/>
                  </a:cubicBezTo>
                  <a:cubicBezTo>
                    <a:pt x="21365" y="29847"/>
                    <a:pt x="21523" y="29187"/>
                    <a:pt x="21333" y="28582"/>
                  </a:cubicBezTo>
                  <a:cubicBezTo>
                    <a:pt x="21471" y="28582"/>
                    <a:pt x="21333" y="28393"/>
                    <a:pt x="21436" y="28358"/>
                  </a:cubicBezTo>
                  <a:cubicBezTo>
                    <a:pt x="21539" y="28324"/>
                    <a:pt x="21265" y="28255"/>
                    <a:pt x="21247" y="28135"/>
                  </a:cubicBezTo>
                  <a:lnTo>
                    <a:pt x="21247" y="28221"/>
                  </a:lnTo>
                  <a:cubicBezTo>
                    <a:pt x="21228" y="27927"/>
                    <a:pt x="21357" y="27644"/>
                    <a:pt x="21591" y="27465"/>
                  </a:cubicBezTo>
                  <a:cubicBezTo>
                    <a:pt x="21952" y="26297"/>
                    <a:pt x="23103" y="25833"/>
                    <a:pt x="23927" y="25043"/>
                  </a:cubicBezTo>
                  <a:cubicBezTo>
                    <a:pt x="23935" y="24883"/>
                    <a:pt x="23935" y="24723"/>
                    <a:pt x="23927" y="24562"/>
                  </a:cubicBezTo>
                  <a:cubicBezTo>
                    <a:pt x="23927" y="24373"/>
                    <a:pt x="24288" y="24288"/>
                    <a:pt x="24133" y="24081"/>
                  </a:cubicBezTo>
                  <a:cubicBezTo>
                    <a:pt x="24677" y="23812"/>
                    <a:pt x="25139" y="23403"/>
                    <a:pt x="25473" y="22896"/>
                  </a:cubicBezTo>
                  <a:cubicBezTo>
                    <a:pt x="25473" y="23240"/>
                    <a:pt x="26005" y="23223"/>
                    <a:pt x="26194" y="23102"/>
                  </a:cubicBezTo>
                  <a:cubicBezTo>
                    <a:pt x="26521" y="23497"/>
                    <a:pt x="27225" y="22828"/>
                    <a:pt x="27586" y="22725"/>
                  </a:cubicBezTo>
                  <a:cubicBezTo>
                    <a:pt x="27946" y="22621"/>
                    <a:pt x="28771" y="22725"/>
                    <a:pt x="29063" y="22587"/>
                  </a:cubicBezTo>
                  <a:cubicBezTo>
                    <a:pt x="29355" y="22450"/>
                    <a:pt x="29286" y="22828"/>
                    <a:pt x="29372" y="22587"/>
                  </a:cubicBezTo>
                  <a:cubicBezTo>
                    <a:pt x="29647" y="22828"/>
                    <a:pt x="29939" y="22450"/>
                    <a:pt x="30162" y="22587"/>
                  </a:cubicBezTo>
                  <a:cubicBezTo>
                    <a:pt x="30162" y="22398"/>
                    <a:pt x="30299" y="22725"/>
                    <a:pt x="30385" y="22776"/>
                  </a:cubicBezTo>
                  <a:cubicBezTo>
                    <a:pt x="30746" y="22415"/>
                    <a:pt x="30488" y="22862"/>
                    <a:pt x="30385" y="23017"/>
                  </a:cubicBezTo>
                  <a:cubicBezTo>
                    <a:pt x="31021" y="23446"/>
                    <a:pt x="29956" y="23618"/>
                    <a:pt x="30385" y="23910"/>
                  </a:cubicBezTo>
                  <a:cubicBezTo>
                    <a:pt x="30385" y="23910"/>
                    <a:pt x="30385" y="23910"/>
                    <a:pt x="30506" y="23910"/>
                  </a:cubicBezTo>
                  <a:cubicBezTo>
                    <a:pt x="30626" y="23910"/>
                    <a:pt x="30506" y="23824"/>
                    <a:pt x="30506" y="23910"/>
                  </a:cubicBezTo>
                  <a:cubicBezTo>
                    <a:pt x="30677" y="24322"/>
                    <a:pt x="31313" y="24013"/>
                    <a:pt x="31622" y="24236"/>
                  </a:cubicBezTo>
                  <a:cubicBezTo>
                    <a:pt x="34851" y="26469"/>
                    <a:pt x="32343" y="23566"/>
                    <a:pt x="34473" y="24236"/>
                  </a:cubicBezTo>
                  <a:cubicBezTo>
                    <a:pt x="34834" y="24580"/>
                    <a:pt x="35641" y="24477"/>
                    <a:pt x="36191" y="24700"/>
                  </a:cubicBezTo>
                  <a:cubicBezTo>
                    <a:pt x="36741" y="24923"/>
                    <a:pt x="36724" y="24597"/>
                    <a:pt x="37084" y="24494"/>
                  </a:cubicBezTo>
                  <a:cubicBezTo>
                    <a:pt x="36844" y="24580"/>
                    <a:pt x="37084" y="24494"/>
                    <a:pt x="37187" y="24494"/>
                  </a:cubicBezTo>
                  <a:cubicBezTo>
                    <a:pt x="37290" y="24494"/>
                    <a:pt x="37187" y="24494"/>
                    <a:pt x="37187" y="24494"/>
                  </a:cubicBezTo>
                  <a:cubicBezTo>
                    <a:pt x="37187" y="24494"/>
                    <a:pt x="37411" y="24494"/>
                    <a:pt x="37462" y="24494"/>
                  </a:cubicBezTo>
                  <a:cubicBezTo>
                    <a:pt x="37514" y="24494"/>
                    <a:pt x="37565" y="24614"/>
                    <a:pt x="37565" y="24665"/>
                  </a:cubicBezTo>
                  <a:cubicBezTo>
                    <a:pt x="37565" y="24717"/>
                    <a:pt x="37565" y="24562"/>
                    <a:pt x="37565" y="24494"/>
                  </a:cubicBezTo>
                  <a:cubicBezTo>
                    <a:pt x="38733" y="24889"/>
                    <a:pt x="38338" y="22776"/>
                    <a:pt x="38407" y="22381"/>
                  </a:cubicBezTo>
                  <a:cubicBezTo>
                    <a:pt x="38218" y="22536"/>
                    <a:pt x="37892" y="22381"/>
                    <a:pt x="37840" y="22656"/>
                  </a:cubicBezTo>
                  <a:cubicBezTo>
                    <a:pt x="37496" y="23051"/>
                    <a:pt x="36775" y="22106"/>
                    <a:pt x="36775" y="22656"/>
                  </a:cubicBezTo>
                  <a:cubicBezTo>
                    <a:pt x="36620" y="22656"/>
                    <a:pt x="36225" y="22828"/>
                    <a:pt x="36277" y="22536"/>
                  </a:cubicBezTo>
                  <a:cubicBezTo>
                    <a:pt x="36277" y="22536"/>
                    <a:pt x="36277" y="22536"/>
                    <a:pt x="36140" y="22536"/>
                  </a:cubicBezTo>
                  <a:cubicBezTo>
                    <a:pt x="36002" y="22536"/>
                    <a:pt x="35951" y="22690"/>
                    <a:pt x="35933" y="22536"/>
                  </a:cubicBezTo>
                  <a:lnTo>
                    <a:pt x="35727" y="22536"/>
                  </a:lnTo>
                  <a:cubicBezTo>
                    <a:pt x="35727" y="22450"/>
                    <a:pt x="35951" y="22536"/>
                    <a:pt x="35951" y="22398"/>
                  </a:cubicBezTo>
                  <a:cubicBezTo>
                    <a:pt x="35951" y="22261"/>
                    <a:pt x="35556" y="22501"/>
                    <a:pt x="35762" y="22398"/>
                  </a:cubicBezTo>
                  <a:cubicBezTo>
                    <a:pt x="35521" y="22244"/>
                    <a:pt x="35762" y="22106"/>
                    <a:pt x="35401" y="22020"/>
                  </a:cubicBezTo>
                  <a:cubicBezTo>
                    <a:pt x="35040" y="21934"/>
                    <a:pt x="35401" y="21883"/>
                    <a:pt x="35401" y="21831"/>
                  </a:cubicBezTo>
                  <a:cubicBezTo>
                    <a:pt x="35401" y="21780"/>
                    <a:pt x="35401" y="21952"/>
                    <a:pt x="35573" y="21831"/>
                  </a:cubicBezTo>
                  <a:lnTo>
                    <a:pt x="35573" y="21831"/>
                  </a:lnTo>
                  <a:cubicBezTo>
                    <a:pt x="35573" y="21831"/>
                    <a:pt x="35710" y="21831"/>
                    <a:pt x="35676" y="21694"/>
                  </a:cubicBezTo>
                  <a:cubicBezTo>
                    <a:pt x="35641" y="21557"/>
                    <a:pt x="35504" y="21522"/>
                    <a:pt x="35676" y="21488"/>
                  </a:cubicBezTo>
                  <a:cubicBezTo>
                    <a:pt x="35195" y="21660"/>
                    <a:pt x="35435" y="20938"/>
                    <a:pt x="35779" y="21179"/>
                  </a:cubicBezTo>
                  <a:cubicBezTo>
                    <a:pt x="35779" y="21041"/>
                    <a:pt x="36071" y="21179"/>
                    <a:pt x="36225" y="21179"/>
                  </a:cubicBezTo>
                  <a:cubicBezTo>
                    <a:pt x="35916" y="21058"/>
                    <a:pt x="36363" y="21076"/>
                    <a:pt x="36397" y="20990"/>
                  </a:cubicBezTo>
                  <a:cubicBezTo>
                    <a:pt x="35676" y="20766"/>
                    <a:pt x="36775" y="20869"/>
                    <a:pt x="36827" y="20784"/>
                  </a:cubicBezTo>
                  <a:cubicBezTo>
                    <a:pt x="36964" y="20406"/>
                    <a:pt x="37479" y="20457"/>
                    <a:pt x="37788" y="20371"/>
                  </a:cubicBezTo>
                  <a:cubicBezTo>
                    <a:pt x="37788" y="20543"/>
                    <a:pt x="37960" y="20560"/>
                    <a:pt x="38063" y="20371"/>
                  </a:cubicBezTo>
                  <a:cubicBezTo>
                    <a:pt x="38166" y="20182"/>
                    <a:pt x="38201" y="20663"/>
                    <a:pt x="38287" y="20526"/>
                  </a:cubicBezTo>
                  <a:cubicBezTo>
                    <a:pt x="40760" y="21024"/>
                    <a:pt x="38991" y="19324"/>
                    <a:pt x="37857" y="19049"/>
                  </a:cubicBezTo>
                  <a:cubicBezTo>
                    <a:pt x="37857" y="19049"/>
                    <a:pt x="37857" y="19049"/>
                    <a:pt x="37857" y="18911"/>
                  </a:cubicBezTo>
                  <a:cubicBezTo>
                    <a:pt x="37857" y="18774"/>
                    <a:pt x="38063" y="18911"/>
                    <a:pt x="37977" y="18791"/>
                  </a:cubicBezTo>
                  <a:cubicBezTo>
                    <a:pt x="37892" y="18671"/>
                    <a:pt x="38201" y="18637"/>
                    <a:pt x="37977" y="18551"/>
                  </a:cubicBezTo>
                  <a:cubicBezTo>
                    <a:pt x="37754" y="18465"/>
                    <a:pt x="37874" y="18551"/>
                    <a:pt x="37857" y="18448"/>
                  </a:cubicBezTo>
                  <a:cubicBezTo>
                    <a:pt x="37840" y="18345"/>
                    <a:pt x="38029" y="18448"/>
                    <a:pt x="38029" y="18448"/>
                  </a:cubicBezTo>
                  <a:cubicBezTo>
                    <a:pt x="38029" y="18448"/>
                    <a:pt x="38166" y="18310"/>
                    <a:pt x="38132" y="18224"/>
                  </a:cubicBezTo>
                  <a:cubicBezTo>
                    <a:pt x="38098" y="18138"/>
                    <a:pt x="37651" y="18224"/>
                    <a:pt x="37548" y="18499"/>
                  </a:cubicBezTo>
                  <a:cubicBezTo>
                    <a:pt x="37548" y="18499"/>
                    <a:pt x="37445" y="18585"/>
                    <a:pt x="37359" y="18499"/>
                  </a:cubicBezTo>
                  <a:cubicBezTo>
                    <a:pt x="37273" y="18413"/>
                    <a:pt x="37256" y="18499"/>
                    <a:pt x="37204" y="18499"/>
                  </a:cubicBezTo>
                  <a:cubicBezTo>
                    <a:pt x="37153" y="18499"/>
                    <a:pt x="37204" y="18774"/>
                    <a:pt x="37204" y="18705"/>
                  </a:cubicBezTo>
                  <a:cubicBezTo>
                    <a:pt x="37204" y="18637"/>
                    <a:pt x="37204" y="18585"/>
                    <a:pt x="37204" y="18568"/>
                  </a:cubicBezTo>
                  <a:cubicBezTo>
                    <a:pt x="37204" y="18551"/>
                    <a:pt x="36964" y="18722"/>
                    <a:pt x="36878" y="18791"/>
                  </a:cubicBezTo>
                  <a:cubicBezTo>
                    <a:pt x="36792" y="18860"/>
                    <a:pt x="37170" y="18791"/>
                    <a:pt x="37136" y="18946"/>
                  </a:cubicBezTo>
                  <a:cubicBezTo>
                    <a:pt x="37101" y="19100"/>
                    <a:pt x="37136" y="18946"/>
                    <a:pt x="37136" y="18946"/>
                  </a:cubicBezTo>
                  <a:cubicBezTo>
                    <a:pt x="37136" y="18946"/>
                    <a:pt x="37136" y="19066"/>
                    <a:pt x="37325" y="19049"/>
                  </a:cubicBezTo>
                  <a:cubicBezTo>
                    <a:pt x="37514" y="19032"/>
                    <a:pt x="37016" y="18825"/>
                    <a:pt x="37084" y="18705"/>
                  </a:cubicBezTo>
                  <a:cubicBezTo>
                    <a:pt x="37153" y="18585"/>
                    <a:pt x="37273" y="18980"/>
                    <a:pt x="37393" y="19014"/>
                  </a:cubicBezTo>
                  <a:cubicBezTo>
                    <a:pt x="37514" y="19049"/>
                    <a:pt x="37393" y="19014"/>
                    <a:pt x="37514" y="19014"/>
                  </a:cubicBezTo>
                  <a:cubicBezTo>
                    <a:pt x="37634" y="19014"/>
                    <a:pt x="37617" y="18929"/>
                    <a:pt x="37685" y="18929"/>
                  </a:cubicBezTo>
                  <a:cubicBezTo>
                    <a:pt x="37754" y="18929"/>
                    <a:pt x="37685" y="19152"/>
                    <a:pt x="37462" y="19100"/>
                  </a:cubicBezTo>
                  <a:cubicBezTo>
                    <a:pt x="37239" y="19049"/>
                    <a:pt x="36861" y="19650"/>
                    <a:pt x="36912" y="19100"/>
                  </a:cubicBezTo>
                  <a:cubicBezTo>
                    <a:pt x="36775" y="18980"/>
                    <a:pt x="36466" y="19100"/>
                    <a:pt x="36758" y="18860"/>
                  </a:cubicBezTo>
                  <a:cubicBezTo>
                    <a:pt x="37050" y="18619"/>
                    <a:pt x="36620" y="18602"/>
                    <a:pt x="36500" y="18740"/>
                  </a:cubicBezTo>
                  <a:cubicBezTo>
                    <a:pt x="36380" y="18877"/>
                    <a:pt x="36311" y="18740"/>
                    <a:pt x="36380" y="18619"/>
                  </a:cubicBezTo>
                  <a:cubicBezTo>
                    <a:pt x="36449" y="18499"/>
                    <a:pt x="36191" y="18619"/>
                    <a:pt x="36157" y="18619"/>
                  </a:cubicBezTo>
                  <a:cubicBezTo>
                    <a:pt x="36122" y="18619"/>
                    <a:pt x="36380" y="18619"/>
                    <a:pt x="36449" y="18619"/>
                  </a:cubicBezTo>
                  <a:cubicBezTo>
                    <a:pt x="36396" y="18670"/>
                    <a:pt x="36313" y="18670"/>
                    <a:pt x="36260" y="18619"/>
                  </a:cubicBezTo>
                  <a:cubicBezTo>
                    <a:pt x="36260" y="18791"/>
                    <a:pt x="36122" y="18619"/>
                    <a:pt x="36088" y="18740"/>
                  </a:cubicBezTo>
                  <a:cubicBezTo>
                    <a:pt x="36054" y="18860"/>
                    <a:pt x="36088" y="18929"/>
                    <a:pt x="35916" y="18946"/>
                  </a:cubicBezTo>
                  <a:cubicBezTo>
                    <a:pt x="35744" y="18963"/>
                    <a:pt x="35916" y="19221"/>
                    <a:pt x="35796" y="19083"/>
                  </a:cubicBezTo>
                  <a:cubicBezTo>
                    <a:pt x="35916" y="19392"/>
                    <a:pt x="35796" y="19409"/>
                    <a:pt x="35607" y="19598"/>
                  </a:cubicBezTo>
                  <a:cubicBezTo>
                    <a:pt x="35418" y="19787"/>
                    <a:pt x="35607" y="19856"/>
                    <a:pt x="35607" y="19993"/>
                  </a:cubicBezTo>
                  <a:cubicBezTo>
                    <a:pt x="35607" y="20131"/>
                    <a:pt x="35401" y="20097"/>
                    <a:pt x="35470" y="20251"/>
                  </a:cubicBezTo>
                  <a:cubicBezTo>
                    <a:pt x="35538" y="20406"/>
                    <a:pt x="35607" y="20440"/>
                    <a:pt x="35607" y="20698"/>
                  </a:cubicBezTo>
                  <a:cubicBezTo>
                    <a:pt x="35607" y="20955"/>
                    <a:pt x="36054" y="20835"/>
                    <a:pt x="35899" y="20990"/>
                  </a:cubicBezTo>
                  <a:cubicBezTo>
                    <a:pt x="35744" y="21144"/>
                    <a:pt x="35435" y="21144"/>
                    <a:pt x="35212" y="21333"/>
                  </a:cubicBezTo>
                  <a:cubicBezTo>
                    <a:pt x="35212" y="21230"/>
                    <a:pt x="35212" y="21179"/>
                    <a:pt x="35315" y="21144"/>
                  </a:cubicBezTo>
                  <a:cubicBezTo>
                    <a:pt x="35109" y="21144"/>
                    <a:pt x="34851" y="20887"/>
                    <a:pt x="34731" y="21144"/>
                  </a:cubicBezTo>
                  <a:cubicBezTo>
                    <a:pt x="34559" y="21144"/>
                    <a:pt x="34611" y="21144"/>
                    <a:pt x="34491" y="21230"/>
                  </a:cubicBezTo>
                  <a:cubicBezTo>
                    <a:pt x="34370" y="21316"/>
                    <a:pt x="34491" y="21333"/>
                    <a:pt x="34611" y="21385"/>
                  </a:cubicBezTo>
                  <a:cubicBezTo>
                    <a:pt x="34731" y="21436"/>
                    <a:pt x="34422" y="21299"/>
                    <a:pt x="34439" y="21385"/>
                  </a:cubicBezTo>
                  <a:cubicBezTo>
                    <a:pt x="34456" y="21471"/>
                    <a:pt x="34559" y="21385"/>
                    <a:pt x="34439" y="21471"/>
                  </a:cubicBezTo>
                  <a:cubicBezTo>
                    <a:pt x="34319" y="21557"/>
                    <a:pt x="34164" y="21350"/>
                    <a:pt x="34439" y="21471"/>
                  </a:cubicBezTo>
                  <a:cubicBezTo>
                    <a:pt x="34302" y="21471"/>
                    <a:pt x="34250" y="21333"/>
                    <a:pt x="34164" y="21282"/>
                  </a:cubicBezTo>
                  <a:cubicBezTo>
                    <a:pt x="34078" y="21230"/>
                    <a:pt x="33924" y="21402"/>
                    <a:pt x="34164" y="21522"/>
                  </a:cubicBezTo>
                  <a:cubicBezTo>
                    <a:pt x="34405" y="21642"/>
                    <a:pt x="34542" y="21986"/>
                    <a:pt x="34164" y="21728"/>
                  </a:cubicBezTo>
                  <a:cubicBezTo>
                    <a:pt x="34164" y="21728"/>
                    <a:pt x="34164" y="21728"/>
                    <a:pt x="34164" y="21728"/>
                  </a:cubicBezTo>
                  <a:cubicBezTo>
                    <a:pt x="34164" y="21728"/>
                    <a:pt x="34164" y="21849"/>
                    <a:pt x="34164" y="21831"/>
                  </a:cubicBezTo>
                  <a:cubicBezTo>
                    <a:pt x="34353" y="21969"/>
                    <a:pt x="34680" y="22020"/>
                    <a:pt x="34662" y="22295"/>
                  </a:cubicBezTo>
                  <a:cubicBezTo>
                    <a:pt x="34542" y="22295"/>
                    <a:pt x="34473" y="22175"/>
                    <a:pt x="34336" y="22295"/>
                  </a:cubicBezTo>
                  <a:cubicBezTo>
                    <a:pt x="34199" y="22415"/>
                    <a:pt x="34645" y="22536"/>
                    <a:pt x="34456" y="22467"/>
                  </a:cubicBezTo>
                  <a:cubicBezTo>
                    <a:pt x="34267" y="22398"/>
                    <a:pt x="34456" y="22467"/>
                    <a:pt x="34456" y="22467"/>
                  </a:cubicBezTo>
                  <a:cubicBezTo>
                    <a:pt x="34456" y="22467"/>
                    <a:pt x="34456" y="22707"/>
                    <a:pt x="34456" y="22776"/>
                  </a:cubicBezTo>
                  <a:cubicBezTo>
                    <a:pt x="34456" y="22845"/>
                    <a:pt x="34216" y="22587"/>
                    <a:pt x="34250" y="22776"/>
                  </a:cubicBezTo>
                  <a:cubicBezTo>
                    <a:pt x="34250" y="22621"/>
                    <a:pt x="34147" y="22639"/>
                    <a:pt x="34078" y="22518"/>
                  </a:cubicBezTo>
                  <a:cubicBezTo>
                    <a:pt x="34010" y="22398"/>
                    <a:pt x="34078" y="22604"/>
                    <a:pt x="34078" y="22656"/>
                  </a:cubicBezTo>
                  <a:cubicBezTo>
                    <a:pt x="33988" y="22604"/>
                    <a:pt x="33946" y="22498"/>
                    <a:pt x="33975" y="22398"/>
                  </a:cubicBezTo>
                  <a:cubicBezTo>
                    <a:pt x="33855" y="22295"/>
                    <a:pt x="33666" y="22226"/>
                    <a:pt x="33855" y="22089"/>
                  </a:cubicBezTo>
                  <a:cubicBezTo>
                    <a:pt x="34044" y="21952"/>
                    <a:pt x="34199" y="22261"/>
                    <a:pt x="34353" y="22089"/>
                  </a:cubicBezTo>
                  <a:cubicBezTo>
                    <a:pt x="34216" y="22089"/>
                    <a:pt x="34061" y="21917"/>
                    <a:pt x="33958" y="22089"/>
                  </a:cubicBezTo>
                  <a:cubicBezTo>
                    <a:pt x="33855" y="22261"/>
                    <a:pt x="33838" y="21969"/>
                    <a:pt x="33786" y="22089"/>
                  </a:cubicBezTo>
                  <a:cubicBezTo>
                    <a:pt x="33546" y="21849"/>
                    <a:pt x="33374" y="21471"/>
                    <a:pt x="33065" y="21316"/>
                  </a:cubicBezTo>
                  <a:cubicBezTo>
                    <a:pt x="33065" y="21127"/>
                    <a:pt x="33065" y="20921"/>
                    <a:pt x="33065" y="20732"/>
                  </a:cubicBezTo>
                  <a:cubicBezTo>
                    <a:pt x="32859" y="20732"/>
                    <a:pt x="32739" y="20457"/>
                    <a:pt x="32584" y="20320"/>
                  </a:cubicBezTo>
                  <a:cubicBezTo>
                    <a:pt x="32429" y="20182"/>
                    <a:pt x="32326" y="20320"/>
                    <a:pt x="32275" y="20320"/>
                  </a:cubicBezTo>
                  <a:cubicBezTo>
                    <a:pt x="32223" y="20320"/>
                    <a:pt x="32275" y="20320"/>
                    <a:pt x="32395" y="20320"/>
                  </a:cubicBezTo>
                  <a:cubicBezTo>
                    <a:pt x="32515" y="20320"/>
                    <a:pt x="32103" y="20062"/>
                    <a:pt x="31931" y="20131"/>
                  </a:cubicBezTo>
                  <a:cubicBezTo>
                    <a:pt x="31759" y="20200"/>
                    <a:pt x="31416" y="19839"/>
                    <a:pt x="31742" y="19856"/>
                  </a:cubicBezTo>
                  <a:cubicBezTo>
                    <a:pt x="31347" y="19616"/>
                    <a:pt x="31536" y="19135"/>
                    <a:pt x="31175" y="19633"/>
                  </a:cubicBezTo>
                  <a:cubicBezTo>
                    <a:pt x="31175" y="19530"/>
                    <a:pt x="31038" y="19409"/>
                    <a:pt x="31175" y="19306"/>
                  </a:cubicBezTo>
                  <a:cubicBezTo>
                    <a:pt x="31313" y="19203"/>
                    <a:pt x="30832" y="19306"/>
                    <a:pt x="30746" y="19427"/>
                  </a:cubicBezTo>
                  <a:cubicBezTo>
                    <a:pt x="30746" y="19942"/>
                    <a:pt x="31347" y="20268"/>
                    <a:pt x="31656" y="20681"/>
                  </a:cubicBezTo>
                  <a:cubicBezTo>
                    <a:pt x="31811" y="20681"/>
                    <a:pt x="32223" y="20681"/>
                    <a:pt x="31983" y="20887"/>
                  </a:cubicBezTo>
                  <a:cubicBezTo>
                    <a:pt x="32223" y="21024"/>
                    <a:pt x="32979" y="21161"/>
                    <a:pt x="32807" y="21539"/>
                  </a:cubicBezTo>
                  <a:cubicBezTo>
                    <a:pt x="32653" y="21539"/>
                    <a:pt x="32807" y="21282"/>
                    <a:pt x="32532" y="21333"/>
                  </a:cubicBezTo>
                  <a:cubicBezTo>
                    <a:pt x="32258" y="21385"/>
                    <a:pt x="32258" y="21539"/>
                    <a:pt x="32309" y="21625"/>
                  </a:cubicBezTo>
                  <a:cubicBezTo>
                    <a:pt x="32670" y="21728"/>
                    <a:pt x="32309" y="21934"/>
                    <a:pt x="32309" y="22141"/>
                  </a:cubicBezTo>
                  <a:cubicBezTo>
                    <a:pt x="32309" y="22347"/>
                    <a:pt x="31845" y="22415"/>
                    <a:pt x="32086" y="22141"/>
                  </a:cubicBezTo>
                  <a:cubicBezTo>
                    <a:pt x="32197" y="21856"/>
                    <a:pt x="32069" y="21534"/>
                    <a:pt x="31794" y="21402"/>
                  </a:cubicBezTo>
                  <a:cubicBezTo>
                    <a:pt x="31639" y="21402"/>
                    <a:pt x="31794" y="21282"/>
                    <a:pt x="31656" y="21230"/>
                  </a:cubicBezTo>
                  <a:cubicBezTo>
                    <a:pt x="31518" y="21226"/>
                    <a:pt x="31393" y="21147"/>
                    <a:pt x="31330" y="21024"/>
                  </a:cubicBezTo>
                  <a:cubicBezTo>
                    <a:pt x="30317" y="21024"/>
                    <a:pt x="30145" y="18980"/>
                    <a:pt x="29080" y="20217"/>
                  </a:cubicBezTo>
                  <a:cubicBezTo>
                    <a:pt x="29080" y="20423"/>
                    <a:pt x="28736" y="20217"/>
                    <a:pt x="28633" y="20114"/>
                  </a:cubicBezTo>
                  <a:cubicBezTo>
                    <a:pt x="27568" y="19993"/>
                    <a:pt x="28633" y="20921"/>
                    <a:pt x="27448" y="21093"/>
                  </a:cubicBezTo>
                  <a:cubicBezTo>
                    <a:pt x="27534" y="21093"/>
                    <a:pt x="27448" y="21265"/>
                    <a:pt x="27448" y="21213"/>
                  </a:cubicBezTo>
                  <a:cubicBezTo>
                    <a:pt x="26744" y="21763"/>
                    <a:pt x="27448" y="21728"/>
                    <a:pt x="27191" y="22003"/>
                  </a:cubicBezTo>
                  <a:cubicBezTo>
                    <a:pt x="26950" y="22003"/>
                    <a:pt x="27070" y="22450"/>
                    <a:pt x="26847" y="22398"/>
                  </a:cubicBezTo>
                  <a:cubicBezTo>
                    <a:pt x="26418" y="22862"/>
                    <a:pt x="25919" y="22398"/>
                    <a:pt x="25421" y="22896"/>
                  </a:cubicBezTo>
                  <a:cubicBezTo>
                    <a:pt x="25095" y="22896"/>
                    <a:pt x="25147" y="22192"/>
                    <a:pt x="24700" y="22501"/>
                  </a:cubicBezTo>
                  <a:cubicBezTo>
                    <a:pt x="24700" y="22501"/>
                    <a:pt x="24494" y="22364"/>
                    <a:pt x="24408" y="22501"/>
                  </a:cubicBezTo>
                  <a:cubicBezTo>
                    <a:pt x="24426" y="22310"/>
                    <a:pt x="24460" y="22120"/>
                    <a:pt x="24511" y="21934"/>
                  </a:cubicBezTo>
                  <a:cubicBezTo>
                    <a:pt x="24185" y="21934"/>
                    <a:pt x="24511" y="21934"/>
                    <a:pt x="24511" y="21763"/>
                  </a:cubicBezTo>
                  <a:cubicBezTo>
                    <a:pt x="24099" y="22020"/>
                    <a:pt x="24614" y="21299"/>
                    <a:pt x="24631" y="21144"/>
                  </a:cubicBezTo>
                  <a:cubicBezTo>
                    <a:pt x="24648" y="20990"/>
                    <a:pt x="24631" y="20595"/>
                    <a:pt x="24734" y="20457"/>
                  </a:cubicBezTo>
                  <a:lnTo>
                    <a:pt x="24734" y="20457"/>
                  </a:lnTo>
                  <a:cubicBezTo>
                    <a:pt x="24734" y="20457"/>
                    <a:pt x="24734" y="20457"/>
                    <a:pt x="24734" y="20337"/>
                  </a:cubicBezTo>
                  <a:cubicBezTo>
                    <a:pt x="24734" y="20217"/>
                    <a:pt x="24734" y="20337"/>
                    <a:pt x="24734" y="20234"/>
                  </a:cubicBezTo>
                  <a:cubicBezTo>
                    <a:pt x="24734" y="20131"/>
                    <a:pt x="24940" y="20097"/>
                    <a:pt x="25026" y="20045"/>
                  </a:cubicBezTo>
                  <a:cubicBezTo>
                    <a:pt x="25112" y="19993"/>
                    <a:pt x="25404" y="20045"/>
                    <a:pt x="25490" y="20045"/>
                  </a:cubicBezTo>
                  <a:cubicBezTo>
                    <a:pt x="25851" y="20045"/>
                    <a:pt x="26246" y="20217"/>
                    <a:pt x="26607" y="20131"/>
                  </a:cubicBezTo>
                  <a:cubicBezTo>
                    <a:pt x="27242" y="20629"/>
                    <a:pt x="26847" y="18911"/>
                    <a:pt x="27276" y="19564"/>
                  </a:cubicBezTo>
                  <a:cubicBezTo>
                    <a:pt x="27276" y="19461"/>
                    <a:pt x="27173" y="19306"/>
                    <a:pt x="27053" y="19289"/>
                  </a:cubicBezTo>
                  <a:cubicBezTo>
                    <a:pt x="27225" y="19066"/>
                    <a:pt x="26899" y="19014"/>
                    <a:pt x="26813" y="18860"/>
                  </a:cubicBezTo>
                  <a:cubicBezTo>
                    <a:pt x="26727" y="18705"/>
                    <a:pt x="26813" y="18619"/>
                    <a:pt x="26950" y="18722"/>
                  </a:cubicBezTo>
                  <a:cubicBezTo>
                    <a:pt x="26847" y="18568"/>
                    <a:pt x="26727" y="18825"/>
                    <a:pt x="26727" y="18551"/>
                  </a:cubicBezTo>
                  <a:cubicBezTo>
                    <a:pt x="26607" y="18551"/>
                    <a:pt x="26400" y="18345"/>
                    <a:pt x="26229" y="18465"/>
                  </a:cubicBezTo>
                  <a:cubicBezTo>
                    <a:pt x="26057" y="18585"/>
                    <a:pt x="26229" y="18465"/>
                    <a:pt x="26229" y="18345"/>
                  </a:cubicBezTo>
                  <a:cubicBezTo>
                    <a:pt x="26229" y="18224"/>
                    <a:pt x="26332" y="18190"/>
                    <a:pt x="26229" y="18345"/>
                  </a:cubicBezTo>
                  <a:cubicBezTo>
                    <a:pt x="26126" y="18499"/>
                    <a:pt x="26229" y="18345"/>
                    <a:pt x="26229" y="18345"/>
                  </a:cubicBezTo>
                  <a:cubicBezTo>
                    <a:pt x="25851" y="18224"/>
                    <a:pt x="26435" y="18207"/>
                    <a:pt x="26555" y="18121"/>
                  </a:cubicBezTo>
                  <a:cubicBezTo>
                    <a:pt x="26692" y="18293"/>
                    <a:pt x="26795" y="18121"/>
                    <a:pt x="27019" y="18241"/>
                  </a:cubicBezTo>
                  <a:cubicBezTo>
                    <a:pt x="26989" y="18096"/>
                    <a:pt x="26949" y="17952"/>
                    <a:pt x="26899" y="17812"/>
                  </a:cubicBezTo>
                  <a:cubicBezTo>
                    <a:pt x="26899" y="17812"/>
                    <a:pt x="27053" y="17812"/>
                    <a:pt x="27105" y="17812"/>
                  </a:cubicBezTo>
                  <a:cubicBezTo>
                    <a:pt x="27156" y="17812"/>
                    <a:pt x="27397" y="18001"/>
                    <a:pt x="27500" y="17812"/>
                  </a:cubicBezTo>
                  <a:cubicBezTo>
                    <a:pt x="27259" y="17623"/>
                    <a:pt x="27775" y="17709"/>
                    <a:pt x="27775" y="17606"/>
                  </a:cubicBezTo>
                  <a:cubicBezTo>
                    <a:pt x="27775" y="17503"/>
                    <a:pt x="27860" y="17383"/>
                    <a:pt x="27895" y="17280"/>
                  </a:cubicBezTo>
                  <a:cubicBezTo>
                    <a:pt x="27929" y="17177"/>
                    <a:pt x="28204" y="16988"/>
                    <a:pt x="28444" y="17125"/>
                  </a:cubicBezTo>
                  <a:cubicBezTo>
                    <a:pt x="28273" y="17125"/>
                    <a:pt x="28221" y="16919"/>
                    <a:pt x="28444" y="17125"/>
                  </a:cubicBezTo>
                  <a:cubicBezTo>
                    <a:pt x="28668" y="17331"/>
                    <a:pt x="28324" y="17005"/>
                    <a:pt x="28547" y="17022"/>
                  </a:cubicBezTo>
                  <a:cubicBezTo>
                    <a:pt x="28187" y="16764"/>
                    <a:pt x="28925" y="16112"/>
                    <a:pt x="29286" y="16438"/>
                  </a:cubicBezTo>
                  <a:cubicBezTo>
                    <a:pt x="29028" y="16249"/>
                    <a:pt x="29389" y="16112"/>
                    <a:pt x="29458" y="16438"/>
                  </a:cubicBezTo>
                  <a:cubicBezTo>
                    <a:pt x="29458" y="16197"/>
                    <a:pt x="29458" y="16438"/>
                    <a:pt x="29595" y="16438"/>
                  </a:cubicBezTo>
                  <a:cubicBezTo>
                    <a:pt x="29441" y="16026"/>
                    <a:pt x="29750" y="16232"/>
                    <a:pt x="29956" y="16301"/>
                  </a:cubicBezTo>
                  <a:cubicBezTo>
                    <a:pt x="29389" y="16043"/>
                    <a:pt x="29544" y="15493"/>
                    <a:pt x="29389" y="15115"/>
                  </a:cubicBezTo>
                  <a:cubicBezTo>
                    <a:pt x="29630" y="15115"/>
                    <a:pt x="29527" y="14961"/>
                    <a:pt x="29664" y="15115"/>
                  </a:cubicBezTo>
                  <a:cubicBezTo>
                    <a:pt x="29664" y="14634"/>
                    <a:pt x="29836" y="15115"/>
                    <a:pt x="30025" y="15115"/>
                  </a:cubicBezTo>
                  <a:cubicBezTo>
                    <a:pt x="30025" y="15373"/>
                    <a:pt x="29527" y="15528"/>
                    <a:pt x="29922" y="16009"/>
                  </a:cubicBezTo>
                  <a:cubicBezTo>
                    <a:pt x="29922" y="15888"/>
                    <a:pt x="30334" y="16009"/>
                    <a:pt x="30059" y="16094"/>
                  </a:cubicBezTo>
                  <a:cubicBezTo>
                    <a:pt x="30591" y="16094"/>
                    <a:pt x="30385" y="15768"/>
                    <a:pt x="30883" y="16094"/>
                  </a:cubicBezTo>
                  <a:cubicBezTo>
                    <a:pt x="31124" y="16472"/>
                    <a:pt x="31656" y="15356"/>
                    <a:pt x="32103" y="15768"/>
                  </a:cubicBezTo>
                  <a:cubicBezTo>
                    <a:pt x="31828" y="15768"/>
                    <a:pt x="32103" y="16043"/>
                    <a:pt x="32326" y="15768"/>
                  </a:cubicBezTo>
                  <a:cubicBezTo>
                    <a:pt x="32299" y="15829"/>
                    <a:pt x="32250" y="15878"/>
                    <a:pt x="32189" y="15905"/>
                  </a:cubicBezTo>
                  <a:cubicBezTo>
                    <a:pt x="34078" y="15820"/>
                    <a:pt x="31656" y="15270"/>
                    <a:pt x="32704" y="14497"/>
                  </a:cubicBezTo>
                  <a:cubicBezTo>
                    <a:pt x="33082" y="15081"/>
                    <a:pt x="33202" y="14686"/>
                    <a:pt x="33031" y="14222"/>
                  </a:cubicBezTo>
                  <a:cubicBezTo>
                    <a:pt x="33031" y="14428"/>
                    <a:pt x="32739" y="14222"/>
                    <a:pt x="32842" y="14068"/>
                  </a:cubicBezTo>
                  <a:cubicBezTo>
                    <a:pt x="32532" y="14068"/>
                    <a:pt x="32842" y="13758"/>
                    <a:pt x="32842" y="13690"/>
                  </a:cubicBezTo>
                  <a:cubicBezTo>
                    <a:pt x="32842" y="13621"/>
                    <a:pt x="33082" y="13690"/>
                    <a:pt x="32979" y="13690"/>
                  </a:cubicBezTo>
                  <a:lnTo>
                    <a:pt x="33615" y="13793"/>
                  </a:lnTo>
                  <a:cubicBezTo>
                    <a:pt x="33426" y="13501"/>
                    <a:pt x="33615" y="13690"/>
                    <a:pt x="33752" y="13466"/>
                  </a:cubicBezTo>
                  <a:cubicBezTo>
                    <a:pt x="33889" y="13243"/>
                    <a:pt x="33305" y="13363"/>
                    <a:pt x="33546" y="13192"/>
                  </a:cubicBezTo>
                  <a:cubicBezTo>
                    <a:pt x="33546" y="13192"/>
                    <a:pt x="33426" y="13295"/>
                    <a:pt x="33408" y="13192"/>
                  </a:cubicBezTo>
                  <a:cubicBezTo>
                    <a:pt x="33408" y="13346"/>
                    <a:pt x="33099" y="13363"/>
                    <a:pt x="33031" y="13312"/>
                  </a:cubicBezTo>
                  <a:cubicBezTo>
                    <a:pt x="32962" y="13260"/>
                    <a:pt x="33031" y="13312"/>
                    <a:pt x="33031" y="13312"/>
                  </a:cubicBezTo>
                  <a:cubicBezTo>
                    <a:pt x="33031" y="13312"/>
                    <a:pt x="33031" y="13552"/>
                    <a:pt x="33031" y="13312"/>
                  </a:cubicBezTo>
                  <a:cubicBezTo>
                    <a:pt x="33031" y="13449"/>
                    <a:pt x="32601" y="13466"/>
                    <a:pt x="32567" y="13621"/>
                  </a:cubicBezTo>
                  <a:cubicBezTo>
                    <a:pt x="32567" y="13312"/>
                    <a:pt x="32412" y="13415"/>
                    <a:pt x="32172" y="13260"/>
                  </a:cubicBezTo>
                  <a:cubicBezTo>
                    <a:pt x="31931" y="13106"/>
                    <a:pt x="31691" y="12144"/>
                    <a:pt x="31914" y="12058"/>
                  </a:cubicBezTo>
                  <a:cubicBezTo>
                    <a:pt x="32137" y="11972"/>
                    <a:pt x="31914" y="11972"/>
                    <a:pt x="32017" y="12058"/>
                  </a:cubicBezTo>
                  <a:cubicBezTo>
                    <a:pt x="32120" y="12144"/>
                    <a:pt x="32017" y="11921"/>
                    <a:pt x="32017" y="11817"/>
                  </a:cubicBezTo>
                  <a:cubicBezTo>
                    <a:pt x="32017" y="11714"/>
                    <a:pt x="32240" y="11354"/>
                    <a:pt x="32309" y="11457"/>
                  </a:cubicBezTo>
                  <a:cubicBezTo>
                    <a:pt x="32103" y="11010"/>
                    <a:pt x="31708" y="11148"/>
                    <a:pt x="31502" y="11182"/>
                  </a:cubicBezTo>
                  <a:cubicBezTo>
                    <a:pt x="31622" y="11354"/>
                    <a:pt x="31502" y="11577"/>
                    <a:pt x="31656" y="11714"/>
                  </a:cubicBezTo>
                  <a:cubicBezTo>
                    <a:pt x="31532" y="12056"/>
                    <a:pt x="31318" y="12359"/>
                    <a:pt x="31038" y="12590"/>
                  </a:cubicBezTo>
                  <a:cubicBezTo>
                    <a:pt x="31158" y="12676"/>
                    <a:pt x="31038" y="12848"/>
                    <a:pt x="31175" y="12968"/>
                  </a:cubicBezTo>
                  <a:cubicBezTo>
                    <a:pt x="30883" y="13123"/>
                    <a:pt x="32189" y="13999"/>
                    <a:pt x="31382" y="13793"/>
                  </a:cubicBezTo>
                  <a:cubicBezTo>
                    <a:pt x="31382" y="13793"/>
                    <a:pt x="30901" y="13793"/>
                    <a:pt x="31210" y="13913"/>
                  </a:cubicBezTo>
                  <a:cubicBezTo>
                    <a:pt x="31519" y="14033"/>
                    <a:pt x="31811" y="14119"/>
                    <a:pt x="31485" y="14050"/>
                  </a:cubicBezTo>
                  <a:cubicBezTo>
                    <a:pt x="31485" y="14050"/>
                    <a:pt x="31485" y="14257"/>
                    <a:pt x="31364" y="14188"/>
                  </a:cubicBezTo>
                  <a:cubicBezTo>
                    <a:pt x="31244" y="14119"/>
                    <a:pt x="31467" y="14325"/>
                    <a:pt x="31364" y="14342"/>
                  </a:cubicBezTo>
                  <a:cubicBezTo>
                    <a:pt x="31485" y="14342"/>
                    <a:pt x="31519" y="14600"/>
                    <a:pt x="31364" y="14514"/>
                  </a:cubicBezTo>
                  <a:cubicBezTo>
                    <a:pt x="31502" y="14789"/>
                    <a:pt x="31519" y="15510"/>
                    <a:pt x="31090" y="15236"/>
                  </a:cubicBezTo>
                  <a:cubicBezTo>
                    <a:pt x="30815" y="16301"/>
                    <a:pt x="30059" y="14153"/>
                    <a:pt x="30162" y="14050"/>
                  </a:cubicBezTo>
                  <a:cubicBezTo>
                    <a:pt x="29990" y="13947"/>
                    <a:pt x="29939" y="13844"/>
                    <a:pt x="29939" y="13810"/>
                  </a:cubicBezTo>
                  <a:cubicBezTo>
                    <a:pt x="29958" y="13906"/>
                    <a:pt x="29958" y="14006"/>
                    <a:pt x="29939" y="14102"/>
                  </a:cubicBezTo>
                  <a:cubicBezTo>
                    <a:pt x="29939" y="14102"/>
                    <a:pt x="29939" y="14102"/>
                    <a:pt x="29733" y="13965"/>
                  </a:cubicBezTo>
                  <a:cubicBezTo>
                    <a:pt x="29733" y="14119"/>
                    <a:pt x="29733" y="14360"/>
                    <a:pt x="29595" y="14291"/>
                  </a:cubicBezTo>
                  <a:cubicBezTo>
                    <a:pt x="29733" y="14463"/>
                    <a:pt x="29286" y="14583"/>
                    <a:pt x="29183" y="14428"/>
                  </a:cubicBezTo>
                  <a:cubicBezTo>
                    <a:pt x="29080" y="14549"/>
                    <a:pt x="28651" y="14050"/>
                    <a:pt x="29183" y="14102"/>
                  </a:cubicBezTo>
                  <a:cubicBezTo>
                    <a:pt x="28960" y="14102"/>
                    <a:pt x="29183" y="13999"/>
                    <a:pt x="29011" y="13879"/>
                  </a:cubicBezTo>
                  <a:cubicBezTo>
                    <a:pt x="29011" y="14188"/>
                    <a:pt x="28771" y="13690"/>
                    <a:pt x="29011" y="13879"/>
                  </a:cubicBezTo>
                  <a:cubicBezTo>
                    <a:pt x="29252" y="14068"/>
                    <a:pt x="29011" y="13879"/>
                    <a:pt x="29166" y="13776"/>
                  </a:cubicBezTo>
                  <a:cubicBezTo>
                    <a:pt x="28960" y="13776"/>
                    <a:pt x="29166" y="13449"/>
                    <a:pt x="29166" y="13655"/>
                  </a:cubicBezTo>
                  <a:cubicBezTo>
                    <a:pt x="29118" y="13609"/>
                    <a:pt x="29118" y="13533"/>
                    <a:pt x="29164" y="13485"/>
                  </a:cubicBezTo>
                  <a:cubicBezTo>
                    <a:pt x="29165" y="13485"/>
                    <a:pt x="29165" y="13484"/>
                    <a:pt x="29166" y="13484"/>
                  </a:cubicBezTo>
                  <a:cubicBezTo>
                    <a:pt x="28943" y="13569"/>
                    <a:pt x="28822" y="13724"/>
                    <a:pt x="28943" y="13484"/>
                  </a:cubicBezTo>
                  <a:cubicBezTo>
                    <a:pt x="28788" y="13484"/>
                    <a:pt x="28736" y="13569"/>
                    <a:pt x="28943" y="13381"/>
                  </a:cubicBezTo>
                  <a:cubicBezTo>
                    <a:pt x="28599" y="13243"/>
                    <a:pt x="29544" y="13484"/>
                    <a:pt x="29355" y="13157"/>
                  </a:cubicBezTo>
                  <a:cubicBezTo>
                    <a:pt x="29355" y="13329"/>
                    <a:pt x="28582" y="13295"/>
                    <a:pt x="28994" y="13157"/>
                  </a:cubicBezTo>
                  <a:cubicBezTo>
                    <a:pt x="28651" y="13157"/>
                    <a:pt x="28994" y="13037"/>
                    <a:pt x="29183" y="13020"/>
                  </a:cubicBezTo>
                  <a:cubicBezTo>
                    <a:pt x="28822" y="13020"/>
                    <a:pt x="28754" y="12831"/>
                    <a:pt x="29046" y="12917"/>
                  </a:cubicBezTo>
                  <a:cubicBezTo>
                    <a:pt x="28960" y="12917"/>
                    <a:pt x="29046" y="12779"/>
                    <a:pt x="29183" y="12917"/>
                  </a:cubicBezTo>
                  <a:lnTo>
                    <a:pt x="29183" y="12797"/>
                  </a:lnTo>
                  <a:cubicBezTo>
                    <a:pt x="29183" y="12797"/>
                    <a:pt x="29183" y="12797"/>
                    <a:pt x="29441" y="12797"/>
                  </a:cubicBezTo>
                  <a:cubicBezTo>
                    <a:pt x="29114" y="12797"/>
                    <a:pt x="29303" y="12590"/>
                    <a:pt x="29578" y="12797"/>
                  </a:cubicBezTo>
                  <a:cubicBezTo>
                    <a:pt x="29217" y="12505"/>
                    <a:pt x="29578" y="12797"/>
                    <a:pt x="29578" y="12676"/>
                  </a:cubicBezTo>
                  <a:cubicBezTo>
                    <a:pt x="29578" y="12556"/>
                    <a:pt x="29922" y="12213"/>
                    <a:pt x="29767" y="12676"/>
                  </a:cubicBezTo>
                  <a:cubicBezTo>
                    <a:pt x="30007" y="12539"/>
                    <a:pt x="29973" y="12539"/>
                    <a:pt x="30059" y="12298"/>
                  </a:cubicBezTo>
                  <a:cubicBezTo>
                    <a:pt x="30145" y="12058"/>
                    <a:pt x="29784" y="12814"/>
                    <a:pt x="29801" y="12419"/>
                  </a:cubicBezTo>
                  <a:cubicBezTo>
                    <a:pt x="29664" y="12522"/>
                    <a:pt x="29801" y="12161"/>
                    <a:pt x="29801" y="12195"/>
                  </a:cubicBezTo>
                  <a:cubicBezTo>
                    <a:pt x="29801" y="12230"/>
                    <a:pt x="29990" y="12006"/>
                    <a:pt x="30145" y="11766"/>
                  </a:cubicBezTo>
                  <a:cubicBezTo>
                    <a:pt x="29990" y="11886"/>
                    <a:pt x="30059" y="11525"/>
                    <a:pt x="30145" y="11611"/>
                  </a:cubicBezTo>
                  <a:cubicBezTo>
                    <a:pt x="30231" y="11697"/>
                    <a:pt x="30145" y="11440"/>
                    <a:pt x="30145" y="11525"/>
                  </a:cubicBezTo>
                  <a:cubicBezTo>
                    <a:pt x="30042" y="11319"/>
                    <a:pt x="30145" y="11440"/>
                    <a:pt x="30145" y="11337"/>
                  </a:cubicBezTo>
                  <a:cubicBezTo>
                    <a:pt x="29939" y="11337"/>
                    <a:pt x="30145" y="11233"/>
                    <a:pt x="30025" y="11148"/>
                  </a:cubicBezTo>
                  <a:cubicBezTo>
                    <a:pt x="29904" y="11062"/>
                    <a:pt x="30025" y="10821"/>
                    <a:pt x="30334" y="10976"/>
                  </a:cubicBezTo>
                  <a:cubicBezTo>
                    <a:pt x="30179" y="10890"/>
                    <a:pt x="30111" y="10735"/>
                    <a:pt x="30334" y="10838"/>
                  </a:cubicBezTo>
                  <a:cubicBezTo>
                    <a:pt x="30557" y="10941"/>
                    <a:pt x="30162" y="10701"/>
                    <a:pt x="30334" y="10684"/>
                  </a:cubicBezTo>
                  <a:cubicBezTo>
                    <a:pt x="30042" y="10684"/>
                    <a:pt x="30334" y="10684"/>
                    <a:pt x="30334" y="10478"/>
                  </a:cubicBezTo>
                  <a:cubicBezTo>
                    <a:pt x="30523" y="10478"/>
                    <a:pt x="30488" y="10478"/>
                    <a:pt x="30506" y="10478"/>
                  </a:cubicBezTo>
                  <a:cubicBezTo>
                    <a:pt x="30918" y="10564"/>
                    <a:pt x="30214" y="10323"/>
                    <a:pt x="30506" y="10323"/>
                  </a:cubicBezTo>
                  <a:cubicBezTo>
                    <a:pt x="30506" y="10323"/>
                    <a:pt x="30506" y="10220"/>
                    <a:pt x="30506" y="10220"/>
                  </a:cubicBezTo>
                  <a:cubicBezTo>
                    <a:pt x="30506" y="10220"/>
                    <a:pt x="30506" y="9911"/>
                    <a:pt x="30609" y="10117"/>
                  </a:cubicBezTo>
                  <a:cubicBezTo>
                    <a:pt x="30712" y="10323"/>
                    <a:pt x="30609" y="10117"/>
                    <a:pt x="30609" y="10117"/>
                  </a:cubicBezTo>
                  <a:cubicBezTo>
                    <a:pt x="30385" y="9980"/>
                    <a:pt x="30609" y="10014"/>
                    <a:pt x="30609" y="10117"/>
                  </a:cubicBezTo>
                  <a:cubicBezTo>
                    <a:pt x="30609" y="10220"/>
                    <a:pt x="30609" y="9773"/>
                    <a:pt x="30609" y="10117"/>
                  </a:cubicBezTo>
                  <a:cubicBezTo>
                    <a:pt x="30609" y="9670"/>
                    <a:pt x="30609" y="10237"/>
                    <a:pt x="30798" y="10117"/>
                  </a:cubicBezTo>
                  <a:cubicBezTo>
                    <a:pt x="30609" y="9773"/>
                    <a:pt x="31021" y="10117"/>
                    <a:pt x="30798" y="9739"/>
                  </a:cubicBezTo>
                  <a:cubicBezTo>
                    <a:pt x="30901" y="9739"/>
                    <a:pt x="31038" y="9911"/>
                    <a:pt x="31124" y="9894"/>
                  </a:cubicBezTo>
                  <a:cubicBezTo>
                    <a:pt x="31210" y="9877"/>
                    <a:pt x="31124" y="9602"/>
                    <a:pt x="31124" y="9619"/>
                  </a:cubicBezTo>
                  <a:cubicBezTo>
                    <a:pt x="31124" y="9636"/>
                    <a:pt x="30969" y="9464"/>
                    <a:pt x="31124" y="9619"/>
                  </a:cubicBezTo>
                  <a:cubicBezTo>
                    <a:pt x="31279" y="9773"/>
                    <a:pt x="31124" y="9499"/>
                    <a:pt x="31124" y="9619"/>
                  </a:cubicBezTo>
                  <a:cubicBezTo>
                    <a:pt x="31244" y="9447"/>
                    <a:pt x="31279" y="10426"/>
                    <a:pt x="31261" y="9619"/>
                  </a:cubicBezTo>
                  <a:cubicBezTo>
                    <a:pt x="31536" y="10134"/>
                    <a:pt x="31261" y="9516"/>
                    <a:pt x="31450" y="9499"/>
                  </a:cubicBezTo>
                  <a:cubicBezTo>
                    <a:pt x="31639" y="9481"/>
                    <a:pt x="31450" y="9653"/>
                    <a:pt x="31553" y="9842"/>
                  </a:cubicBezTo>
                  <a:cubicBezTo>
                    <a:pt x="31656" y="10031"/>
                    <a:pt x="31639" y="9842"/>
                    <a:pt x="31674" y="9842"/>
                  </a:cubicBezTo>
                  <a:cubicBezTo>
                    <a:pt x="31502" y="9499"/>
                    <a:pt x="31863" y="9688"/>
                    <a:pt x="31845" y="9842"/>
                  </a:cubicBezTo>
                  <a:cubicBezTo>
                    <a:pt x="32172" y="9842"/>
                    <a:pt x="32051" y="10134"/>
                    <a:pt x="31742" y="10031"/>
                  </a:cubicBezTo>
                  <a:cubicBezTo>
                    <a:pt x="31845" y="10031"/>
                    <a:pt x="31948" y="10031"/>
                    <a:pt x="32000" y="10220"/>
                  </a:cubicBezTo>
                  <a:cubicBezTo>
                    <a:pt x="32051" y="10409"/>
                    <a:pt x="32120" y="10083"/>
                    <a:pt x="32275" y="10220"/>
                  </a:cubicBezTo>
                  <a:cubicBezTo>
                    <a:pt x="32275" y="10100"/>
                    <a:pt x="32275" y="10117"/>
                    <a:pt x="32275" y="10048"/>
                  </a:cubicBezTo>
                  <a:cubicBezTo>
                    <a:pt x="32275" y="9980"/>
                    <a:pt x="32653" y="10306"/>
                    <a:pt x="32378" y="10048"/>
                  </a:cubicBezTo>
                  <a:cubicBezTo>
                    <a:pt x="32378" y="10237"/>
                    <a:pt x="32567" y="10048"/>
                    <a:pt x="32584" y="10220"/>
                  </a:cubicBezTo>
                  <a:cubicBezTo>
                    <a:pt x="32601" y="10392"/>
                    <a:pt x="33220" y="10220"/>
                    <a:pt x="33683" y="10529"/>
                  </a:cubicBezTo>
                  <a:cubicBezTo>
                    <a:pt x="33563" y="10392"/>
                    <a:pt x="34044" y="10735"/>
                    <a:pt x="33804" y="10529"/>
                  </a:cubicBezTo>
                  <a:cubicBezTo>
                    <a:pt x="34697" y="10838"/>
                    <a:pt x="34611" y="11852"/>
                    <a:pt x="33597" y="11354"/>
                  </a:cubicBezTo>
                  <a:cubicBezTo>
                    <a:pt x="33477" y="11354"/>
                    <a:pt x="33477" y="11354"/>
                    <a:pt x="33426" y="11354"/>
                  </a:cubicBezTo>
                  <a:cubicBezTo>
                    <a:pt x="33374" y="11354"/>
                    <a:pt x="32910" y="11096"/>
                    <a:pt x="33065" y="11354"/>
                  </a:cubicBezTo>
                  <a:cubicBezTo>
                    <a:pt x="33220" y="11611"/>
                    <a:pt x="33460" y="11491"/>
                    <a:pt x="33357" y="11663"/>
                  </a:cubicBezTo>
                  <a:cubicBezTo>
                    <a:pt x="33632" y="11663"/>
                    <a:pt x="34834" y="13277"/>
                    <a:pt x="34576" y="12333"/>
                  </a:cubicBezTo>
                  <a:cubicBezTo>
                    <a:pt x="34388" y="12505"/>
                    <a:pt x="34113" y="12058"/>
                    <a:pt x="34250" y="12006"/>
                  </a:cubicBezTo>
                  <a:cubicBezTo>
                    <a:pt x="35693" y="12917"/>
                    <a:pt x="33975" y="11148"/>
                    <a:pt x="34972" y="11474"/>
                  </a:cubicBezTo>
                  <a:cubicBezTo>
                    <a:pt x="34972" y="11337"/>
                    <a:pt x="35092" y="11474"/>
                    <a:pt x="35143" y="11474"/>
                  </a:cubicBezTo>
                  <a:cubicBezTo>
                    <a:pt x="34895" y="11040"/>
                    <a:pt x="34569" y="10656"/>
                    <a:pt x="34181" y="10340"/>
                  </a:cubicBezTo>
                  <a:cubicBezTo>
                    <a:pt x="34491" y="10340"/>
                    <a:pt x="34972" y="10443"/>
                    <a:pt x="34800" y="10753"/>
                  </a:cubicBezTo>
                  <a:cubicBezTo>
                    <a:pt x="35195" y="11354"/>
                    <a:pt x="35349" y="10753"/>
                    <a:pt x="35143" y="10529"/>
                  </a:cubicBezTo>
                  <a:cubicBezTo>
                    <a:pt x="35315" y="10529"/>
                    <a:pt x="35143" y="9945"/>
                    <a:pt x="35401" y="10289"/>
                  </a:cubicBezTo>
                  <a:cubicBezTo>
                    <a:pt x="35401" y="10186"/>
                    <a:pt x="35178" y="9980"/>
                    <a:pt x="35401" y="10151"/>
                  </a:cubicBezTo>
                  <a:cubicBezTo>
                    <a:pt x="35229" y="9705"/>
                    <a:pt x="35521" y="10151"/>
                    <a:pt x="35727" y="10306"/>
                  </a:cubicBezTo>
                  <a:cubicBezTo>
                    <a:pt x="35727" y="10203"/>
                    <a:pt x="35727" y="10169"/>
                    <a:pt x="35727" y="10306"/>
                  </a:cubicBezTo>
                  <a:cubicBezTo>
                    <a:pt x="35504" y="10048"/>
                    <a:pt x="35882" y="10134"/>
                    <a:pt x="35830" y="9842"/>
                  </a:cubicBezTo>
                  <a:cubicBezTo>
                    <a:pt x="35951" y="9997"/>
                    <a:pt x="36311" y="10272"/>
                    <a:pt x="36019" y="9945"/>
                  </a:cubicBezTo>
                  <a:cubicBezTo>
                    <a:pt x="36191" y="9945"/>
                    <a:pt x="35916" y="9791"/>
                    <a:pt x="36122" y="9945"/>
                  </a:cubicBezTo>
                  <a:cubicBezTo>
                    <a:pt x="36035" y="9882"/>
                    <a:pt x="35943" y="9824"/>
                    <a:pt x="35848" y="9773"/>
                  </a:cubicBezTo>
                  <a:lnTo>
                    <a:pt x="35848" y="9773"/>
                  </a:lnTo>
                  <a:cubicBezTo>
                    <a:pt x="35057" y="9155"/>
                    <a:pt x="36586" y="9619"/>
                    <a:pt x="36981" y="9894"/>
                  </a:cubicBezTo>
                  <a:cubicBezTo>
                    <a:pt x="36792" y="9619"/>
                    <a:pt x="36517" y="9567"/>
                    <a:pt x="36260" y="9361"/>
                  </a:cubicBezTo>
                  <a:lnTo>
                    <a:pt x="36260" y="9361"/>
                  </a:lnTo>
                  <a:cubicBezTo>
                    <a:pt x="36260" y="9361"/>
                    <a:pt x="36260" y="9361"/>
                    <a:pt x="36140" y="9361"/>
                  </a:cubicBezTo>
                  <a:lnTo>
                    <a:pt x="36140" y="9361"/>
                  </a:lnTo>
                  <a:lnTo>
                    <a:pt x="35882" y="9155"/>
                  </a:lnTo>
                  <a:cubicBezTo>
                    <a:pt x="36019" y="9155"/>
                    <a:pt x="35624" y="8983"/>
                    <a:pt x="35727" y="8983"/>
                  </a:cubicBezTo>
                  <a:cubicBezTo>
                    <a:pt x="35504" y="8880"/>
                    <a:pt x="34353" y="7918"/>
                    <a:pt x="34594" y="7884"/>
                  </a:cubicBezTo>
                  <a:cubicBezTo>
                    <a:pt x="35435" y="8193"/>
                    <a:pt x="36311" y="9086"/>
                    <a:pt x="37136" y="9602"/>
                  </a:cubicBezTo>
                  <a:lnTo>
                    <a:pt x="37136" y="9602"/>
                  </a:lnTo>
                  <a:cubicBezTo>
                    <a:pt x="37389" y="9800"/>
                    <a:pt x="37614" y="10031"/>
                    <a:pt x="37806" y="10289"/>
                  </a:cubicBezTo>
                  <a:lnTo>
                    <a:pt x="37806" y="10289"/>
                  </a:lnTo>
                  <a:cubicBezTo>
                    <a:pt x="37995" y="10409"/>
                    <a:pt x="37977" y="10581"/>
                    <a:pt x="37806" y="10289"/>
                  </a:cubicBezTo>
                  <a:cubicBezTo>
                    <a:pt x="37806" y="10289"/>
                    <a:pt x="37479" y="10289"/>
                    <a:pt x="37703" y="10426"/>
                  </a:cubicBezTo>
                  <a:cubicBezTo>
                    <a:pt x="38939" y="10701"/>
                    <a:pt x="37256" y="9619"/>
                    <a:pt x="37101" y="9275"/>
                  </a:cubicBezTo>
                  <a:cubicBezTo>
                    <a:pt x="37101" y="9275"/>
                    <a:pt x="37101" y="9275"/>
                    <a:pt x="37101" y="9275"/>
                  </a:cubicBezTo>
                  <a:cubicBezTo>
                    <a:pt x="36284" y="8916"/>
                    <a:pt x="35525" y="8435"/>
                    <a:pt x="34851" y="7850"/>
                  </a:cubicBezTo>
                  <a:cubicBezTo>
                    <a:pt x="35229" y="8021"/>
                    <a:pt x="35573" y="8399"/>
                    <a:pt x="35933" y="8451"/>
                  </a:cubicBezTo>
                  <a:cubicBezTo>
                    <a:pt x="35796" y="8262"/>
                    <a:pt x="36208" y="8571"/>
                    <a:pt x="36105" y="8451"/>
                  </a:cubicBezTo>
                  <a:cubicBezTo>
                    <a:pt x="35827" y="8436"/>
                    <a:pt x="35564" y="8320"/>
                    <a:pt x="35367" y="8125"/>
                  </a:cubicBezTo>
                  <a:cubicBezTo>
                    <a:pt x="35727" y="8279"/>
                    <a:pt x="35367" y="8125"/>
                    <a:pt x="35367" y="8039"/>
                  </a:cubicBezTo>
                  <a:lnTo>
                    <a:pt x="35367" y="8039"/>
                  </a:lnTo>
                  <a:cubicBezTo>
                    <a:pt x="34886" y="7455"/>
                    <a:pt x="37084" y="8880"/>
                    <a:pt x="36363" y="8331"/>
                  </a:cubicBezTo>
                  <a:cubicBezTo>
                    <a:pt x="36637" y="8531"/>
                    <a:pt x="36938" y="8693"/>
                    <a:pt x="37256" y="8812"/>
                  </a:cubicBezTo>
                  <a:cubicBezTo>
                    <a:pt x="36947" y="8605"/>
                    <a:pt x="37256" y="8691"/>
                    <a:pt x="37428" y="8812"/>
                  </a:cubicBezTo>
                  <a:cubicBezTo>
                    <a:pt x="37325" y="8709"/>
                    <a:pt x="37033" y="8588"/>
                    <a:pt x="37101" y="8709"/>
                  </a:cubicBezTo>
                  <a:cubicBezTo>
                    <a:pt x="36569" y="8468"/>
                    <a:pt x="36019" y="8056"/>
                    <a:pt x="35384" y="7798"/>
                  </a:cubicBezTo>
                  <a:cubicBezTo>
                    <a:pt x="35212" y="7798"/>
                    <a:pt x="34405" y="7403"/>
                    <a:pt x="34525" y="7231"/>
                  </a:cubicBezTo>
                  <a:cubicBezTo>
                    <a:pt x="34284" y="6922"/>
                    <a:pt x="34697" y="7334"/>
                    <a:pt x="34851" y="7317"/>
                  </a:cubicBezTo>
                  <a:cubicBezTo>
                    <a:pt x="34628" y="7317"/>
                    <a:pt x="34491" y="7042"/>
                    <a:pt x="34267" y="7008"/>
                  </a:cubicBezTo>
                  <a:cubicBezTo>
                    <a:pt x="34044" y="6974"/>
                    <a:pt x="34061" y="7008"/>
                    <a:pt x="34027" y="6922"/>
                  </a:cubicBezTo>
                  <a:cubicBezTo>
                    <a:pt x="33992" y="6836"/>
                    <a:pt x="34130" y="6922"/>
                    <a:pt x="34027" y="6922"/>
                  </a:cubicBezTo>
                  <a:cubicBezTo>
                    <a:pt x="33924" y="6922"/>
                    <a:pt x="33838" y="6836"/>
                    <a:pt x="33872" y="6922"/>
                  </a:cubicBezTo>
                  <a:cubicBezTo>
                    <a:pt x="33907" y="7008"/>
                    <a:pt x="33683" y="6802"/>
                    <a:pt x="33872" y="6922"/>
                  </a:cubicBezTo>
                  <a:lnTo>
                    <a:pt x="33615" y="6768"/>
                  </a:lnTo>
                  <a:cubicBezTo>
                    <a:pt x="33615" y="6768"/>
                    <a:pt x="33615" y="6768"/>
                    <a:pt x="33615" y="6768"/>
                  </a:cubicBezTo>
                  <a:lnTo>
                    <a:pt x="33168" y="6458"/>
                  </a:lnTo>
                  <a:lnTo>
                    <a:pt x="33168" y="6458"/>
                  </a:lnTo>
                  <a:cubicBezTo>
                    <a:pt x="33086" y="6395"/>
                    <a:pt x="33000" y="6338"/>
                    <a:pt x="32910" y="6287"/>
                  </a:cubicBezTo>
                  <a:lnTo>
                    <a:pt x="32910" y="6287"/>
                  </a:lnTo>
                  <a:lnTo>
                    <a:pt x="32910" y="6287"/>
                  </a:lnTo>
                  <a:lnTo>
                    <a:pt x="32910" y="6287"/>
                  </a:lnTo>
                  <a:lnTo>
                    <a:pt x="32687" y="6184"/>
                  </a:lnTo>
                  <a:lnTo>
                    <a:pt x="32687" y="6184"/>
                  </a:lnTo>
                  <a:cubicBezTo>
                    <a:pt x="32687" y="6184"/>
                    <a:pt x="32515" y="6184"/>
                    <a:pt x="32687" y="6184"/>
                  </a:cubicBezTo>
                  <a:lnTo>
                    <a:pt x="32687" y="6184"/>
                  </a:lnTo>
                  <a:lnTo>
                    <a:pt x="32687" y="6184"/>
                  </a:lnTo>
                  <a:lnTo>
                    <a:pt x="32962" y="6287"/>
                  </a:lnTo>
                  <a:lnTo>
                    <a:pt x="32739" y="6184"/>
                  </a:lnTo>
                  <a:lnTo>
                    <a:pt x="32893" y="6184"/>
                  </a:lnTo>
                  <a:lnTo>
                    <a:pt x="32807" y="6184"/>
                  </a:lnTo>
                  <a:cubicBezTo>
                    <a:pt x="32762" y="6174"/>
                    <a:pt x="32715" y="6174"/>
                    <a:pt x="32670" y="6184"/>
                  </a:cubicBezTo>
                  <a:lnTo>
                    <a:pt x="32670" y="6184"/>
                  </a:lnTo>
                  <a:cubicBezTo>
                    <a:pt x="32625" y="6193"/>
                    <a:pt x="32578" y="6193"/>
                    <a:pt x="32532" y="6184"/>
                  </a:cubicBezTo>
                  <a:lnTo>
                    <a:pt x="32876" y="6304"/>
                  </a:lnTo>
                  <a:cubicBezTo>
                    <a:pt x="32750" y="6242"/>
                    <a:pt x="32618" y="6196"/>
                    <a:pt x="32481" y="6166"/>
                  </a:cubicBezTo>
                  <a:lnTo>
                    <a:pt x="32481" y="6166"/>
                  </a:lnTo>
                  <a:cubicBezTo>
                    <a:pt x="32481" y="6166"/>
                    <a:pt x="32292" y="6166"/>
                    <a:pt x="32343" y="6166"/>
                  </a:cubicBezTo>
                  <a:cubicBezTo>
                    <a:pt x="32395" y="6166"/>
                    <a:pt x="32343" y="6166"/>
                    <a:pt x="32343" y="6166"/>
                  </a:cubicBezTo>
                  <a:lnTo>
                    <a:pt x="32343" y="6166"/>
                  </a:lnTo>
                  <a:lnTo>
                    <a:pt x="32206" y="6166"/>
                  </a:lnTo>
                  <a:lnTo>
                    <a:pt x="32206" y="6166"/>
                  </a:lnTo>
                  <a:lnTo>
                    <a:pt x="31742" y="6029"/>
                  </a:lnTo>
                  <a:lnTo>
                    <a:pt x="31742" y="6029"/>
                  </a:lnTo>
                  <a:cubicBezTo>
                    <a:pt x="31571" y="6029"/>
                    <a:pt x="30763" y="5720"/>
                    <a:pt x="30952" y="5754"/>
                  </a:cubicBezTo>
                  <a:lnTo>
                    <a:pt x="30952" y="5754"/>
                  </a:lnTo>
                  <a:lnTo>
                    <a:pt x="31055" y="5754"/>
                  </a:lnTo>
                  <a:lnTo>
                    <a:pt x="31055" y="5754"/>
                  </a:lnTo>
                  <a:cubicBezTo>
                    <a:pt x="31244" y="5754"/>
                    <a:pt x="31416" y="5857"/>
                    <a:pt x="31605" y="5909"/>
                  </a:cubicBezTo>
                  <a:lnTo>
                    <a:pt x="31416" y="5909"/>
                  </a:lnTo>
                  <a:lnTo>
                    <a:pt x="31588" y="5909"/>
                  </a:lnTo>
                  <a:lnTo>
                    <a:pt x="31485" y="5909"/>
                  </a:lnTo>
                  <a:cubicBezTo>
                    <a:pt x="31588" y="5909"/>
                    <a:pt x="31364" y="5909"/>
                    <a:pt x="31485" y="5909"/>
                  </a:cubicBezTo>
                  <a:lnTo>
                    <a:pt x="31485" y="5909"/>
                  </a:lnTo>
                  <a:cubicBezTo>
                    <a:pt x="31794" y="5995"/>
                    <a:pt x="32481" y="6201"/>
                    <a:pt x="31811" y="5909"/>
                  </a:cubicBezTo>
                  <a:lnTo>
                    <a:pt x="31811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2292" y="6046"/>
                  </a:lnTo>
                  <a:lnTo>
                    <a:pt x="32051" y="6046"/>
                  </a:lnTo>
                  <a:lnTo>
                    <a:pt x="32378" y="6046"/>
                  </a:lnTo>
                  <a:lnTo>
                    <a:pt x="32635" y="6046"/>
                  </a:lnTo>
                  <a:lnTo>
                    <a:pt x="32635" y="6046"/>
                  </a:lnTo>
                  <a:cubicBezTo>
                    <a:pt x="32412" y="6046"/>
                    <a:pt x="32635" y="6046"/>
                    <a:pt x="32773" y="6046"/>
                  </a:cubicBezTo>
                  <a:lnTo>
                    <a:pt x="32773" y="6046"/>
                  </a:lnTo>
                  <a:lnTo>
                    <a:pt x="32773" y="6046"/>
                  </a:lnTo>
                  <a:cubicBezTo>
                    <a:pt x="33198" y="6156"/>
                    <a:pt x="33612" y="6306"/>
                    <a:pt x="34010" y="6493"/>
                  </a:cubicBezTo>
                  <a:cubicBezTo>
                    <a:pt x="34010" y="6493"/>
                    <a:pt x="34010" y="6493"/>
                    <a:pt x="34010" y="6493"/>
                  </a:cubicBezTo>
                  <a:cubicBezTo>
                    <a:pt x="34010" y="6493"/>
                    <a:pt x="34456" y="6665"/>
                    <a:pt x="34645" y="6768"/>
                  </a:cubicBezTo>
                  <a:lnTo>
                    <a:pt x="34645" y="6768"/>
                  </a:lnTo>
                  <a:lnTo>
                    <a:pt x="35470" y="7163"/>
                  </a:lnTo>
                  <a:cubicBezTo>
                    <a:pt x="35212" y="7025"/>
                    <a:pt x="34954" y="6871"/>
                    <a:pt x="34662" y="6733"/>
                  </a:cubicBezTo>
                  <a:lnTo>
                    <a:pt x="34662" y="6733"/>
                  </a:lnTo>
                  <a:lnTo>
                    <a:pt x="34353" y="6596"/>
                  </a:lnTo>
                  <a:lnTo>
                    <a:pt x="34491" y="6596"/>
                  </a:lnTo>
                  <a:cubicBezTo>
                    <a:pt x="34491" y="6596"/>
                    <a:pt x="34044" y="6441"/>
                    <a:pt x="34250" y="6493"/>
                  </a:cubicBezTo>
                  <a:lnTo>
                    <a:pt x="34113" y="6493"/>
                  </a:lnTo>
                  <a:lnTo>
                    <a:pt x="34422" y="6596"/>
                  </a:lnTo>
                  <a:cubicBezTo>
                    <a:pt x="34327" y="6538"/>
                    <a:pt x="34222" y="6497"/>
                    <a:pt x="34113" y="6476"/>
                  </a:cubicBezTo>
                  <a:cubicBezTo>
                    <a:pt x="34287" y="6517"/>
                    <a:pt x="34459" y="6568"/>
                    <a:pt x="34628" y="6630"/>
                  </a:cubicBezTo>
                  <a:lnTo>
                    <a:pt x="34473" y="6630"/>
                  </a:lnTo>
                  <a:lnTo>
                    <a:pt x="34473" y="6630"/>
                  </a:lnTo>
                  <a:lnTo>
                    <a:pt x="33700" y="4827"/>
                  </a:lnTo>
                  <a:cubicBezTo>
                    <a:pt x="42679" y="7791"/>
                    <a:pt x="48892" y="15993"/>
                    <a:pt x="49314" y="25438"/>
                  </a:cubicBezTo>
                  <a:cubicBezTo>
                    <a:pt x="49301" y="25780"/>
                    <a:pt x="49255" y="26119"/>
                    <a:pt x="49177" y="26452"/>
                  </a:cubicBezTo>
                  <a:cubicBezTo>
                    <a:pt x="49245" y="26349"/>
                    <a:pt x="49159" y="26538"/>
                    <a:pt x="49159" y="26589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11" name="Google Shape;211;p29"/>
            <p:cNvSpPr/>
            <p:nvPr/>
          </p:nvSpPr>
          <p:spPr>
            <a:xfrm rot="-5400000">
              <a:off x="12026199" y="6563439"/>
              <a:ext cx="13277" cy="68070"/>
            </a:xfrm>
            <a:custGeom>
              <a:avLst/>
              <a:gdLst/>
              <a:ahLst/>
              <a:cxnLst/>
              <a:rect l="l" t="t" r="r" b="b"/>
              <a:pathLst>
                <a:path w="13277" h="68070" extrusionOk="0">
                  <a:moveTo>
                    <a:pt x="13277" y="12024"/>
                  </a:moveTo>
                  <a:lnTo>
                    <a:pt x="0" y="12024"/>
                  </a:lnTo>
                  <a:lnTo>
                    <a:pt x="0" y="0"/>
                  </a:lnTo>
                  <a:lnTo>
                    <a:pt x="13277" y="0"/>
                  </a:lnTo>
                  <a:close/>
                  <a:moveTo>
                    <a:pt x="0" y="17984"/>
                  </a:moveTo>
                  <a:lnTo>
                    <a:pt x="13277" y="17984"/>
                  </a:lnTo>
                  <a:lnTo>
                    <a:pt x="13277" y="68070"/>
                  </a:lnTo>
                  <a:lnTo>
                    <a:pt x="0" y="6807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12" name="Google Shape;212;p29"/>
            <p:cNvSpPr/>
            <p:nvPr/>
          </p:nvSpPr>
          <p:spPr>
            <a:xfrm rot="-5400000">
              <a:off x="12018640" y="6529825"/>
              <a:ext cx="45208" cy="51256"/>
            </a:xfrm>
            <a:custGeom>
              <a:avLst/>
              <a:gdLst/>
              <a:ahLst/>
              <a:cxnLst/>
              <a:rect l="l" t="t" r="r" b="b"/>
              <a:pathLst>
                <a:path w="45208" h="51256" extrusionOk="0">
                  <a:moveTo>
                    <a:pt x="40279" y="4038"/>
                  </a:moveTo>
                  <a:cubicBezTo>
                    <a:pt x="43565" y="6752"/>
                    <a:pt x="45209" y="11246"/>
                    <a:pt x="45209" y="17521"/>
                  </a:cubicBezTo>
                  <a:lnTo>
                    <a:pt x="45209" y="51256"/>
                  </a:lnTo>
                  <a:lnTo>
                    <a:pt x="31794" y="51256"/>
                  </a:lnTo>
                  <a:lnTo>
                    <a:pt x="31794" y="20785"/>
                  </a:lnTo>
                  <a:cubicBezTo>
                    <a:pt x="31892" y="18712"/>
                    <a:pt x="31535" y="16642"/>
                    <a:pt x="30746" y="14722"/>
                  </a:cubicBezTo>
                  <a:cubicBezTo>
                    <a:pt x="29458" y="12162"/>
                    <a:pt x="27036" y="10874"/>
                    <a:pt x="23446" y="10874"/>
                  </a:cubicBezTo>
                  <a:cubicBezTo>
                    <a:pt x="19509" y="10574"/>
                    <a:pt x="15832" y="12861"/>
                    <a:pt x="14360" y="16525"/>
                  </a:cubicBezTo>
                  <a:cubicBezTo>
                    <a:pt x="13437" y="18959"/>
                    <a:pt x="13005" y="21550"/>
                    <a:pt x="13089" y="24152"/>
                  </a:cubicBezTo>
                  <a:lnTo>
                    <a:pt x="13089" y="51256"/>
                  </a:lnTo>
                  <a:lnTo>
                    <a:pt x="0" y="51256"/>
                  </a:lnTo>
                  <a:lnTo>
                    <a:pt x="0" y="1272"/>
                  </a:lnTo>
                  <a:lnTo>
                    <a:pt x="12676" y="1272"/>
                  </a:lnTo>
                  <a:lnTo>
                    <a:pt x="12676" y="8607"/>
                  </a:lnTo>
                  <a:cubicBezTo>
                    <a:pt x="13939" y="6498"/>
                    <a:pt x="15548" y="4617"/>
                    <a:pt x="17434" y="3042"/>
                  </a:cubicBezTo>
                  <a:cubicBezTo>
                    <a:pt x="20409" y="938"/>
                    <a:pt x="23996" y="-125"/>
                    <a:pt x="27637" y="19"/>
                  </a:cubicBezTo>
                  <a:cubicBezTo>
                    <a:pt x="32194" y="-181"/>
                    <a:pt x="36674" y="1243"/>
                    <a:pt x="40279" y="403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13" name="Google Shape;213;p29"/>
            <p:cNvSpPr/>
            <p:nvPr/>
          </p:nvSpPr>
          <p:spPr>
            <a:xfrm rot="-5400000">
              <a:off x="12018195" y="6477145"/>
              <a:ext cx="28942" cy="68414"/>
            </a:xfrm>
            <a:custGeom>
              <a:avLst/>
              <a:gdLst/>
              <a:ahLst/>
              <a:cxnLst/>
              <a:rect l="l" t="t" r="r" b="b"/>
              <a:pathLst>
                <a:path w="28942" h="68414" extrusionOk="0">
                  <a:moveTo>
                    <a:pt x="25868" y="0"/>
                  </a:moveTo>
                  <a:lnTo>
                    <a:pt x="28616" y="206"/>
                  </a:lnTo>
                  <a:lnTo>
                    <a:pt x="28616" y="10941"/>
                  </a:lnTo>
                  <a:cubicBezTo>
                    <a:pt x="27390" y="10808"/>
                    <a:pt x="26157" y="10739"/>
                    <a:pt x="24923" y="10735"/>
                  </a:cubicBezTo>
                  <a:cubicBezTo>
                    <a:pt x="23616" y="10538"/>
                    <a:pt x="22290" y="10956"/>
                    <a:pt x="21333" y="11869"/>
                  </a:cubicBezTo>
                  <a:cubicBezTo>
                    <a:pt x="20704" y="12627"/>
                    <a:pt x="20358" y="13580"/>
                    <a:pt x="20354" y="14566"/>
                  </a:cubicBezTo>
                  <a:lnTo>
                    <a:pt x="20354" y="18791"/>
                  </a:lnTo>
                  <a:lnTo>
                    <a:pt x="28943" y="18791"/>
                  </a:lnTo>
                  <a:lnTo>
                    <a:pt x="28943" y="28032"/>
                  </a:lnTo>
                  <a:lnTo>
                    <a:pt x="20354" y="28032"/>
                  </a:lnTo>
                  <a:lnTo>
                    <a:pt x="20354" y="68414"/>
                  </a:lnTo>
                  <a:lnTo>
                    <a:pt x="7352" y="68414"/>
                  </a:lnTo>
                  <a:lnTo>
                    <a:pt x="7352" y="28032"/>
                  </a:lnTo>
                  <a:lnTo>
                    <a:pt x="0" y="28032"/>
                  </a:lnTo>
                  <a:lnTo>
                    <a:pt x="0" y="18791"/>
                  </a:lnTo>
                  <a:lnTo>
                    <a:pt x="7163" y="18791"/>
                  </a:lnTo>
                  <a:lnTo>
                    <a:pt x="7163" y="15579"/>
                  </a:lnTo>
                  <a:cubicBezTo>
                    <a:pt x="7163" y="10220"/>
                    <a:pt x="8067" y="6527"/>
                    <a:pt x="9877" y="4500"/>
                  </a:cubicBezTo>
                  <a:cubicBezTo>
                    <a:pt x="11783" y="1494"/>
                    <a:pt x="16352" y="0"/>
                    <a:pt x="23618" y="0"/>
                  </a:cubicBezTo>
                  <a:cubicBezTo>
                    <a:pt x="24442" y="0"/>
                    <a:pt x="25198" y="0"/>
                    <a:pt x="25868" y="0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14" name="Google Shape;214;p29"/>
            <p:cNvSpPr/>
            <p:nvPr/>
          </p:nvSpPr>
          <p:spPr>
            <a:xfrm rot="-5400000">
              <a:off x="12016830" y="6161182"/>
              <a:ext cx="49036" cy="51048"/>
            </a:xfrm>
            <a:custGeom>
              <a:avLst/>
              <a:gdLst/>
              <a:ahLst/>
              <a:cxnLst/>
              <a:rect l="l" t="t" r="r" b="b"/>
              <a:pathLst>
                <a:path w="49036" h="51048" extrusionOk="0">
                  <a:moveTo>
                    <a:pt x="42949" y="43542"/>
                  </a:moveTo>
                  <a:cubicBezTo>
                    <a:pt x="38907" y="48535"/>
                    <a:pt x="32763" y="51037"/>
                    <a:pt x="24519" y="51049"/>
                  </a:cubicBezTo>
                  <a:cubicBezTo>
                    <a:pt x="16274" y="51060"/>
                    <a:pt x="10125" y="48558"/>
                    <a:pt x="6071" y="43542"/>
                  </a:cubicBezTo>
                  <a:cubicBezTo>
                    <a:pt x="2000" y="38452"/>
                    <a:pt x="-145" y="32091"/>
                    <a:pt x="8" y="25576"/>
                  </a:cubicBezTo>
                  <a:cubicBezTo>
                    <a:pt x="-130" y="19058"/>
                    <a:pt x="2016" y="12697"/>
                    <a:pt x="6071" y="7592"/>
                  </a:cubicBezTo>
                  <a:cubicBezTo>
                    <a:pt x="10125" y="2519"/>
                    <a:pt x="16274" y="-11"/>
                    <a:pt x="24519" y="0"/>
                  </a:cubicBezTo>
                  <a:cubicBezTo>
                    <a:pt x="32763" y="12"/>
                    <a:pt x="38907" y="2542"/>
                    <a:pt x="42949" y="7592"/>
                  </a:cubicBezTo>
                  <a:cubicBezTo>
                    <a:pt x="47010" y="12695"/>
                    <a:pt x="49160" y="19056"/>
                    <a:pt x="49030" y="25576"/>
                  </a:cubicBezTo>
                  <a:cubicBezTo>
                    <a:pt x="49177" y="32093"/>
                    <a:pt x="47023" y="38454"/>
                    <a:pt x="42949" y="43542"/>
                  </a:cubicBezTo>
                  <a:close/>
                  <a:moveTo>
                    <a:pt x="32918" y="36672"/>
                  </a:moveTo>
                  <a:cubicBezTo>
                    <a:pt x="35077" y="33390"/>
                    <a:pt x="36115" y="29497"/>
                    <a:pt x="35872" y="25576"/>
                  </a:cubicBezTo>
                  <a:cubicBezTo>
                    <a:pt x="36123" y="21654"/>
                    <a:pt x="35086" y="17758"/>
                    <a:pt x="32918" y="14480"/>
                  </a:cubicBezTo>
                  <a:cubicBezTo>
                    <a:pt x="28893" y="9808"/>
                    <a:pt x="21844" y="9283"/>
                    <a:pt x="17172" y="13307"/>
                  </a:cubicBezTo>
                  <a:cubicBezTo>
                    <a:pt x="16753" y="13668"/>
                    <a:pt x="16360" y="14060"/>
                    <a:pt x="15999" y="14480"/>
                  </a:cubicBezTo>
                  <a:cubicBezTo>
                    <a:pt x="13826" y="17756"/>
                    <a:pt x="12782" y="21652"/>
                    <a:pt x="13027" y="25576"/>
                  </a:cubicBezTo>
                  <a:cubicBezTo>
                    <a:pt x="12782" y="29510"/>
                    <a:pt x="13824" y="33418"/>
                    <a:pt x="15999" y="36706"/>
                  </a:cubicBezTo>
                  <a:cubicBezTo>
                    <a:pt x="19994" y="41378"/>
                    <a:pt x="27020" y="41927"/>
                    <a:pt x="31692" y="37932"/>
                  </a:cubicBezTo>
                  <a:cubicBezTo>
                    <a:pt x="32131" y="37556"/>
                    <a:pt x="32542" y="37146"/>
                    <a:pt x="32918" y="36706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15" name="Google Shape;215;p29"/>
            <p:cNvSpPr/>
            <p:nvPr/>
          </p:nvSpPr>
          <p:spPr>
            <a:xfrm rot="-5400000">
              <a:off x="12005374" y="6370523"/>
              <a:ext cx="71791" cy="51205"/>
            </a:xfrm>
            <a:custGeom>
              <a:avLst/>
              <a:gdLst/>
              <a:ahLst/>
              <a:cxnLst/>
              <a:rect l="l" t="t" r="r" b="b"/>
              <a:pathLst>
                <a:path w="71791" h="51205" extrusionOk="0">
                  <a:moveTo>
                    <a:pt x="62643" y="1307"/>
                  </a:moveTo>
                  <a:cubicBezTo>
                    <a:pt x="64938" y="2282"/>
                    <a:pt x="66944" y="3832"/>
                    <a:pt x="68466" y="5808"/>
                  </a:cubicBezTo>
                  <a:cubicBezTo>
                    <a:pt x="69936" y="7685"/>
                    <a:pt x="70917" y="9898"/>
                    <a:pt x="71317" y="12249"/>
                  </a:cubicBezTo>
                  <a:cubicBezTo>
                    <a:pt x="71680" y="14693"/>
                    <a:pt x="71834" y="17164"/>
                    <a:pt x="71781" y="19635"/>
                  </a:cubicBezTo>
                  <a:lnTo>
                    <a:pt x="71781" y="51205"/>
                  </a:lnTo>
                  <a:lnTo>
                    <a:pt x="58349" y="51205"/>
                  </a:lnTo>
                  <a:lnTo>
                    <a:pt x="58349" y="19308"/>
                  </a:lnTo>
                  <a:cubicBezTo>
                    <a:pt x="58414" y="17701"/>
                    <a:pt x="58101" y="16101"/>
                    <a:pt x="57438" y="14636"/>
                  </a:cubicBezTo>
                  <a:cubicBezTo>
                    <a:pt x="56188" y="12289"/>
                    <a:pt x="53642" y="10931"/>
                    <a:pt x="50997" y="11201"/>
                  </a:cubicBezTo>
                  <a:cubicBezTo>
                    <a:pt x="47802" y="10957"/>
                    <a:pt x="44803" y="12763"/>
                    <a:pt x="43525" y="15701"/>
                  </a:cubicBezTo>
                  <a:cubicBezTo>
                    <a:pt x="42766" y="17522"/>
                    <a:pt x="42404" y="19483"/>
                    <a:pt x="42460" y="21455"/>
                  </a:cubicBezTo>
                  <a:lnTo>
                    <a:pt x="42460" y="51205"/>
                  </a:lnTo>
                  <a:lnTo>
                    <a:pt x="29269" y="51205"/>
                  </a:lnTo>
                  <a:lnTo>
                    <a:pt x="29269" y="21387"/>
                  </a:lnTo>
                  <a:cubicBezTo>
                    <a:pt x="29389" y="19189"/>
                    <a:pt x="29080" y="16990"/>
                    <a:pt x="28359" y="14911"/>
                  </a:cubicBezTo>
                  <a:cubicBezTo>
                    <a:pt x="27192" y="12446"/>
                    <a:pt x="24595" y="10986"/>
                    <a:pt x="21883" y="11270"/>
                  </a:cubicBezTo>
                  <a:cubicBezTo>
                    <a:pt x="18138" y="11270"/>
                    <a:pt x="15626" y="12484"/>
                    <a:pt x="14342" y="14911"/>
                  </a:cubicBezTo>
                  <a:cubicBezTo>
                    <a:pt x="13527" y="16854"/>
                    <a:pt x="13162" y="18956"/>
                    <a:pt x="13277" y="21060"/>
                  </a:cubicBezTo>
                  <a:lnTo>
                    <a:pt x="13277" y="51205"/>
                  </a:lnTo>
                  <a:lnTo>
                    <a:pt x="0" y="51205"/>
                  </a:lnTo>
                  <a:lnTo>
                    <a:pt x="0" y="1221"/>
                  </a:lnTo>
                  <a:lnTo>
                    <a:pt x="12728" y="1221"/>
                  </a:lnTo>
                  <a:lnTo>
                    <a:pt x="12728" y="8556"/>
                  </a:lnTo>
                  <a:cubicBezTo>
                    <a:pt x="13930" y="6449"/>
                    <a:pt x="15488" y="4567"/>
                    <a:pt x="17331" y="2991"/>
                  </a:cubicBezTo>
                  <a:cubicBezTo>
                    <a:pt x="23120" y="-769"/>
                    <a:pt x="30538" y="-929"/>
                    <a:pt x="36483" y="2578"/>
                  </a:cubicBezTo>
                  <a:cubicBezTo>
                    <a:pt x="38381" y="4179"/>
                    <a:pt x="39841" y="6236"/>
                    <a:pt x="40726" y="8556"/>
                  </a:cubicBezTo>
                  <a:cubicBezTo>
                    <a:pt x="42206" y="5843"/>
                    <a:pt x="44413" y="3595"/>
                    <a:pt x="47098" y="2063"/>
                  </a:cubicBezTo>
                  <a:cubicBezTo>
                    <a:pt x="49896" y="665"/>
                    <a:pt x="52988" y="-42"/>
                    <a:pt x="56116" y="2"/>
                  </a:cubicBezTo>
                  <a:cubicBezTo>
                    <a:pt x="58356" y="15"/>
                    <a:pt x="60571" y="458"/>
                    <a:pt x="62643" y="1307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16" name="Google Shape;216;p29"/>
            <p:cNvSpPr/>
            <p:nvPr/>
          </p:nvSpPr>
          <p:spPr>
            <a:xfrm rot="-5400000">
              <a:off x="12026199" y="6307354"/>
              <a:ext cx="13277" cy="68070"/>
            </a:xfrm>
            <a:custGeom>
              <a:avLst/>
              <a:gdLst/>
              <a:ahLst/>
              <a:cxnLst/>
              <a:rect l="l" t="t" r="r" b="b"/>
              <a:pathLst>
                <a:path w="13277" h="68070" extrusionOk="0">
                  <a:moveTo>
                    <a:pt x="13278" y="12024"/>
                  </a:moveTo>
                  <a:lnTo>
                    <a:pt x="0" y="12024"/>
                  </a:lnTo>
                  <a:lnTo>
                    <a:pt x="0" y="0"/>
                  </a:lnTo>
                  <a:lnTo>
                    <a:pt x="13278" y="0"/>
                  </a:lnTo>
                  <a:close/>
                  <a:moveTo>
                    <a:pt x="0" y="17984"/>
                  </a:moveTo>
                  <a:lnTo>
                    <a:pt x="13278" y="17984"/>
                  </a:lnTo>
                  <a:lnTo>
                    <a:pt x="13278" y="68070"/>
                  </a:lnTo>
                  <a:lnTo>
                    <a:pt x="0" y="6807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17" name="Google Shape;217;p29"/>
            <p:cNvSpPr/>
            <p:nvPr/>
          </p:nvSpPr>
          <p:spPr>
            <a:xfrm rot="-5400000">
              <a:off x="12018641" y="6273739"/>
              <a:ext cx="45208" cy="51255"/>
            </a:xfrm>
            <a:custGeom>
              <a:avLst/>
              <a:gdLst/>
              <a:ahLst/>
              <a:cxnLst/>
              <a:rect l="l" t="t" r="r" b="b"/>
              <a:pathLst>
                <a:path w="45208" h="51255" extrusionOk="0">
                  <a:moveTo>
                    <a:pt x="40296" y="4038"/>
                  </a:moveTo>
                  <a:cubicBezTo>
                    <a:pt x="43560" y="6752"/>
                    <a:pt x="45209" y="11252"/>
                    <a:pt x="45209" y="17521"/>
                  </a:cubicBezTo>
                  <a:lnTo>
                    <a:pt x="45209" y="51256"/>
                  </a:lnTo>
                  <a:lnTo>
                    <a:pt x="31794" y="51256"/>
                  </a:lnTo>
                  <a:lnTo>
                    <a:pt x="31794" y="20785"/>
                  </a:lnTo>
                  <a:cubicBezTo>
                    <a:pt x="31900" y="18711"/>
                    <a:pt x="31543" y="16639"/>
                    <a:pt x="30746" y="14722"/>
                  </a:cubicBezTo>
                  <a:cubicBezTo>
                    <a:pt x="29458" y="12162"/>
                    <a:pt x="27036" y="10874"/>
                    <a:pt x="23446" y="10874"/>
                  </a:cubicBezTo>
                  <a:cubicBezTo>
                    <a:pt x="19511" y="10565"/>
                    <a:pt x="15833" y="12857"/>
                    <a:pt x="14377" y="16525"/>
                  </a:cubicBezTo>
                  <a:cubicBezTo>
                    <a:pt x="13439" y="18955"/>
                    <a:pt x="13001" y="21549"/>
                    <a:pt x="13089" y="24151"/>
                  </a:cubicBezTo>
                  <a:lnTo>
                    <a:pt x="13089" y="51256"/>
                  </a:lnTo>
                  <a:lnTo>
                    <a:pt x="0" y="51256"/>
                  </a:lnTo>
                  <a:lnTo>
                    <a:pt x="0" y="1272"/>
                  </a:lnTo>
                  <a:lnTo>
                    <a:pt x="12676" y="1272"/>
                  </a:lnTo>
                  <a:lnTo>
                    <a:pt x="12676" y="8607"/>
                  </a:lnTo>
                  <a:cubicBezTo>
                    <a:pt x="13946" y="6502"/>
                    <a:pt x="15553" y="4622"/>
                    <a:pt x="17434" y="3042"/>
                  </a:cubicBezTo>
                  <a:cubicBezTo>
                    <a:pt x="20409" y="938"/>
                    <a:pt x="23996" y="-125"/>
                    <a:pt x="27637" y="18"/>
                  </a:cubicBezTo>
                  <a:cubicBezTo>
                    <a:pt x="32199" y="-181"/>
                    <a:pt x="36684" y="1243"/>
                    <a:pt x="40296" y="403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18" name="Google Shape;218;p29"/>
            <p:cNvSpPr/>
            <p:nvPr/>
          </p:nvSpPr>
          <p:spPr>
            <a:xfrm rot="-5400000">
              <a:off x="12017163" y="6218687"/>
              <a:ext cx="48082" cy="51510"/>
            </a:xfrm>
            <a:custGeom>
              <a:avLst/>
              <a:gdLst/>
              <a:ahLst/>
              <a:cxnLst/>
              <a:rect l="l" t="t" r="r" b="b"/>
              <a:pathLst>
                <a:path w="48082" h="51510" extrusionOk="0">
                  <a:moveTo>
                    <a:pt x="35384" y="2281"/>
                  </a:moveTo>
                  <a:cubicBezTo>
                    <a:pt x="38804" y="3821"/>
                    <a:pt x="41712" y="6306"/>
                    <a:pt x="43766" y="9444"/>
                  </a:cubicBezTo>
                  <a:cubicBezTo>
                    <a:pt x="45803" y="12448"/>
                    <a:pt x="47126" y="15880"/>
                    <a:pt x="47631" y="19475"/>
                  </a:cubicBezTo>
                  <a:cubicBezTo>
                    <a:pt x="48021" y="22665"/>
                    <a:pt x="48160" y="25881"/>
                    <a:pt x="48043" y="29094"/>
                  </a:cubicBezTo>
                  <a:lnTo>
                    <a:pt x="12711" y="29094"/>
                  </a:lnTo>
                  <a:cubicBezTo>
                    <a:pt x="12900" y="33955"/>
                    <a:pt x="14600" y="37373"/>
                    <a:pt x="17778" y="39400"/>
                  </a:cubicBezTo>
                  <a:cubicBezTo>
                    <a:pt x="19884" y="40669"/>
                    <a:pt x="22311" y="41306"/>
                    <a:pt x="24769" y="41237"/>
                  </a:cubicBezTo>
                  <a:cubicBezTo>
                    <a:pt x="27307" y="41354"/>
                    <a:pt x="29803" y="40563"/>
                    <a:pt x="31811" y="39004"/>
                  </a:cubicBezTo>
                  <a:cubicBezTo>
                    <a:pt x="32891" y="38080"/>
                    <a:pt x="33774" y="36947"/>
                    <a:pt x="34405" y="35672"/>
                  </a:cubicBezTo>
                  <a:lnTo>
                    <a:pt x="47407" y="35672"/>
                  </a:lnTo>
                  <a:cubicBezTo>
                    <a:pt x="46818" y="39021"/>
                    <a:pt x="45169" y="42092"/>
                    <a:pt x="42701" y="44432"/>
                  </a:cubicBezTo>
                  <a:cubicBezTo>
                    <a:pt x="38355" y="49156"/>
                    <a:pt x="32292" y="51509"/>
                    <a:pt x="24459" y="51509"/>
                  </a:cubicBezTo>
                  <a:cubicBezTo>
                    <a:pt x="18245" y="51584"/>
                    <a:pt x="12202" y="49474"/>
                    <a:pt x="7386" y="45549"/>
                  </a:cubicBezTo>
                  <a:cubicBezTo>
                    <a:pt x="2461" y="41564"/>
                    <a:pt x="0" y="35094"/>
                    <a:pt x="0" y="26139"/>
                  </a:cubicBezTo>
                  <a:cubicBezTo>
                    <a:pt x="0" y="17746"/>
                    <a:pt x="2228" y="11304"/>
                    <a:pt x="6682" y="6816"/>
                  </a:cubicBezTo>
                  <a:cubicBezTo>
                    <a:pt x="11252" y="2254"/>
                    <a:pt x="17508" y="-208"/>
                    <a:pt x="23961" y="14"/>
                  </a:cubicBezTo>
                  <a:cubicBezTo>
                    <a:pt x="27886" y="-52"/>
                    <a:pt x="31782" y="721"/>
                    <a:pt x="35384" y="2281"/>
                  </a:cubicBezTo>
                  <a:close/>
                  <a:moveTo>
                    <a:pt x="16490" y="13223"/>
                  </a:moveTo>
                  <a:cubicBezTo>
                    <a:pt x="14554" y="15309"/>
                    <a:pt x="13350" y="17967"/>
                    <a:pt x="13054" y="20797"/>
                  </a:cubicBezTo>
                  <a:lnTo>
                    <a:pt x="34886" y="20797"/>
                  </a:lnTo>
                  <a:cubicBezTo>
                    <a:pt x="34844" y="17880"/>
                    <a:pt x="33601" y="15108"/>
                    <a:pt x="31450" y="13137"/>
                  </a:cubicBezTo>
                  <a:cubicBezTo>
                    <a:pt x="29363" y="11367"/>
                    <a:pt x="26698" y="10426"/>
                    <a:pt x="23961" y="10491"/>
                  </a:cubicBezTo>
                  <a:cubicBezTo>
                    <a:pt x="21201" y="10337"/>
                    <a:pt x="18499" y="11325"/>
                    <a:pt x="16490" y="13223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219" name="Google Shape;219;p29"/>
          <p:cNvSpPr txBox="1"/>
          <p:nvPr/>
        </p:nvSpPr>
        <p:spPr>
          <a:xfrm rot="-5400000">
            <a:off x="11250971" y="5290633"/>
            <a:ext cx="1567737" cy="110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</a:pPr>
            <a:r>
              <a:rPr lang="en-US" sz="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Copyright © 2020. All rights reserved.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20" name="Google Shape;220;p29"/>
          <p:cNvSpPr txBox="1">
            <a:spLocks noGrp="1"/>
          </p:cNvSpPr>
          <p:nvPr>
            <p:ph type="sldNum" idx="12"/>
          </p:nvPr>
        </p:nvSpPr>
        <p:spPr>
          <a:xfrm>
            <a:off x="11490153" y="6465614"/>
            <a:ext cx="150682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marL="0" marR="0" lvl="0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221" name="Google Shape;221;p29"/>
          <p:cNvSpPr txBox="1">
            <a:spLocks noGrp="1"/>
          </p:cNvSpPr>
          <p:nvPr>
            <p:ph type="ftr" idx="11"/>
          </p:nvPr>
        </p:nvSpPr>
        <p:spPr>
          <a:xfrm>
            <a:off x="550863" y="6465614"/>
            <a:ext cx="5545138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000" b="0" i="0" u="none" strike="noStrike" cap="none">
                <a:solidFill>
                  <a:schemeClr val="lt2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1_Gradient BG (with Title)">
  <p:cSld name="1_Gradient BG (with Title)">
    <p:spTree>
      <p:nvGrpSpPr>
        <p:cNvPr id="1" name="Shape 2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3" name="Google Shape;223;p30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0">
                <a:srgbClr val="062379"/>
              </a:gs>
              <a:gs pos="16000">
                <a:srgbClr val="062379"/>
              </a:gs>
              <a:gs pos="45000">
                <a:srgbClr val="0934B6">
                  <a:alpha val="87450"/>
                </a:srgbClr>
              </a:gs>
              <a:gs pos="79000">
                <a:srgbClr val="036DFF">
                  <a:alpha val="80000"/>
                </a:srgbClr>
              </a:gs>
              <a:gs pos="100000">
                <a:srgbClr val="43E1D3"/>
              </a:gs>
            </a:gsLst>
            <a:lin ang="270000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grpSp>
        <p:nvGrpSpPr>
          <p:cNvPr id="224" name="Google Shape;224;p30"/>
          <p:cNvGrpSpPr/>
          <p:nvPr/>
        </p:nvGrpSpPr>
        <p:grpSpPr>
          <a:xfrm>
            <a:off x="11998459" y="6162188"/>
            <a:ext cx="68500" cy="441925"/>
            <a:chOff x="11998459" y="6162188"/>
            <a:chExt cx="68500" cy="441925"/>
          </a:xfrm>
        </p:grpSpPr>
        <p:sp>
          <p:nvSpPr>
            <p:cNvPr id="225" name="Google Shape;225;p30"/>
            <p:cNvSpPr/>
            <p:nvPr/>
          </p:nvSpPr>
          <p:spPr>
            <a:xfrm rot="-5400000">
              <a:off x="12063068" y="6476346"/>
              <a:ext cx="17" cy="1717"/>
            </a:xfrm>
            <a:custGeom>
              <a:avLst/>
              <a:gdLst/>
              <a:ahLst/>
              <a:cxnLst/>
              <a:rect l="l" t="t" r="r" b="b"/>
              <a:pathLst>
                <a:path w="17" h="1717" extrusionOk="0">
                  <a:moveTo>
                    <a:pt x="0" y="0"/>
                  </a:moveTo>
                  <a:lnTo>
                    <a:pt x="17" y="0"/>
                  </a:lnTo>
                  <a:lnTo>
                    <a:pt x="17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26" name="Google Shape;226;p30"/>
            <p:cNvSpPr/>
            <p:nvPr/>
          </p:nvSpPr>
          <p:spPr>
            <a:xfrm rot="-5400000">
              <a:off x="12023737" y="6455896"/>
              <a:ext cx="453" cy="271"/>
            </a:xfrm>
            <a:custGeom>
              <a:avLst/>
              <a:gdLst/>
              <a:ahLst/>
              <a:cxnLst/>
              <a:rect l="l" t="t" r="r" b="b"/>
              <a:pathLst>
                <a:path w="453" h="271" extrusionOk="0">
                  <a:moveTo>
                    <a:pt x="0" y="0"/>
                  </a:moveTo>
                  <a:cubicBezTo>
                    <a:pt x="258" y="172"/>
                    <a:pt x="498" y="344"/>
                    <a:pt x="447" y="240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27" name="Google Shape;227;p30"/>
            <p:cNvSpPr/>
            <p:nvPr/>
          </p:nvSpPr>
          <p:spPr>
            <a:xfrm rot="-5400000">
              <a:off x="12023907" y="6477766"/>
              <a:ext cx="15" cy="76"/>
            </a:xfrm>
            <a:custGeom>
              <a:avLst/>
              <a:gdLst/>
              <a:ahLst/>
              <a:cxnLst/>
              <a:rect l="l" t="t" r="r" b="b"/>
              <a:pathLst>
                <a:path w="15" h="76" extrusionOk="0">
                  <a:moveTo>
                    <a:pt x="15" y="38"/>
                  </a:moveTo>
                  <a:cubicBezTo>
                    <a:pt x="15" y="38"/>
                    <a:pt x="15" y="-48"/>
                    <a:pt x="15" y="38"/>
                  </a:cubicBezTo>
                  <a:cubicBezTo>
                    <a:pt x="15" y="124"/>
                    <a:pt x="-19" y="38"/>
                    <a:pt x="15" y="3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28" name="Google Shape;228;p30"/>
            <p:cNvSpPr/>
            <p:nvPr/>
          </p:nvSpPr>
          <p:spPr>
            <a:xfrm rot="-5400000">
              <a:off x="12021636" y="6473651"/>
              <a:ext cx="261" cy="103"/>
            </a:xfrm>
            <a:custGeom>
              <a:avLst/>
              <a:gdLst/>
              <a:ahLst/>
              <a:cxnLst/>
              <a:rect l="l" t="t" r="r" b="b"/>
              <a:pathLst>
                <a:path w="261" h="103" extrusionOk="0">
                  <a:moveTo>
                    <a:pt x="262" y="0"/>
                  </a:moveTo>
                  <a:lnTo>
                    <a:pt x="56" y="103"/>
                  </a:lnTo>
                  <a:cubicBezTo>
                    <a:pt x="176" y="103"/>
                    <a:pt x="-116" y="103"/>
                    <a:pt x="56" y="103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29" name="Google Shape;229;p30"/>
            <p:cNvSpPr/>
            <p:nvPr/>
          </p:nvSpPr>
          <p:spPr>
            <a:xfrm rot="-5400000">
              <a:off x="12015635" y="6442208"/>
              <a:ext cx="51323" cy="51323"/>
            </a:xfrm>
            <a:custGeom>
              <a:avLst/>
              <a:gdLst/>
              <a:ahLst/>
              <a:cxnLst/>
              <a:rect l="l" t="t" r="r" b="b"/>
              <a:pathLst>
                <a:path w="51323" h="51323" extrusionOk="0">
                  <a:moveTo>
                    <a:pt x="25662" y="0"/>
                  </a:moveTo>
                  <a:cubicBezTo>
                    <a:pt x="11489" y="0"/>
                    <a:pt x="0" y="11489"/>
                    <a:pt x="0" y="25662"/>
                  </a:cubicBezTo>
                  <a:cubicBezTo>
                    <a:pt x="0" y="39834"/>
                    <a:pt x="11489" y="51323"/>
                    <a:pt x="25662" y="51323"/>
                  </a:cubicBezTo>
                  <a:cubicBezTo>
                    <a:pt x="39835" y="51323"/>
                    <a:pt x="51324" y="39834"/>
                    <a:pt x="51324" y="25662"/>
                  </a:cubicBezTo>
                  <a:cubicBezTo>
                    <a:pt x="51324" y="25645"/>
                    <a:pt x="51324" y="25627"/>
                    <a:pt x="51324" y="25610"/>
                  </a:cubicBezTo>
                  <a:cubicBezTo>
                    <a:pt x="51314" y="11457"/>
                    <a:pt x="39833" y="-9"/>
                    <a:pt x="25679" y="0"/>
                  </a:cubicBezTo>
                  <a:cubicBezTo>
                    <a:pt x="25673" y="0"/>
                    <a:pt x="25667" y="0"/>
                    <a:pt x="25662" y="0"/>
                  </a:cubicBezTo>
                  <a:close/>
                  <a:moveTo>
                    <a:pt x="26967" y="15648"/>
                  </a:moveTo>
                  <a:cubicBezTo>
                    <a:pt x="26864" y="15648"/>
                    <a:pt x="26967" y="15785"/>
                    <a:pt x="26967" y="15837"/>
                  </a:cubicBezTo>
                  <a:cubicBezTo>
                    <a:pt x="26894" y="15820"/>
                    <a:pt x="26817" y="15820"/>
                    <a:pt x="26744" y="15837"/>
                  </a:cubicBezTo>
                  <a:cubicBezTo>
                    <a:pt x="26899" y="15837"/>
                    <a:pt x="27139" y="16043"/>
                    <a:pt x="26933" y="16163"/>
                  </a:cubicBezTo>
                  <a:cubicBezTo>
                    <a:pt x="26727" y="16283"/>
                    <a:pt x="27019" y="16163"/>
                    <a:pt x="27036" y="16163"/>
                  </a:cubicBezTo>
                  <a:cubicBezTo>
                    <a:pt x="27173" y="15854"/>
                    <a:pt x="27586" y="16283"/>
                    <a:pt x="27294" y="16489"/>
                  </a:cubicBezTo>
                  <a:lnTo>
                    <a:pt x="27294" y="16489"/>
                  </a:lnTo>
                  <a:cubicBezTo>
                    <a:pt x="27294" y="16489"/>
                    <a:pt x="27294" y="16489"/>
                    <a:pt x="27294" y="16489"/>
                  </a:cubicBezTo>
                  <a:lnTo>
                    <a:pt x="27294" y="16489"/>
                  </a:lnTo>
                  <a:cubicBezTo>
                    <a:pt x="27294" y="16489"/>
                    <a:pt x="27191" y="16489"/>
                    <a:pt x="27156" y="16489"/>
                  </a:cubicBezTo>
                  <a:cubicBezTo>
                    <a:pt x="27122" y="16489"/>
                    <a:pt x="27156" y="16489"/>
                    <a:pt x="27156" y="16593"/>
                  </a:cubicBezTo>
                  <a:cubicBezTo>
                    <a:pt x="27156" y="16696"/>
                    <a:pt x="27276" y="16593"/>
                    <a:pt x="27156" y="16593"/>
                  </a:cubicBezTo>
                  <a:cubicBezTo>
                    <a:pt x="27036" y="16593"/>
                    <a:pt x="27294" y="16593"/>
                    <a:pt x="27379" y="16593"/>
                  </a:cubicBezTo>
                  <a:cubicBezTo>
                    <a:pt x="27465" y="16593"/>
                    <a:pt x="27276" y="16713"/>
                    <a:pt x="27276" y="16799"/>
                  </a:cubicBezTo>
                  <a:cubicBezTo>
                    <a:pt x="27276" y="16885"/>
                    <a:pt x="26795" y="16936"/>
                    <a:pt x="26744" y="16799"/>
                  </a:cubicBezTo>
                  <a:cubicBezTo>
                    <a:pt x="26692" y="16661"/>
                    <a:pt x="26297" y="16799"/>
                    <a:pt x="26074" y="16902"/>
                  </a:cubicBezTo>
                  <a:cubicBezTo>
                    <a:pt x="25851" y="17005"/>
                    <a:pt x="26074" y="17125"/>
                    <a:pt x="25868" y="16988"/>
                  </a:cubicBezTo>
                  <a:cubicBezTo>
                    <a:pt x="25662" y="16850"/>
                    <a:pt x="25610" y="16988"/>
                    <a:pt x="25559" y="17142"/>
                  </a:cubicBezTo>
                  <a:cubicBezTo>
                    <a:pt x="25507" y="17297"/>
                    <a:pt x="25559" y="17142"/>
                    <a:pt x="25404" y="17142"/>
                  </a:cubicBezTo>
                  <a:cubicBezTo>
                    <a:pt x="25553" y="17029"/>
                    <a:pt x="25690" y="16902"/>
                    <a:pt x="25816" y="16764"/>
                  </a:cubicBezTo>
                  <a:cubicBezTo>
                    <a:pt x="25816" y="16593"/>
                    <a:pt x="26057" y="16764"/>
                    <a:pt x="26194" y="16764"/>
                  </a:cubicBezTo>
                  <a:cubicBezTo>
                    <a:pt x="26332" y="16764"/>
                    <a:pt x="26297" y="16610"/>
                    <a:pt x="26349" y="16541"/>
                  </a:cubicBezTo>
                  <a:cubicBezTo>
                    <a:pt x="26400" y="16472"/>
                    <a:pt x="26091" y="16764"/>
                    <a:pt x="26005" y="16627"/>
                  </a:cubicBezTo>
                  <a:cubicBezTo>
                    <a:pt x="25919" y="16489"/>
                    <a:pt x="25748" y="16627"/>
                    <a:pt x="25902" y="16627"/>
                  </a:cubicBezTo>
                  <a:cubicBezTo>
                    <a:pt x="26057" y="16627"/>
                    <a:pt x="25765" y="16627"/>
                    <a:pt x="25662" y="16627"/>
                  </a:cubicBezTo>
                  <a:lnTo>
                    <a:pt x="25662" y="16627"/>
                  </a:lnTo>
                  <a:cubicBezTo>
                    <a:pt x="25662" y="16627"/>
                    <a:pt x="25662" y="16627"/>
                    <a:pt x="25662" y="16627"/>
                  </a:cubicBezTo>
                  <a:cubicBezTo>
                    <a:pt x="25919" y="16541"/>
                    <a:pt x="26040" y="16472"/>
                    <a:pt x="26005" y="16215"/>
                  </a:cubicBezTo>
                  <a:lnTo>
                    <a:pt x="25834" y="16215"/>
                  </a:lnTo>
                  <a:cubicBezTo>
                    <a:pt x="25954" y="16094"/>
                    <a:pt x="26126" y="15940"/>
                    <a:pt x="26297" y="16060"/>
                  </a:cubicBezTo>
                  <a:cubicBezTo>
                    <a:pt x="26160" y="15888"/>
                    <a:pt x="26297" y="16060"/>
                    <a:pt x="26297" y="16060"/>
                  </a:cubicBezTo>
                  <a:cubicBezTo>
                    <a:pt x="26297" y="16060"/>
                    <a:pt x="26194" y="15837"/>
                    <a:pt x="26297" y="15785"/>
                  </a:cubicBezTo>
                  <a:cubicBezTo>
                    <a:pt x="26400" y="15734"/>
                    <a:pt x="26297" y="15648"/>
                    <a:pt x="26194" y="15785"/>
                  </a:cubicBezTo>
                  <a:lnTo>
                    <a:pt x="26194" y="15785"/>
                  </a:lnTo>
                  <a:cubicBezTo>
                    <a:pt x="26057" y="15785"/>
                    <a:pt x="26194" y="15476"/>
                    <a:pt x="26194" y="15493"/>
                  </a:cubicBezTo>
                  <a:cubicBezTo>
                    <a:pt x="26023" y="15493"/>
                    <a:pt x="25988" y="15613"/>
                    <a:pt x="25834" y="15493"/>
                  </a:cubicBezTo>
                  <a:cubicBezTo>
                    <a:pt x="25679" y="15373"/>
                    <a:pt x="25834" y="15493"/>
                    <a:pt x="25834" y="15596"/>
                  </a:cubicBezTo>
                  <a:cubicBezTo>
                    <a:pt x="25834" y="15699"/>
                    <a:pt x="25662" y="15459"/>
                    <a:pt x="25713" y="15596"/>
                  </a:cubicBezTo>
                  <a:cubicBezTo>
                    <a:pt x="25765" y="15734"/>
                    <a:pt x="25713" y="15493"/>
                    <a:pt x="25713" y="15459"/>
                  </a:cubicBezTo>
                  <a:lnTo>
                    <a:pt x="25713" y="15459"/>
                  </a:lnTo>
                  <a:cubicBezTo>
                    <a:pt x="25713" y="15459"/>
                    <a:pt x="25713" y="15287"/>
                    <a:pt x="25816" y="15236"/>
                  </a:cubicBezTo>
                  <a:cubicBezTo>
                    <a:pt x="25919" y="15184"/>
                    <a:pt x="25713" y="15029"/>
                    <a:pt x="25816" y="15064"/>
                  </a:cubicBezTo>
                  <a:cubicBezTo>
                    <a:pt x="25919" y="15098"/>
                    <a:pt x="25816" y="15064"/>
                    <a:pt x="25816" y="14961"/>
                  </a:cubicBezTo>
                  <a:cubicBezTo>
                    <a:pt x="25816" y="14858"/>
                    <a:pt x="25816" y="15047"/>
                    <a:pt x="25816" y="15081"/>
                  </a:cubicBezTo>
                  <a:lnTo>
                    <a:pt x="25816" y="15081"/>
                  </a:lnTo>
                  <a:cubicBezTo>
                    <a:pt x="25816" y="15081"/>
                    <a:pt x="25816" y="15081"/>
                    <a:pt x="25816" y="15081"/>
                  </a:cubicBezTo>
                  <a:cubicBezTo>
                    <a:pt x="25816" y="15081"/>
                    <a:pt x="25816" y="15081"/>
                    <a:pt x="25816" y="15081"/>
                  </a:cubicBezTo>
                  <a:cubicBezTo>
                    <a:pt x="25812" y="15173"/>
                    <a:pt x="25812" y="15264"/>
                    <a:pt x="25816" y="15356"/>
                  </a:cubicBezTo>
                  <a:cubicBezTo>
                    <a:pt x="25713" y="15356"/>
                    <a:pt x="25816" y="15218"/>
                    <a:pt x="25816" y="15167"/>
                  </a:cubicBezTo>
                  <a:cubicBezTo>
                    <a:pt x="25816" y="15115"/>
                    <a:pt x="25816" y="14858"/>
                    <a:pt x="25919" y="14823"/>
                  </a:cubicBezTo>
                  <a:cubicBezTo>
                    <a:pt x="26023" y="14789"/>
                    <a:pt x="25919" y="14823"/>
                    <a:pt x="25919" y="14823"/>
                  </a:cubicBezTo>
                  <a:cubicBezTo>
                    <a:pt x="25919" y="14823"/>
                    <a:pt x="25799" y="14978"/>
                    <a:pt x="25731" y="14823"/>
                  </a:cubicBezTo>
                  <a:cubicBezTo>
                    <a:pt x="25662" y="14669"/>
                    <a:pt x="25731" y="14823"/>
                    <a:pt x="25731" y="14823"/>
                  </a:cubicBezTo>
                  <a:cubicBezTo>
                    <a:pt x="25731" y="14823"/>
                    <a:pt x="25731" y="14686"/>
                    <a:pt x="25868" y="14737"/>
                  </a:cubicBezTo>
                  <a:cubicBezTo>
                    <a:pt x="26005" y="14789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lnTo>
                    <a:pt x="25868" y="14737"/>
                  </a:lnTo>
                  <a:lnTo>
                    <a:pt x="25868" y="14652"/>
                  </a:lnTo>
                  <a:cubicBezTo>
                    <a:pt x="25868" y="14652"/>
                    <a:pt x="25868" y="14652"/>
                    <a:pt x="25868" y="14652"/>
                  </a:cubicBezTo>
                  <a:cubicBezTo>
                    <a:pt x="25868" y="14652"/>
                    <a:pt x="25868" y="14566"/>
                    <a:pt x="25868" y="14514"/>
                  </a:cubicBezTo>
                  <a:lnTo>
                    <a:pt x="25868" y="14514"/>
                  </a:lnTo>
                  <a:cubicBezTo>
                    <a:pt x="25868" y="14514"/>
                    <a:pt x="25868" y="14514"/>
                    <a:pt x="25868" y="14514"/>
                  </a:cubicBezTo>
                  <a:cubicBezTo>
                    <a:pt x="25868" y="14514"/>
                    <a:pt x="25868" y="14514"/>
                    <a:pt x="25971" y="14514"/>
                  </a:cubicBezTo>
                  <a:cubicBezTo>
                    <a:pt x="25976" y="14486"/>
                    <a:pt x="25976" y="14457"/>
                    <a:pt x="25971" y="14428"/>
                  </a:cubicBezTo>
                  <a:cubicBezTo>
                    <a:pt x="25971" y="14428"/>
                    <a:pt x="26091" y="14085"/>
                    <a:pt x="26126" y="14291"/>
                  </a:cubicBezTo>
                  <a:cubicBezTo>
                    <a:pt x="26160" y="14497"/>
                    <a:pt x="26126" y="14291"/>
                    <a:pt x="26126" y="14291"/>
                  </a:cubicBezTo>
                  <a:cubicBezTo>
                    <a:pt x="26538" y="14136"/>
                    <a:pt x="26435" y="14291"/>
                    <a:pt x="26126" y="14531"/>
                  </a:cubicBezTo>
                  <a:lnTo>
                    <a:pt x="26126" y="14531"/>
                  </a:lnTo>
                  <a:cubicBezTo>
                    <a:pt x="25902" y="14737"/>
                    <a:pt x="26366" y="14531"/>
                    <a:pt x="26486" y="14531"/>
                  </a:cubicBezTo>
                  <a:cubicBezTo>
                    <a:pt x="26607" y="14531"/>
                    <a:pt x="26486" y="15029"/>
                    <a:pt x="26263" y="14995"/>
                  </a:cubicBezTo>
                  <a:cubicBezTo>
                    <a:pt x="26040" y="14961"/>
                    <a:pt x="26263" y="14995"/>
                    <a:pt x="26263" y="14995"/>
                  </a:cubicBezTo>
                  <a:cubicBezTo>
                    <a:pt x="26263" y="14995"/>
                    <a:pt x="26108" y="15133"/>
                    <a:pt x="26005" y="14995"/>
                  </a:cubicBezTo>
                  <a:cubicBezTo>
                    <a:pt x="26064" y="15057"/>
                    <a:pt x="26162" y="15059"/>
                    <a:pt x="26224" y="15000"/>
                  </a:cubicBezTo>
                  <a:cubicBezTo>
                    <a:pt x="26226" y="14998"/>
                    <a:pt x="26227" y="14997"/>
                    <a:pt x="26229" y="14995"/>
                  </a:cubicBezTo>
                  <a:cubicBezTo>
                    <a:pt x="26486" y="15098"/>
                    <a:pt x="26503" y="15373"/>
                    <a:pt x="26589" y="15579"/>
                  </a:cubicBezTo>
                  <a:cubicBezTo>
                    <a:pt x="26675" y="15785"/>
                    <a:pt x="26830" y="15545"/>
                    <a:pt x="26967" y="15613"/>
                  </a:cubicBezTo>
                  <a:close/>
                  <a:moveTo>
                    <a:pt x="18138" y="47476"/>
                  </a:moveTo>
                  <a:lnTo>
                    <a:pt x="18138" y="47476"/>
                  </a:lnTo>
                  <a:lnTo>
                    <a:pt x="18138" y="47476"/>
                  </a:lnTo>
                  <a:lnTo>
                    <a:pt x="18138" y="47476"/>
                  </a:lnTo>
                  <a:lnTo>
                    <a:pt x="18224" y="47476"/>
                  </a:lnTo>
                  <a:lnTo>
                    <a:pt x="18224" y="47476"/>
                  </a:lnTo>
                  <a:lnTo>
                    <a:pt x="17984" y="47338"/>
                  </a:lnTo>
                  <a:lnTo>
                    <a:pt x="17984" y="47338"/>
                  </a:lnTo>
                  <a:lnTo>
                    <a:pt x="17984" y="47338"/>
                  </a:lnTo>
                  <a:lnTo>
                    <a:pt x="18070" y="47338"/>
                  </a:lnTo>
                  <a:lnTo>
                    <a:pt x="18070" y="47338"/>
                  </a:lnTo>
                  <a:lnTo>
                    <a:pt x="18070" y="47338"/>
                  </a:lnTo>
                  <a:lnTo>
                    <a:pt x="17795" y="47218"/>
                  </a:lnTo>
                  <a:lnTo>
                    <a:pt x="17795" y="47218"/>
                  </a:lnTo>
                  <a:cubicBezTo>
                    <a:pt x="17795" y="47218"/>
                    <a:pt x="17795" y="47218"/>
                    <a:pt x="17795" y="47218"/>
                  </a:cubicBezTo>
                  <a:cubicBezTo>
                    <a:pt x="17762" y="47203"/>
                    <a:pt x="17725" y="47203"/>
                    <a:pt x="17692" y="47218"/>
                  </a:cubicBezTo>
                  <a:lnTo>
                    <a:pt x="17692" y="47218"/>
                  </a:lnTo>
                  <a:lnTo>
                    <a:pt x="17692" y="47218"/>
                  </a:lnTo>
                  <a:lnTo>
                    <a:pt x="17692" y="47218"/>
                  </a:lnTo>
                  <a:lnTo>
                    <a:pt x="17864" y="47218"/>
                  </a:lnTo>
                  <a:lnTo>
                    <a:pt x="17658" y="47218"/>
                  </a:lnTo>
                  <a:lnTo>
                    <a:pt x="17658" y="47218"/>
                  </a:lnTo>
                  <a:lnTo>
                    <a:pt x="17417" y="47115"/>
                  </a:lnTo>
                  <a:lnTo>
                    <a:pt x="17417" y="47115"/>
                  </a:lnTo>
                  <a:lnTo>
                    <a:pt x="17417" y="47115"/>
                  </a:lnTo>
                  <a:lnTo>
                    <a:pt x="17280" y="47115"/>
                  </a:lnTo>
                  <a:lnTo>
                    <a:pt x="17469" y="47218"/>
                  </a:lnTo>
                  <a:lnTo>
                    <a:pt x="17194" y="47081"/>
                  </a:lnTo>
                  <a:lnTo>
                    <a:pt x="17194" y="47081"/>
                  </a:lnTo>
                  <a:lnTo>
                    <a:pt x="17366" y="47081"/>
                  </a:lnTo>
                  <a:lnTo>
                    <a:pt x="17228" y="47081"/>
                  </a:lnTo>
                  <a:lnTo>
                    <a:pt x="17366" y="47081"/>
                  </a:lnTo>
                  <a:lnTo>
                    <a:pt x="17108" y="46961"/>
                  </a:lnTo>
                  <a:lnTo>
                    <a:pt x="17108" y="46961"/>
                  </a:lnTo>
                  <a:lnTo>
                    <a:pt x="17005" y="46961"/>
                  </a:lnTo>
                  <a:lnTo>
                    <a:pt x="17005" y="46961"/>
                  </a:lnTo>
                  <a:lnTo>
                    <a:pt x="16782" y="46858"/>
                  </a:lnTo>
                  <a:lnTo>
                    <a:pt x="16782" y="46858"/>
                  </a:lnTo>
                  <a:lnTo>
                    <a:pt x="16696" y="46858"/>
                  </a:lnTo>
                  <a:lnTo>
                    <a:pt x="16696" y="46858"/>
                  </a:lnTo>
                  <a:cubicBezTo>
                    <a:pt x="16557" y="46803"/>
                    <a:pt x="16425" y="46733"/>
                    <a:pt x="16301" y="46651"/>
                  </a:cubicBezTo>
                  <a:lnTo>
                    <a:pt x="16301" y="46651"/>
                  </a:lnTo>
                  <a:lnTo>
                    <a:pt x="16129" y="46548"/>
                  </a:lnTo>
                  <a:lnTo>
                    <a:pt x="16283" y="46651"/>
                  </a:lnTo>
                  <a:lnTo>
                    <a:pt x="15940" y="46462"/>
                  </a:lnTo>
                  <a:lnTo>
                    <a:pt x="15940" y="46462"/>
                  </a:lnTo>
                  <a:lnTo>
                    <a:pt x="15837" y="46462"/>
                  </a:lnTo>
                  <a:lnTo>
                    <a:pt x="15837" y="46462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510" y="46274"/>
                  </a:lnTo>
                  <a:lnTo>
                    <a:pt x="15510" y="46274"/>
                  </a:lnTo>
                  <a:lnTo>
                    <a:pt x="15339" y="46153"/>
                  </a:lnTo>
                  <a:lnTo>
                    <a:pt x="15339" y="46153"/>
                  </a:lnTo>
                  <a:lnTo>
                    <a:pt x="15201" y="46153"/>
                  </a:lnTo>
                  <a:lnTo>
                    <a:pt x="15201" y="46153"/>
                  </a:lnTo>
                  <a:cubicBezTo>
                    <a:pt x="15162" y="46164"/>
                    <a:pt x="15120" y="46164"/>
                    <a:pt x="15081" y="46153"/>
                  </a:cubicBezTo>
                  <a:lnTo>
                    <a:pt x="15081" y="46153"/>
                  </a:lnTo>
                  <a:lnTo>
                    <a:pt x="15218" y="46239"/>
                  </a:lnTo>
                  <a:lnTo>
                    <a:pt x="15081" y="46153"/>
                  </a:lnTo>
                  <a:lnTo>
                    <a:pt x="15081" y="46153"/>
                  </a:lnTo>
                  <a:lnTo>
                    <a:pt x="14961" y="46153"/>
                  </a:lnTo>
                  <a:lnTo>
                    <a:pt x="14961" y="46153"/>
                  </a:lnTo>
                  <a:lnTo>
                    <a:pt x="14823" y="46067"/>
                  </a:lnTo>
                  <a:cubicBezTo>
                    <a:pt x="14890" y="46095"/>
                    <a:pt x="14953" y="46130"/>
                    <a:pt x="15012" y="46170"/>
                  </a:cubicBezTo>
                  <a:cubicBezTo>
                    <a:pt x="15012" y="46170"/>
                    <a:pt x="15150" y="46274"/>
                    <a:pt x="15184" y="46274"/>
                  </a:cubicBezTo>
                  <a:lnTo>
                    <a:pt x="14720" y="45947"/>
                  </a:lnTo>
                  <a:lnTo>
                    <a:pt x="14720" y="45947"/>
                  </a:lnTo>
                  <a:cubicBezTo>
                    <a:pt x="14446" y="45724"/>
                    <a:pt x="14136" y="45535"/>
                    <a:pt x="13879" y="45312"/>
                  </a:cubicBezTo>
                  <a:lnTo>
                    <a:pt x="13982" y="45312"/>
                  </a:lnTo>
                  <a:lnTo>
                    <a:pt x="13827" y="45191"/>
                  </a:lnTo>
                  <a:lnTo>
                    <a:pt x="13827" y="45191"/>
                  </a:lnTo>
                  <a:cubicBezTo>
                    <a:pt x="13827" y="45191"/>
                    <a:pt x="13827" y="45191"/>
                    <a:pt x="13724" y="45191"/>
                  </a:cubicBezTo>
                  <a:lnTo>
                    <a:pt x="13724" y="45191"/>
                  </a:lnTo>
                  <a:lnTo>
                    <a:pt x="13724" y="45191"/>
                  </a:lnTo>
                  <a:lnTo>
                    <a:pt x="13724" y="45191"/>
                  </a:lnTo>
                  <a:cubicBezTo>
                    <a:pt x="13500" y="45056"/>
                    <a:pt x="13292" y="44895"/>
                    <a:pt x="13106" y="44710"/>
                  </a:cubicBezTo>
                  <a:lnTo>
                    <a:pt x="13106" y="44710"/>
                  </a:lnTo>
                  <a:cubicBezTo>
                    <a:pt x="12865" y="44453"/>
                    <a:pt x="12573" y="44264"/>
                    <a:pt x="12316" y="44023"/>
                  </a:cubicBezTo>
                  <a:cubicBezTo>
                    <a:pt x="12316" y="44023"/>
                    <a:pt x="12316" y="44023"/>
                    <a:pt x="12316" y="44023"/>
                  </a:cubicBezTo>
                  <a:cubicBezTo>
                    <a:pt x="11271" y="42931"/>
                    <a:pt x="10350" y="41727"/>
                    <a:pt x="9567" y="40434"/>
                  </a:cubicBezTo>
                  <a:lnTo>
                    <a:pt x="9567" y="40434"/>
                  </a:lnTo>
                  <a:cubicBezTo>
                    <a:pt x="9215" y="39466"/>
                    <a:pt x="8691" y="38570"/>
                    <a:pt x="8021" y="37788"/>
                  </a:cubicBezTo>
                  <a:lnTo>
                    <a:pt x="8021" y="37788"/>
                  </a:lnTo>
                  <a:cubicBezTo>
                    <a:pt x="6949" y="36560"/>
                    <a:pt x="6200" y="35084"/>
                    <a:pt x="5840" y="33494"/>
                  </a:cubicBezTo>
                  <a:cubicBezTo>
                    <a:pt x="5840" y="33494"/>
                    <a:pt x="5840" y="33494"/>
                    <a:pt x="5840" y="33580"/>
                  </a:cubicBezTo>
                  <a:cubicBezTo>
                    <a:pt x="5850" y="33546"/>
                    <a:pt x="5850" y="33511"/>
                    <a:pt x="5840" y="33477"/>
                  </a:cubicBezTo>
                  <a:cubicBezTo>
                    <a:pt x="5840" y="33477"/>
                    <a:pt x="5840" y="33580"/>
                    <a:pt x="5840" y="33614"/>
                  </a:cubicBezTo>
                  <a:cubicBezTo>
                    <a:pt x="5600" y="33202"/>
                    <a:pt x="5685" y="28461"/>
                    <a:pt x="5222" y="30299"/>
                  </a:cubicBezTo>
                  <a:cubicBezTo>
                    <a:pt x="5222" y="30299"/>
                    <a:pt x="5222" y="30093"/>
                    <a:pt x="5222" y="30042"/>
                  </a:cubicBezTo>
                  <a:cubicBezTo>
                    <a:pt x="5222" y="29990"/>
                    <a:pt x="5222" y="30042"/>
                    <a:pt x="5222" y="30128"/>
                  </a:cubicBezTo>
                  <a:cubicBezTo>
                    <a:pt x="5222" y="30213"/>
                    <a:pt x="5222" y="29887"/>
                    <a:pt x="5067" y="29784"/>
                  </a:cubicBezTo>
                  <a:cubicBezTo>
                    <a:pt x="4913" y="29681"/>
                    <a:pt x="5067" y="29784"/>
                    <a:pt x="5067" y="29784"/>
                  </a:cubicBezTo>
                  <a:lnTo>
                    <a:pt x="5067" y="29784"/>
                  </a:lnTo>
                  <a:cubicBezTo>
                    <a:pt x="5067" y="29784"/>
                    <a:pt x="5067" y="29612"/>
                    <a:pt x="5067" y="29544"/>
                  </a:cubicBezTo>
                  <a:cubicBezTo>
                    <a:pt x="5067" y="29475"/>
                    <a:pt x="5067" y="29664"/>
                    <a:pt x="5067" y="29715"/>
                  </a:cubicBezTo>
                  <a:cubicBezTo>
                    <a:pt x="5067" y="29458"/>
                    <a:pt x="4947" y="29166"/>
                    <a:pt x="4844" y="28908"/>
                  </a:cubicBezTo>
                  <a:cubicBezTo>
                    <a:pt x="4844" y="28994"/>
                    <a:pt x="4844" y="29080"/>
                    <a:pt x="4844" y="29183"/>
                  </a:cubicBezTo>
                  <a:cubicBezTo>
                    <a:pt x="4689" y="28753"/>
                    <a:pt x="4672" y="28290"/>
                    <a:pt x="4552" y="27843"/>
                  </a:cubicBezTo>
                  <a:cubicBezTo>
                    <a:pt x="4552" y="27929"/>
                    <a:pt x="4552" y="27843"/>
                    <a:pt x="4552" y="27740"/>
                  </a:cubicBezTo>
                  <a:cubicBezTo>
                    <a:pt x="4552" y="27637"/>
                    <a:pt x="4552" y="27740"/>
                    <a:pt x="4552" y="27740"/>
                  </a:cubicBezTo>
                  <a:cubicBezTo>
                    <a:pt x="4552" y="27740"/>
                    <a:pt x="4552" y="27740"/>
                    <a:pt x="4552" y="27740"/>
                  </a:cubicBezTo>
                  <a:cubicBezTo>
                    <a:pt x="4552" y="27740"/>
                    <a:pt x="4552" y="27740"/>
                    <a:pt x="4552" y="27740"/>
                  </a:cubicBezTo>
                  <a:cubicBezTo>
                    <a:pt x="4343" y="27287"/>
                    <a:pt x="4226" y="26796"/>
                    <a:pt x="4208" y="26297"/>
                  </a:cubicBezTo>
                  <a:cubicBezTo>
                    <a:pt x="4218" y="26366"/>
                    <a:pt x="4218" y="26435"/>
                    <a:pt x="4208" y="26503"/>
                  </a:cubicBezTo>
                  <a:cubicBezTo>
                    <a:pt x="4218" y="26435"/>
                    <a:pt x="4218" y="26366"/>
                    <a:pt x="4208" y="26297"/>
                  </a:cubicBezTo>
                  <a:lnTo>
                    <a:pt x="4208" y="26297"/>
                  </a:lnTo>
                  <a:cubicBezTo>
                    <a:pt x="4208" y="26297"/>
                    <a:pt x="4208" y="26297"/>
                    <a:pt x="4208" y="26297"/>
                  </a:cubicBezTo>
                  <a:lnTo>
                    <a:pt x="4208" y="26297"/>
                  </a:lnTo>
                  <a:lnTo>
                    <a:pt x="4208" y="26297"/>
                  </a:lnTo>
                  <a:cubicBezTo>
                    <a:pt x="4208" y="26297"/>
                    <a:pt x="4208" y="26297"/>
                    <a:pt x="4208" y="26400"/>
                  </a:cubicBezTo>
                  <a:cubicBezTo>
                    <a:pt x="4208" y="26503"/>
                    <a:pt x="4208" y="26400"/>
                    <a:pt x="4208" y="26400"/>
                  </a:cubicBezTo>
                  <a:lnTo>
                    <a:pt x="4208" y="26400"/>
                  </a:lnTo>
                  <a:lnTo>
                    <a:pt x="4208" y="26400"/>
                  </a:lnTo>
                  <a:cubicBezTo>
                    <a:pt x="4208" y="26314"/>
                    <a:pt x="4208" y="26194"/>
                    <a:pt x="4208" y="26091"/>
                  </a:cubicBezTo>
                  <a:lnTo>
                    <a:pt x="4208" y="26091"/>
                  </a:lnTo>
                  <a:cubicBezTo>
                    <a:pt x="4200" y="26034"/>
                    <a:pt x="4200" y="25976"/>
                    <a:pt x="4208" y="25919"/>
                  </a:cubicBezTo>
                  <a:lnTo>
                    <a:pt x="4208" y="25919"/>
                  </a:lnTo>
                  <a:cubicBezTo>
                    <a:pt x="4191" y="25679"/>
                    <a:pt x="4191" y="25438"/>
                    <a:pt x="4208" y="25198"/>
                  </a:cubicBezTo>
                  <a:lnTo>
                    <a:pt x="4208" y="25198"/>
                  </a:lnTo>
                  <a:cubicBezTo>
                    <a:pt x="4208" y="25198"/>
                    <a:pt x="4208" y="25112"/>
                    <a:pt x="4208" y="25078"/>
                  </a:cubicBezTo>
                  <a:lnTo>
                    <a:pt x="4208" y="25078"/>
                  </a:lnTo>
                  <a:cubicBezTo>
                    <a:pt x="4764" y="15747"/>
                    <a:pt x="10928" y="7687"/>
                    <a:pt x="19787" y="4706"/>
                  </a:cubicBezTo>
                  <a:lnTo>
                    <a:pt x="19787" y="4706"/>
                  </a:lnTo>
                  <a:lnTo>
                    <a:pt x="19994" y="4706"/>
                  </a:lnTo>
                  <a:lnTo>
                    <a:pt x="19994" y="4706"/>
                  </a:lnTo>
                  <a:lnTo>
                    <a:pt x="20217" y="4706"/>
                  </a:lnTo>
                  <a:lnTo>
                    <a:pt x="20062" y="4706"/>
                  </a:lnTo>
                  <a:lnTo>
                    <a:pt x="20337" y="4706"/>
                  </a:lnTo>
                  <a:lnTo>
                    <a:pt x="20234" y="4706"/>
                  </a:lnTo>
                  <a:lnTo>
                    <a:pt x="20234" y="4706"/>
                  </a:lnTo>
                  <a:lnTo>
                    <a:pt x="20423" y="4706"/>
                  </a:lnTo>
                  <a:lnTo>
                    <a:pt x="20423" y="4706"/>
                  </a:lnTo>
                  <a:lnTo>
                    <a:pt x="21711" y="4414"/>
                  </a:lnTo>
                  <a:lnTo>
                    <a:pt x="21711" y="4414"/>
                  </a:lnTo>
                  <a:lnTo>
                    <a:pt x="22038" y="4414"/>
                  </a:lnTo>
                  <a:lnTo>
                    <a:pt x="21814" y="4414"/>
                  </a:lnTo>
                  <a:lnTo>
                    <a:pt x="21814" y="4414"/>
                  </a:lnTo>
                  <a:lnTo>
                    <a:pt x="22415" y="4414"/>
                  </a:lnTo>
                  <a:lnTo>
                    <a:pt x="22415" y="4414"/>
                  </a:lnTo>
                  <a:lnTo>
                    <a:pt x="22106" y="4414"/>
                  </a:lnTo>
                  <a:lnTo>
                    <a:pt x="22398" y="4414"/>
                  </a:lnTo>
                  <a:lnTo>
                    <a:pt x="22398" y="4414"/>
                  </a:lnTo>
                  <a:lnTo>
                    <a:pt x="22690" y="4414"/>
                  </a:lnTo>
                  <a:lnTo>
                    <a:pt x="22587" y="4414"/>
                  </a:lnTo>
                  <a:lnTo>
                    <a:pt x="22484" y="4414"/>
                  </a:lnTo>
                  <a:lnTo>
                    <a:pt x="22725" y="4414"/>
                  </a:lnTo>
                  <a:lnTo>
                    <a:pt x="22347" y="4414"/>
                  </a:lnTo>
                  <a:lnTo>
                    <a:pt x="22244" y="4414"/>
                  </a:lnTo>
                  <a:lnTo>
                    <a:pt x="22055" y="4414"/>
                  </a:lnTo>
                  <a:lnTo>
                    <a:pt x="22415" y="4414"/>
                  </a:lnTo>
                  <a:lnTo>
                    <a:pt x="22020" y="4414"/>
                  </a:lnTo>
                  <a:lnTo>
                    <a:pt x="22020" y="4414"/>
                  </a:lnTo>
                  <a:lnTo>
                    <a:pt x="21608" y="4414"/>
                  </a:lnTo>
                  <a:lnTo>
                    <a:pt x="21608" y="4414"/>
                  </a:lnTo>
                  <a:lnTo>
                    <a:pt x="21213" y="4500"/>
                  </a:lnTo>
                  <a:lnTo>
                    <a:pt x="21385" y="4500"/>
                  </a:lnTo>
                  <a:lnTo>
                    <a:pt x="21385" y="4500"/>
                  </a:lnTo>
                  <a:cubicBezTo>
                    <a:pt x="21251" y="4544"/>
                    <a:pt x="21113" y="4572"/>
                    <a:pt x="20973" y="4586"/>
                  </a:cubicBezTo>
                  <a:lnTo>
                    <a:pt x="21144" y="4586"/>
                  </a:lnTo>
                  <a:lnTo>
                    <a:pt x="20955" y="4586"/>
                  </a:lnTo>
                  <a:lnTo>
                    <a:pt x="20955" y="4586"/>
                  </a:lnTo>
                  <a:lnTo>
                    <a:pt x="20835" y="4586"/>
                  </a:lnTo>
                  <a:lnTo>
                    <a:pt x="20835" y="4586"/>
                  </a:lnTo>
                  <a:lnTo>
                    <a:pt x="20835" y="4586"/>
                  </a:lnTo>
                  <a:cubicBezTo>
                    <a:pt x="20835" y="4586"/>
                    <a:pt x="20835" y="4586"/>
                    <a:pt x="20835" y="4586"/>
                  </a:cubicBezTo>
                  <a:lnTo>
                    <a:pt x="20835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560" y="4586"/>
                  </a:lnTo>
                  <a:lnTo>
                    <a:pt x="20560" y="4586"/>
                  </a:lnTo>
                  <a:lnTo>
                    <a:pt x="20114" y="4706"/>
                  </a:lnTo>
                  <a:lnTo>
                    <a:pt x="20114" y="4706"/>
                  </a:lnTo>
                  <a:lnTo>
                    <a:pt x="19787" y="4827"/>
                  </a:lnTo>
                  <a:lnTo>
                    <a:pt x="19787" y="4827"/>
                  </a:lnTo>
                  <a:lnTo>
                    <a:pt x="19392" y="4947"/>
                  </a:lnTo>
                  <a:lnTo>
                    <a:pt x="19392" y="4947"/>
                  </a:lnTo>
                  <a:lnTo>
                    <a:pt x="19100" y="5153"/>
                  </a:lnTo>
                  <a:lnTo>
                    <a:pt x="19100" y="5153"/>
                  </a:lnTo>
                  <a:lnTo>
                    <a:pt x="18997" y="5153"/>
                  </a:lnTo>
                  <a:lnTo>
                    <a:pt x="18997" y="5153"/>
                  </a:lnTo>
                  <a:lnTo>
                    <a:pt x="18430" y="5359"/>
                  </a:lnTo>
                  <a:lnTo>
                    <a:pt x="18568" y="5359"/>
                  </a:lnTo>
                  <a:lnTo>
                    <a:pt x="18568" y="5359"/>
                  </a:lnTo>
                  <a:cubicBezTo>
                    <a:pt x="18763" y="5286"/>
                    <a:pt x="18964" y="5229"/>
                    <a:pt x="19169" y="5187"/>
                  </a:cubicBezTo>
                  <a:lnTo>
                    <a:pt x="19169" y="5187"/>
                  </a:lnTo>
                  <a:lnTo>
                    <a:pt x="19341" y="5187"/>
                  </a:lnTo>
                  <a:lnTo>
                    <a:pt x="19461" y="5187"/>
                  </a:lnTo>
                  <a:lnTo>
                    <a:pt x="19186" y="5187"/>
                  </a:lnTo>
                  <a:lnTo>
                    <a:pt x="19186" y="5187"/>
                  </a:lnTo>
                  <a:lnTo>
                    <a:pt x="19032" y="5187"/>
                  </a:lnTo>
                  <a:lnTo>
                    <a:pt x="19032" y="5187"/>
                  </a:lnTo>
                  <a:lnTo>
                    <a:pt x="18911" y="5187"/>
                  </a:lnTo>
                  <a:lnTo>
                    <a:pt x="18911" y="5187"/>
                  </a:lnTo>
                  <a:lnTo>
                    <a:pt x="18740" y="5187"/>
                  </a:lnTo>
                  <a:lnTo>
                    <a:pt x="18740" y="5187"/>
                  </a:lnTo>
                  <a:lnTo>
                    <a:pt x="18894" y="5187"/>
                  </a:lnTo>
                  <a:lnTo>
                    <a:pt x="18894" y="5187"/>
                  </a:lnTo>
                  <a:lnTo>
                    <a:pt x="19049" y="5187"/>
                  </a:lnTo>
                  <a:lnTo>
                    <a:pt x="19049" y="5187"/>
                  </a:lnTo>
                  <a:lnTo>
                    <a:pt x="18860" y="5187"/>
                  </a:lnTo>
                  <a:cubicBezTo>
                    <a:pt x="18997" y="5187"/>
                    <a:pt x="19392" y="5067"/>
                    <a:pt x="19032" y="5187"/>
                  </a:cubicBezTo>
                  <a:lnTo>
                    <a:pt x="19186" y="5187"/>
                  </a:lnTo>
                  <a:lnTo>
                    <a:pt x="19289" y="5187"/>
                  </a:lnTo>
                  <a:lnTo>
                    <a:pt x="19650" y="5084"/>
                  </a:lnTo>
                  <a:cubicBezTo>
                    <a:pt x="19252" y="5196"/>
                    <a:pt x="18862" y="5334"/>
                    <a:pt x="18482" y="5497"/>
                  </a:cubicBezTo>
                  <a:lnTo>
                    <a:pt x="18654" y="5497"/>
                  </a:lnTo>
                  <a:lnTo>
                    <a:pt x="18654" y="5497"/>
                  </a:lnTo>
                  <a:cubicBezTo>
                    <a:pt x="18654" y="5497"/>
                    <a:pt x="18860" y="5497"/>
                    <a:pt x="18740" y="5497"/>
                  </a:cubicBezTo>
                  <a:lnTo>
                    <a:pt x="18894" y="5497"/>
                  </a:lnTo>
                  <a:lnTo>
                    <a:pt x="18894" y="5497"/>
                  </a:lnTo>
                  <a:lnTo>
                    <a:pt x="19032" y="5497"/>
                  </a:lnTo>
                  <a:cubicBezTo>
                    <a:pt x="18929" y="5497"/>
                    <a:pt x="18808" y="5497"/>
                    <a:pt x="18722" y="5617"/>
                  </a:cubicBezTo>
                  <a:lnTo>
                    <a:pt x="18722" y="5617"/>
                  </a:lnTo>
                  <a:lnTo>
                    <a:pt x="18585" y="5617"/>
                  </a:lnTo>
                  <a:lnTo>
                    <a:pt x="18585" y="5617"/>
                  </a:lnTo>
                  <a:lnTo>
                    <a:pt x="18413" y="5617"/>
                  </a:lnTo>
                  <a:cubicBezTo>
                    <a:pt x="18505" y="5624"/>
                    <a:pt x="18597" y="5624"/>
                    <a:pt x="18688" y="5617"/>
                  </a:cubicBezTo>
                  <a:cubicBezTo>
                    <a:pt x="18396" y="5771"/>
                    <a:pt x="18035" y="5909"/>
                    <a:pt x="17743" y="6098"/>
                  </a:cubicBezTo>
                  <a:lnTo>
                    <a:pt x="17743" y="6098"/>
                  </a:lnTo>
                  <a:lnTo>
                    <a:pt x="17554" y="6201"/>
                  </a:lnTo>
                  <a:lnTo>
                    <a:pt x="17743" y="6201"/>
                  </a:lnTo>
                  <a:lnTo>
                    <a:pt x="17743" y="6201"/>
                  </a:lnTo>
                  <a:cubicBezTo>
                    <a:pt x="17743" y="6201"/>
                    <a:pt x="17743" y="6201"/>
                    <a:pt x="17743" y="6201"/>
                  </a:cubicBezTo>
                  <a:cubicBezTo>
                    <a:pt x="17557" y="6309"/>
                    <a:pt x="17362" y="6402"/>
                    <a:pt x="17159" y="6476"/>
                  </a:cubicBezTo>
                  <a:cubicBezTo>
                    <a:pt x="17159" y="6476"/>
                    <a:pt x="17159" y="6476"/>
                    <a:pt x="17159" y="6476"/>
                  </a:cubicBezTo>
                  <a:cubicBezTo>
                    <a:pt x="17159" y="6476"/>
                    <a:pt x="17056" y="6476"/>
                    <a:pt x="17039" y="6476"/>
                  </a:cubicBezTo>
                  <a:lnTo>
                    <a:pt x="17039" y="6476"/>
                  </a:lnTo>
                  <a:cubicBezTo>
                    <a:pt x="16976" y="6499"/>
                    <a:pt x="16918" y="6534"/>
                    <a:pt x="16867" y="6579"/>
                  </a:cubicBezTo>
                  <a:lnTo>
                    <a:pt x="16867" y="6579"/>
                  </a:lnTo>
                  <a:cubicBezTo>
                    <a:pt x="16867" y="6579"/>
                    <a:pt x="16627" y="6750"/>
                    <a:pt x="16730" y="6716"/>
                  </a:cubicBezTo>
                  <a:lnTo>
                    <a:pt x="16730" y="6716"/>
                  </a:lnTo>
                  <a:lnTo>
                    <a:pt x="16730" y="6716"/>
                  </a:lnTo>
                  <a:lnTo>
                    <a:pt x="16730" y="6716"/>
                  </a:lnTo>
                  <a:cubicBezTo>
                    <a:pt x="16730" y="6716"/>
                    <a:pt x="16730" y="6716"/>
                    <a:pt x="16730" y="6716"/>
                  </a:cubicBezTo>
                  <a:lnTo>
                    <a:pt x="16885" y="6716"/>
                  </a:lnTo>
                  <a:lnTo>
                    <a:pt x="16627" y="6853"/>
                  </a:lnTo>
                  <a:lnTo>
                    <a:pt x="16627" y="6853"/>
                  </a:lnTo>
                  <a:cubicBezTo>
                    <a:pt x="16627" y="6853"/>
                    <a:pt x="16455" y="6853"/>
                    <a:pt x="16386" y="6991"/>
                  </a:cubicBezTo>
                  <a:cubicBezTo>
                    <a:pt x="16318" y="7128"/>
                    <a:pt x="16507" y="6991"/>
                    <a:pt x="16558" y="6991"/>
                  </a:cubicBezTo>
                  <a:cubicBezTo>
                    <a:pt x="16389" y="7066"/>
                    <a:pt x="16228" y="7158"/>
                    <a:pt x="16077" y="7266"/>
                  </a:cubicBezTo>
                  <a:lnTo>
                    <a:pt x="16077" y="7266"/>
                  </a:lnTo>
                  <a:lnTo>
                    <a:pt x="16077" y="7266"/>
                  </a:lnTo>
                  <a:cubicBezTo>
                    <a:pt x="16317" y="7116"/>
                    <a:pt x="16570" y="6989"/>
                    <a:pt x="16833" y="6888"/>
                  </a:cubicBezTo>
                  <a:lnTo>
                    <a:pt x="16833" y="6888"/>
                  </a:lnTo>
                  <a:cubicBezTo>
                    <a:pt x="16833" y="6888"/>
                    <a:pt x="16833" y="6888"/>
                    <a:pt x="16833" y="6888"/>
                  </a:cubicBezTo>
                  <a:lnTo>
                    <a:pt x="16833" y="6888"/>
                  </a:lnTo>
                  <a:lnTo>
                    <a:pt x="16936" y="6888"/>
                  </a:lnTo>
                  <a:lnTo>
                    <a:pt x="16833" y="6888"/>
                  </a:lnTo>
                  <a:cubicBezTo>
                    <a:pt x="16833" y="6888"/>
                    <a:pt x="16988" y="6785"/>
                    <a:pt x="17056" y="6785"/>
                  </a:cubicBezTo>
                  <a:lnTo>
                    <a:pt x="17056" y="6785"/>
                  </a:lnTo>
                  <a:cubicBezTo>
                    <a:pt x="17056" y="6785"/>
                    <a:pt x="17314" y="6682"/>
                    <a:pt x="17159" y="6785"/>
                  </a:cubicBezTo>
                  <a:lnTo>
                    <a:pt x="17039" y="6785"/>
                  </a:lnTo>
                  <a:cubicBezTo>
                    <a:pt x="17073" y="6775"/>
                    <a:pt x="17109" y="6775"/>
                    <a:pt x="17142" y="6785"/>
                  </a:cubicBezTo>
                  <a:lnTo>
                    <a:pt x="17022" y="6785"/>
                  </a:lnTo>
                  <a:lnTo>
                    <a:pt x="17022" y="6785"/>
                  </a:lnTo>
                  <a:cubicBezTo>
                    <a:pt x="17022" y="6785"/>
                    <a:pt x="17022" y="6785"/>
                    <a:pt x="16885" y="6785"/>
                  </a:cubicBezTo>
                  <a:cubicBezTo>
                    <a:pt x="16747" y="6785"/>
                    <a:pt x="17074" y="6785"/>
                    <a:pt x="17005" y="6785"/>
                  </a:cubicBezTo>
                  <a:cubicBezTo>
                    <a:pt x="17104" y="6745"/>
                    <a:pt x="17215" y="6745"/>
                    <a:pt x="17314" y="6785"/>
                  </a:cubicBezTo>
                  <a:lnTo>
                    <a:pt x="17314" y="6785"/>
                  </a:lnTo>
                  <a:cubicBezTo>
                    <a:pt x="17125" y="6922"/>
                    <a:pt x="16902" y="7025"/>
                    <a:pt x="16696" y="7145"/>
                  </a:cubicBezTo>
                  <a:lnTo>
                    <a:pt x="16696" y="7145"/>
                  </a:lnTo>
                  <a:lnTo>
                    <a:pt x="16696" y="7145"/>
                  </a:lnTo>
                  <a:lnTo>
                    <a:pt x="16696" y="7145"/>
                  </a:lnTo>
                  <a:cubicBezTo>
                    <a:pt x="16696" y="7145"/>
                    <a:pt x="16696" y="7145"/>
                    <a:pt x="16696" y="7145"/>
                  </a:cubicBezTo>
                  <a:lnTo>
                    <a:pt x="16696" y="7145"/>
                  </a:lnTo>
                  <a:lnTo>
                    <a:pt x="16696" y="7145"/>
                  </a:lnTo>
                  <a:lnTo>
                    <a:pt x="16455" y="7300"/>
                  </a:lnTo>
                  <a:lnTo>
                    <a:pt x="16455" y="7300"/>
                  </a:lnTo>
                  <a:cubicBezTo>
                    <a:pt x="16455" y="7300"/>
                    <a:pt x="16455" y="7300"/>
                    <a:pt x="16455" y="7386"/>
                  </a:cubicBezTo>
                  <a:lnTo>
                    <a:pt x="16610" y="7386"/>
                  </a:lnTo>
                  <a:lnTo>
                    <a:pt x="16610" y="7386"/>
                  </a:lnTo>
                  <a:lnTo>
                    <a:pt x="16610" y="7489"/>
                  </a:lnTo>
                  <a:cubicBezTo>
                    <a:pt x="16610" y="7489"/>
                    <a:pt x="16610" y="7489"/>
                    <a:pt x="16610" y="7489"/>
                  </a:cubicBezTo>
                  <a:lnTo>
                    <a:pt x="16610" y="7489"/>
                  </a:lnTo>
                  <a:cubicBezTo>
                    <a:pt x="16953" y="7266"/>
                    <a:pt x="16713" y="7489"/>
                    <a:pt x="16610" y="7592"/>
                  </a:cubicBezTo>
                  <a:cubicBezTo>
                    <a:pt x="16730" y="7592"/>
                    <a:pt x="16833" y="7386"/>
                    <a:pt x="16970" y="7334"/>
                  </a:cubicBezTo>
                  <a:lnTo>
                    <a:pt x="16970" y="7334"/>
                  </a:lnTo>
                  <a:cubicBezTo>
                    <a:pt x="16970" y="7334"/>
                    <a:pt x="17280" y="7145"/>
                    <a:pt x="17108" y="7334"/>
                  </a:cubicBezTo>
                  <a:lnTo>
                    <a:pt x="17245" y="7334"/>
                  </a:lnTo>
                  <a:lnTo>
                    <a:pt x="17142" y="7334"/>
                  </a:lnTo>
                  <a:cubicBezTo>
                    <a:pt x="17142" y="7334"/>
                    <a:pt x="17142" y="7334"/>
                    <a:pt x="17142" y="7334"/>
                  </a:cubicBezTo>
                  <a:cubicBezTo>
                    <a:pt x="17142" y="7334"/>
                    <a:pt x="17022" y="7334"/>
                    <a:pt x="16988" y="7437"/>
                  </a:cubicBezTo>
                  <a:lnTo>
                    <a:pt x="16988" y="7437"/>
                  </a:lnTo>
                  <a:cubicBezTo>
                    <a:pt x="16988" y="7437"/>
                    <a:pt x="16885" y="7437"/>
                    <a:pt x="16867" y="7437"/>
                  </a:cubicBezTo>
                  <a:cubicBezTo>
                    <a:pt x="17211" y="7317"/>
                    <a:pt x="16747" y="7437"/>
                    <a:pt x="16610" y="7575"/>
                  </a:cubicBezTo>
                  <a:lnTo>
                    <a:pt x="16610" y="7575"/>
                  </a:lnTo>
                  <a:lnTo>
                    <a:pt x="16421" y="7678"/>
                  </a:lnTo>
                  <a:lnTo>
                    <a:pt x="16421" y="7678"/>
                  </a:lnTo>
                  <a:lnTo>
                    <a:pt x="16283" y="7678"/>
                  </a:lnTo>
                  <a:cubicBezTo>
                    <a:pt x="16438" y="7678"/>
                    <a:pt x="16283" y="7678"/>
                    <a:pt x="16283" y="7678"/>
                  </a:cubicBezTo>
                  <a:lnTo>
                    <a:pt x="16283" y="7678"/>
                  </a:lnTo>
                  <a:lnTo>
                    <a:pt x="16129" y="7678"/>
                  </a:lnTo>
                  <a:lnTo>
                    <a:pt x="16129" y="7678"/>
                  </a:lnTo>
                  <a:lnTo>
                    <a:pt x="16129" y="7678"/>
                  </a:lnTo>
                  <a:lnTo>
                    <a:pt x="16129" y="7678"/>
                  </a:lnTo>
                  <a:cubicBezTo>
                    <a:pt x="16026" y="7678"/>
                    <a:pt x="15923" y="7833"/>
                    <a:pt x="15820" y="7867"/>
                  </a:cubicBezTo>
                  <a:cubicBezTo>
                    <a:pt x="15717" y="7901"/>
                    <a:pt x="15974" y="7764"/>
                    <a:pt x="16043" y="7747"/>
                  </a:cubicBezTo>
                  <a:cubicBezTo>
                    <a:pt x="16112" y="7729"/>
                    <a:pt x="16043" y="7747"/>
                    <a:pt x="16043" y="7747"/>
                  </a:cubicBezTo>
                  <a:cubicBezTo>
                    <a:pt x="16131" y="7705"/>
                    <a:pt x="16223" y="7670"/>
                    <a:pt x="16318" y="7644"/>
                  </a:cubicBezTo>
                  <a:lnTo>
                    <a:pt x="16198" y="7644"/>
                  </a:lnTo>
                  <a:cubicBezTo>
                    <a:pt x="16386" y="7558"/>
                    <a:pt x="16558" y="7420"/>
                    <a:pt x="16747" y="7352"/>
                  </a:cubicBezTo>
                  <a:lnTo>
                    <a:pt x="16747" y="7352"/>
                  </a:lnTo>
                  <a:lnTo>
                    <a:pt x="16747" y="7352"/>
                  </a:lnTo>
                  <a:cubicBezTo>
                    <a:pt x="16976" y="7288"/>
                    <a:pt x="17195" y="7196"/>
                    <a:pt x="17400" y="7077"/>
                  </a:cubicBezTo>
                  <a:cubicBezTo>
                    <a:pt x="17400" y="7077"/>
                    <a:pt x="17400" y="7077"/>
                    <a:pt x="17262" y="7077"/>
                  </a:cubicBezTo>
                  <a:lnTo>
                    <a:pt x="17262" y="7077"/>
                  </a:lnTo>
                  <a:cubicBezTo>
                    <a:pt x="17366" y="7077"/>
                    <a:pt x="17761" y="6836"/>
                    <a:pt x="17520" y="6991"/>
                  </a:cubicBezTo>
                  <a:cubicBezTo>
                    <a:pt x="17692" y="6991"/>
                    <a:pt x="17692" y="6819"/>
                    <a:pt x="17846" y="6768"/>
                  </a:cubicBezTo>
                  <a:cubicBezTo>
                    <a:pt x="17692" y="6768"/>
                    <a:pt x="17846" y="6768"/>
                    <a:pt x="17846" y="6768"/>
                  </a:cubicBezTo>
                  <a:lnTo>
                    <a:pt x="17846" y="6768"/>
                  </a:lnTo>
                  <a:cubicBezTo>
                    <a:pt x="18036" y="6628"/>
                    <a:pt x="18252" y="6528"/>
                    <a:pt x="18482" y="6476"/>
                  </a:cubicBezTo>
                  <a:lnTo>
                    <a:pt x="18482" y="6476"/>
                  </a:lnTo>
                  <a:cubicBezTo>
                    <a:pt x="18662" y="6364"/>
                    <a:pt x="18859" y="6282"/>
                    <a:pt x="19066" y="6235"/>
                  </a:cubicBezTo>
                  <a:lnTo>
                    <a:pt x="18911" y="6321"/>
                  </a:lnTo>
                  <a:cubicBezTo>
                    <a:pt x="19100" y="6321"/>
                    <a:pt x="19238" y="6149"/>
                    <a:pt x="19427" y="6115"/>
                  </a:cubicBezTo>
                  <a:lnTo>
                    <a:pt x="19238" y="6252"/>
                  </a:lnTo>
                  <a:cubicBezTo>
                    <a:pt x="20286" y="5617"/>
                    <a:pt x="22038" y="4998"/>
                    <a:pt x="20303" y="5909"/>
                  </a:cubicBezTo>
                  <a:cubicBezTo>
                    <a:pt x="20578" y="5823"/>
                    <a:pt x="21230" y="5411"/>
                    <a:pt x="21024" y="5651"/>
                  </a:cubicBezTo>
                  <a:cubicBezTo>
                    <a:pt x="21780" y="5393"/>
                    <a:pt x="20629" y="6012"/>
                    <a:pt x="20303" y="6149"/>
                  </a:cubicBezTo>
                  <a:cubicBezTo>
                    <a:pt x="20698" y="6012"/>
                    <a:pt x="20303" y="6149"/>
                    <a:pt x="20303" y="6149"/>
                  </a:cubicBezTo>
                  <a:cubicBezTo>
                    <a:pt x="20303" y="6149"/>
                    <a:pt x="20560" y="5977"/>
                    <a:pt x="20406" y="6149"/>
                  </a:cubicBezTo>
                  <a:cubicBezTo>
                    <a:pt x="20663" y="5857"/>
                    <a:pt x="20921" y="6149"/>
                    <a:pt x="20492" y="6235"/>
                  </a:cubicBezTo>
                  <a:cubicBezTo>
                    <a:pt x="20448" y="6218"/>
                    <a:pt x="20398" y="6218"/>
                    <a:pt x="20354" y="6235"/>
                  </a:cubicBezTo>
                  <a:cubicBezTo>
                    <a:pt x="20612" y="6235"/>
                    <a:pt x="20251" y="6321"/>
                    <a:pt x="20165" y="6355"/>
                  </a:cubicBezTo>
                  <a:cubicBezTo>
                    <a:pt x="20818" y="6149"/>
                    <a:pt x="19616" y="6647"/>
                    <a:pt x="20337" y="6355"/>
                  </a:cubicBezTo>
                  <a:cubicBezTo>
                    <a:pt x="19427" y="6750"/>
                    <a:pt x="20749" y="6355"/>
                    <a:pt x="19856" y="6716"/>
                  </a:cubicBezTo>
                  <a:cubicBezTo>
                    <a:pt x="19856" y="6819"/>
                    <a:pt x="19856" y="6716"/>
                    <a:pt x="20097" y="6716"/>
                  </a:cubicBezTo>
                  <a:cubicBezTo>
                    <a:pt x="19967" y="6814"/>
                    <a:pt x="19822" y="6889"/>
                    <a:pt x="19667" y="6939"/>
                  </a:cubicBezTo>
                  <a:cubicBezTo>
                    <a:pt x="19564" y="6939"/>
                    <a:pt x="20423" y="6939"/>
                    <a:pt x="19495" y="7145"/>
                  </a:cubicBezTo>
                  <a:cubicBezTo>
                    <a:pt x="19392" y="7145"/>
                    <a:pt x="19959" y="7145"/>
                    <a:pt x="19358" y="7266"/>
                  </a:cubicBezTo>
                  <a:cubicBezTo>
                    <a:pt x="19856" y="7094"/>
                    <a:pt x="19925" y="7266"/>
                    <a:pt x="19358" y="7352"/>
                  </a:cubicBezTo>
                  <a:cubicBezTo>
                    <a:pt x="19581" y="7541"/>
                    <a:pt x="19255" y="7592"/>
                    <a:pt x="19358" y="7523"/>
                  </a:cubicBezTo>
                  <a:cubicBezTo>
                    <a:pt x="19083" y="7523"/>
                    <a:pt x="19358" y="7747"/>
                    <a:pt x="19049" y="7626"/>
                  </a:cubicBezTo>
                  <a:cubicBezTo>
                    <a:pt x="18860" y="7953"/>
                    <a:pt x="19186" y="7764"/>
                    <a:pt x="18860" y="7918"/>
                  </a:cubicBezTo>
                  <a:cubicBezTo>
                    <a:pt x="19118" y="7833"/>
                    <a:pt x="18654" y="8193"/>
                    <a:pt x="18860" y="8039"/>
                  </a:cubicBezTo>
                  <a:cubicBezTo>
                    <a:pt x="18534" y="8365"/>
                    <a:pt x="19152" y="7850"/>
                    <a:pt x="18705" y="8399"/>
                  </a:cubicBezTo>
                  <a:cubicBezTo>
                    <a:pt x="18482" y="8520"/>
                    <a:pt x="19066" y="8399"/>
                    <a:pt x="18551" y="8588"/>
                  </a:cubicBezTo>
                  <a:cubicBezTo>
                    <a:pt x="18929" y="8434"/>
                    <a:pt x="18637" y="8966"/>
                    <a:pt x="18396" y="8829"/>
                  </a:cubicBezTo>
                  <a:cubicBezTo>
                    <a:pt x="18396" y="8966"/>
                    <a:pt x="18242" y="9069"/>
                    <a:pt x="18190" y="8966"/>
                  </a:cubicBezTo>
                  <a:cubicBezTo>
                    <a:pt x="18138" y="8863"/>
                    <a:pt x="18018" y="9155"/>
                    <a:pt x="18190" y="8966"/>
                  </a:cubicBezTo>
                  <a:cubicBezTo>
                    <a:pt x="18362" y="8777"/>
                    <a:pt x="17692" y="9447"/>
                    <a:pt x="17846" y="9155"/>
                  </a:cubicBezTo>
                  <a:cubicBezTo>
                    <a:pt x="17709" y="8966"/>
                    <a:pt x="18173" y="8709"/>
                    <a:pt x="18224" y="8605"/>
                  </a:cubicBezTo>
                  <a:cubicBezTo>
                    <a:pt x="17915" y="8777"/>
                    <a:pt x="18104" y="8605"/>
                    <a:pt x="18224" y="8434"/>
                  </a:cubicBezTo>
                  <a:cubicBezTo>
                    <a:pt x="18345" y="8262"/>
                    <a:pt x="17967" y="8640"/>
                    <a:pt x="18053" y="8434"/>
                  </a:cubicBezTo>
                  <a:cubicBezTo>
                    <a:pt x="17761" y="8709"/>
                    <a:pt x="17589" y="8743"/>
                    <a:pt x="17486" y="9155"/>
                  </a:cubicBezTo>
                  <a:cubicBezTo>
                    <a:pt x="17383" y="9567"/>
                    <a:pt x="16816" y="10065"/>
                    <a:pt x="16747" y="9842"/>
                  </a:cubicBezTo>
                  <a:cubicBezTo>
                    <a:pt x="16678" y="9619"/>
                    <a:pt x="16867" y="9722"/>
                    <a:pt x="16747" y="9396"/>
                  </a:cubicBezTo>
                  <a:cubicBezTo>
                    <a:pt x="16524" y="9791"/>
                    <a:pt x="16524" y="10306"/>
                    <a:pt x="16524" y="10306"/>
                  </a:cubicBezTo>
                  <a:cubicBezTo>
                    <a:pt x="15820" y="10461"/>
                    <a:pt x="16644" y="9104"/>
                    <a:pt x="16799" y="9069"/>
                  </a:cubicBezTo>
                  <a:cubicBezTo>
                    <a:pt x="16524" y="9172"/>
                    <a:pt x="16799" y="9069"/>
                    <a:pt x="16558" y="9069"/>
                  </a:cubicBezTo>
                  <a:cubicBezTo>
                    <a:pt x="16678" y="8897"/>
                    <a:pt x="16386" y="9155"/>
                    <a:pt x="16301" y="9069"/>
                  </a:cubicBezTo>
                  <a:cubicBezTo>
                    <a:pt x="16215" y="8983"/>
                    <a:pt x="17005" y="8382"/>
                    <a:pt x="16850" y="8794"/>
                  </a:cubicBezTo>
                  <a:cubicBezTo>
                    <a:pt x="18310" y="8485"/>
                    <a:pt x="19203" y="7077"/>
                    <a:pt x="19530" y="6733"/>
                  </a:cubicBezTo>
                  <a:cubicBezTo>
                    <a:pt x="19032" y="7145"/>
                    <a:pt x="19169" y="6733"/>
                    <a:pt x="18980" y="6733"/>
                  </a:cubicBezTo>
                  <a:cubicBezTo>
                    <a:pt x="18791" y="6733"/>
                    <a:pt x="19238" y="6579"/>
                    <a:pt x="18980" y="6561"/>
                  </a:cubicBezTo>
                  <a:cubicBezTo>
                    <a:pt x="19203" y="6321"/>
                    <a:pt x="18980" y="6561"/>
                    <a:pt x="18980" y="6373"/>
                  </a:cubicBezTo>
                  <a:lnTo>
                    <a:pt x="19083" y="6373"/>
                  </a:lnTo>
                  <a:lnTo>
                    <a:pt x="18929" y="6458"/>
                  </a:lnTo>
                  <a:cubicBezTo>
                    <a:pt x="18671" y="6579"/>
                    <a:pt x="18430" y="6733"/>
                    <a:pt x="18173" y="6871"/>
                  </a:cubicBezTo>
                  <a:lnTo>
                    <a:pt x="18173" y="6871"/>
                  </a:lnTo>
                  <a:lnTo>
                    <a:pt x="18293" y="6871"/>
                  </a:lnTo>
                  <a:lnTo>
                    <a:pt x="18242" y="6871"/>
                  </a:lnTo>
                  <a:lnTo>
                    <a:pt x="18242" y="6871"/>
                  </a:lnTo>
                  <a:cubicBezTo>
                    <a:pt x="18242" y="6957"/>
                    <a:pt x="17984" y="6871"/>
                    <a:pt x="17898" y="7025"/>
                  </a:cubicBezTo>
                  <a:lnTo>
                    <a:pt x="17898" y="7025"/>
                  </a:lnTo>
                  <a:lnTo>
                    <a:pt x="17898" y="7025"/>
                  </a:lnTo>
                  <a:lnTo>
                    <a:pt x="18001" y="7025"/>
                  </a:lnTo>
                  <a:cubicBezTo>
                    <a:pt x="18001" y="7025"/>
                    <a:pt x="18001" y="7025"/>
                    <a:pt x="18001" y="7025"/>
                  </a:cubicBezTo>
                  <a:lnTo>
                    <a:pt x="18001" y="7025"/>
                  </a:lnTo>
                  <a:cubicBezTo>
                    <a:pt x="18001" y="7025"/>
                    <a:pt x="17881" y="7025"/>
                    <a:pt x="17829" y="7025"/>
                  </a:cubicBezTo>
                  <a:lnTo>
                    <a:pt x="17829" y="7025"/>
                  </a:lnTo>
                  <a:lnTo>
                    <a:pt x="17829" y="7025"/>
                  </a:lnTo>
                  <a:cubicBezTo>
                    <a:pt x="17623" y="7180"/>
                    <a:pt x="17400" y="7300"/>
                    <a:pt x="17177" y="7437"/>
                  </a:cubicBezTo>
                  <a:lnTo>
                    <a:pt x="17434" y="7334"/>
                  </a:lnTo>
                  <a:lnTo>
                    <a:pt x="17434" y="7334"/>
                  </a:lnTo>
                  <a:lnTo>
                    <a:pt x="17864" y="7111"/>
                  </a:lnTo>
                  <a:cubicBezTo>
                    <a:pt x="17702" y="7258"/>
                    <a:pt x="17523" y="7385"/>
                    <a:pt x="17331" y="7489"/>
                  </a:cubicBezTo>
                  <a:lnTo>
                    <a:pt x="17331" y="7489"/>
                  </a:lnTo>
                  <a:cubicBezTo>
                    <a:pt x="17075" y="7607"/>
                    <a:pt x="16843" y="7770"/>
                    <a:pt x="16644" y="7970"/>
                  </a:cubicBezTo>
                  <a:cubicBezTo>
                    <a:pt x="16644" y="7970"/>
                    <a:pt x="16747" y="7884"/>
                    <a:pt x="16799" y="7884"/>
                  </a:cubicBezTo>
                  <a:lnTo>
                    <a:pt x="16799" y="7884"/>
                  </a:lnTo>
                  <a:lnTo>
                    <a:pt x="17675" y="7437"/>
                  </a:lnTo>
                  <a:lnTo>
                    <a:pt x="17675" y="7437"/>
                  </a:lnTo>
                  <a:lnTo>
                    <a:pt x="17675" y="7437"/>
                  </a:lnTo>
                  <a:cubicBezTo>
                    <a:pt x="17675" y="7437"/>
                    <a:pt x="17675" y="7334"/>
                    <a:pt x="17812" y="7352"/>
                  </a:cubicBezTo>
                  <a:lnTo>
                    <a:pt x="17812" y="7352"/>
                  </a:lnTo>
                  <a:cubicBezTo>
                    <a:pt x="17812" y="7352"/>
                    <a:pt x="17812" y="7352"/>
                    <a:pt x="17932" y="7352"/>
                  </a:cubicBezTo>
                  <a:lnTo>
                    <a:pt x="17932" y="7352"/>
                  </a:lnTo>
                  <a:lnTo>
                    <a:pt x="18362" y="7111"/>
                  </a:lnTo>
                  <a:cubicBezTo>
                    <a:pt x="18362" y="7111"/>
                    <a:pt x="18362" y="7111"/>
                    <a:pt x="18362" y="7266"/>
                  </a:cubicBezTo>
                  <a:lnTo>
                    <a:pt x="18362" y="7266"/>
                  </a:lnTo>
                  <a:cubicBezTo>
                    <a:pt x="18341" y="7321"/>
                    <a:pt x="18297" y="7365"/>
                    <a:pt x="18242" y="7386"/>
                  </a:cubicBezTo>
                  <a:cubicBezTo>
                    <a:pt x="18242" y="7300"/>
                    <a:pt x="18242" y="7472"/>
                    <a:pt x="18104" y="7489"/>
                  </a:cubicBezTo>
                  <a:cubicBezTo>
                    <a:pt x="17967" y="7506"/>
                    <a:pt x="17967" y="7626"/>
                    <a:pt x="17898" y="7626"/>
                  </a:cubicBezTo>
                  <a:cubicBezTo>
                    <a:pt x="17829" y="7626"/>
                    <a:pt x="17898" y="7626"/>
                    <a:pt x="17898" y="7626"/>
                  </a:cubicBezTo>
                  <a:lnTo>
                    <a:pt x="17898" y="7626"/>
                  </a:lnTo>
                  <a:cubicBezTo>
                    <a:pt x="17898" y="7626"/>
                    <a:pt x="17606" y="7764"/>
                    <a:pt x="17692" y="7626"/>
                  </a:cubicBezTo>
                  <a:lnTo>
                    <a:pt x="17692" y="7626"/>
                  </a:lnTo>
                  <a:cubicBezTo>
                    <a:pt x="17692" y="7626"/>
                    <a:pt x="17692" y="7712"/>
                    <a:pt x="17537" y="7729"/>
                  </a:cubicBezTo>
                  <a:lnTo>
                    <a:pt x="17537" y="7729"/>
                  </a:lnTo>
                  <a:cubicBezTo>
                    <a:pt x="17537" y="7729"/>
                    <a:pt x="17417" y="7729"/>
                    <a:pt x="17537" y="7729"/>
                  </a:cubicBezTo>
                  <a:cubicBezTo>
                    <a:pt x="17222" y="8004"/>
                    <a:pt x="16845" y="8199"/>
                    <a:pt x="16438" y="8296"/>
                  </a:cubicBezTo>
                  <a:cubicBezTo>
                    <a:pt x="16466" y="8278"/>
                    <a:pt x="16495" y="8261"/>
                    <a:pt x="16524" y="8245"/>
                  </a:cubicBezTo>
                  <a:lnTo>
                    <a:pt x="16524" y="8245"/>
                  </a:lnTo>
                  <a:lnTo>
                    <a:pt x="16661" y="8125"/>
                  </a:lnTo>
                  <a:lnTo>
                    <a:pt x="16661" y="8125"/>
                  </a:lnTo>
                  <a:cubicBezTo>
                    <a:pt x="16661" y="8125"/>
                    <a:pt x="16490" y="8210"/>
                    <a:pt x="16661" y="8125"/>
                  </a:cubicBezTo>
                  <a:cubicBezTo>
                    <a:pt x="16557" y="8250"/>
                    <a:pt x="16436" y="8360"/>
                    <a:pt x="16301" y="8451"/>
                  </a:cubicBezTo>
                  <a:lnTo>
                    <a:pt x="16404" y="8296"/>
                  </a:lnTo>
                  <a:cubicBezTo>
                    <a:pt x="16404" y="8296"/>
                    <a:pt x="16404" y="8382"/>
                    <a:pt x="16283" y="8399"/>
                  </a:cubicBezTo>
                  <a:cubicBezTo>
                    <a:pt x="16163" y="8417"/>
                    <a:pt x="16283" y="8399"/>
                    <a:pt x="16283" y="8399"/>
                  </a:cubicBezTo>
                  <a:lnTo>
                    <a:pt x="16283" y="8399"/>
                  </a:lnTo>
                  <a:lnTo>
                    <a:pt x="16438" y="8279"/>
                  </a:lnTo>
                  <a:cubicBezTo>
                    <a:pt x="16438" y="8279"/>
                    <a:pt x="16335" y="8279"/>
                    <a:pt x="16438" y="8279"/>
                  </a:cubicBezTo>
                  <a:lnTo>
                    <a:pt x="16438" y="8279"/>
                  </a:lnTo>
                  <a:lnTo>
                    <a:pt x="16438" y="8279"/>
                  </a:lnTo>
                  <a:cubicBezTo>
                    <a:pt x="16260" y="8438"/>
                    <a:pt x="16057" y="8566"/>
                    <a:pt x="15837" y="8657"/>
                  </a:cubicBezTo>
                  <a:lnTo>
                    <a:pt x="15837" y="8657"/>
                  </a:lnTo>
                  <a:cubicBezTo>
                    <a:pt x="15510" y="8846"/>
                    <a:pt x="15837" y="8520"/>
                    <a:pt x="15837" y="8365"/>
                  </a:cubicBezTo>
                  <a:cubicBezTo>
                    <a:pt x="15545" y="8537"/>
                    <a:pt x="15614" y="8846"/>
                    <a:pt x="15287" y="8932"/>
                  </a:cubicBezTo>
                  <a:lnTo>
                    <a:pt x="15287" y="8932"/>
                  </a:lnTo>
                  <a:lnTo>
                    <a:pt x="14841" y="9138"/>
                  </a:lnTo>
                  <a:cubicBezTo>
                    <a:pt x="14841" y="9138"/>
                    <a:pt x="14841" y="9138"/>
                    <a:pt x="14841" y="9138"/>
                  </a:cubicBezTo>
                  <a:lnTo>
                    <a:pt x="14841" y="9138"/>
                  </a:lnTo>
                  <a:lnTo>
                    <a:pt x="14841" y="9138"/>
                  </a:lnTo>
                  <a:cubicBezTo>
                    <a:pt x="14841" y="9138"/>
                    <a:pt x="14841" y="9138"/>
                    <a:pt x="14961" y="9035"/>
                  </a:cubicBezTo>
                  <a:cubicBezTo>
                    <a:pt x="15081" y="8932"/>
                    <a:pt x="14841" y="9035"/>
                    <a:pt x="14806" y="9121"/>
                  </a:cubicBezTo>
                  <a:cubicBezTo>
                    <a:pt x="14849" y="9096"/>
                    <a:pt x="14884" y="9060"/>
                    <a:pt x="14909" y="9018"/>
                  </a:cubicBezTo>
                  <a:cubicBezTo>
                    <a:pt x="14909" y="9018"/>
                    <a:pt x="14514" y="9344"/>
                    <a:pt x="14686" y="9138"/>
                  </a:cubicBezTo>
                  <a:lnTo>
                    <a:pt x="14531" y="9258"/>
                  </a:lnTo>
                  <a:cubicBezTo>
                    <a:pt x="14601" y="9111"/>
                    <a:pt x="14687" y="8973"/>
                    <a:pt x="14789" y="8846"/>
                  </a:cubicBezTo>
                  <a:lnTo>
                    <a:pt x="14789" y="8846"/>
                  </a:lnTo>
                  <a:lnTo>
                    <a:pt x="14789" y="8846"/>
                  </a:lnTo>
                  <a:lnTo>
                    <a:pt x="14703" y="8949"/>
                  </a:lnTo>
                  <a:cubicBezTo>
                    <a:pt x="14909" y="8794"/>
                    <a:pt x="14600" y="9138"/>
                    <a:pt x="14549" y="9121"/>
                  </a:cubicBezTo>
                  <a:lnTo>
                    <a:pt x="14686" y="9121"/>
                  </a:lnTo>
                  <a:cubicBezTo>
                    <a:pt x="14549" y="9361"/>
                    <a:pt x="13999" y="9653"/>
                    <a:pt x="14411" y="9121"/>
                  </a:cubicBezTo>
                  <a:cubicBezTo>
                    <a:pt x="14274" y="9207"/>
                    <a:pt x="14205" y="9361"/>
                    <a:pt x="14085" y="9447"/>
                  </a:cubicBezTo>
                  <a:lnTo>
                    <a:pt x="14085" y="9447"/>
                  </a:lnTo>
                  <a:lnTo>
                    <a:pt x="14085" y="9447"/>
                  </a:lnTo>
                  <a:lnTo>
                    <a:pt x="14085" y="9447"/>
                  </a:lnTo>
                  <a:lnTo>
                    <a:pt x="13930" y="9585"/>
                  </a:lnTo>
                  <a:cubicBezTo>
                    <a:pt x="13930" y="9585"/>
                    <a:pt x="13930" y="9585"/>
                    <a:pt x="13930" y="9585"/>
                  </a:cubicBezTo>
                  <a:cubicBezTo>
                    <a:pt x="13930" y="9585"/>
                    <a:pt x="13810" y="9585"/>
                    <a:pt x="13776" y="9585"/>
                  </a:cubicBezTo>
                  <a:cubicBezTo>
                    <a:pt x="13741" y="9585"/>
                    <a:pt x="13260" y="9911"/>
                    <a:pt x="13123" y="9945"/>
                  </a:cubicBezTo>
                  <a:lnTo>
                    <a:pt x="13123" y="9945"/>
                  </a:lnTo>
                  <a:cubicBezTo>
                    <a:pt x="12737" y="10291"/>
                    <a:pt x="12330" y="10612"/>
                    <a:pt x="11903" y="10907"/>
                  </a:cubicBezTo>
                  <a:cubicBezTo>
                    <a:pt x="12900" y="10254"/>
                    <a:pt x="11749" y="11405"/>
                    <a:pt x="11525" y="11405"/>
                  </a:cubicBezTo>
                  <a:cubicBezTo>
                    <a:pt x="11972" y="11405"/>
                    <a:pt x="11732" y="11783"/>
                    <a:pt x="11525" y="12092"/>
                  </a:cubicBezTo>
                  <a:lnTo>
                    <a:pt x="11525" y="12092"/>
                  </a:lnTo>
                  <a:cubicBezTo>
                    <a:pt x="11512" y="12253"/>
                    <a:pt x="11471" y="12409"/>
                    <a:pt x="11405" y="12556"/>
                  </a:cubicBezTo>
                  <a:cubicBezTo>
                    <a:pt x="11525" y="12556"/>
                    <a:pt x="11508" y="12693"/>
                    <a:pt x="11629" y="12693"/>
                  </a:cubicBezTo>
                  <a:lnTo>
                    <a:pt x="11629" y="12693"/>
                  </a:lnTo>
                  <a:cubicBezTo>
                    <a:pt x="11143" y="13178"/>
                    <a:pt x="10727" y="13727"/>
                    <a:pt x="10392" y="14325"/>
                  </a:cubicBezTo>
                  <a:cubicBezTo>
                    <a:pt x="10598" y="14325"/>
                    <a:pt x="10546" y="14325"/>
                    <a:pt x="10753" y="14188"/>
                  </a:cubicBezTo>
                  <a:cubicBezTo>
                    <a:pt x="10753" y="14274"/>
                    <a:pt x="10546" y="14445"/>
                    <a:pt x="10649" y="14514"/>
                  </a:cubicBezTo>
                  <a:cubicBezTo>
                    <a:pt x="11067" y="13670"/>
                    <a:pt x="11757" y="12992"/>
                    <a:pt x="12608" y="12590"/>
                  </a:cubicBezTo>
                  <a:cubicBezTo>
                    <a:pt x="13106" y="12024"/>
                    <a:pt x="13484" y="11337"/>
                    <a:pt x="13999" y="11148"/>
                  </a:cubicBezTo>
                  <a:lnTo>
                    <a:pt x="13999" y="11148"/>
                  </a:lnTo>
                  <a:cubicBezTo>
                    <a:pt x="14085" y="11148"/>
                    <a:pt x="14119" y="10976"/>
                    <a:pt x="14205" y="10976"/>
                  </a:cubicBezTo>
                  <a:cubicBezTo>
                    <a:pt x="14291" y="10976"/>
                    <a:pt x="14205" y="10873"/>
                    <a:pt x="14325" y="10856"/>
                  </a:cubicBezTo>
                  <a:cubicBezTo>
                    <a:pt x="14446" y="10838"/>
                    <a:pt x="15493" y="9808"/>
                    <a:pt x="15081" y="10409"/>
                  </a:cubicBezTo>
                  <a:cubicBezTo>
                    <a:pt x="15081" y="10409"/>
                    <a:pt x="15253" y="10409"/>
                    <a:pt x="15201" y="10409"/>
                  </a:cubicBezTo>
                  <a:lnTo>
                    <a:pt x="15201" y="10409"/>
                  </a:lnTo>
                  <a:cubicBezTo>
                    <a:pt x="15510" y="10409"/>
                    <a:pt x="15201" y="10409"/>
                    <a:pt x="15304" y="10564"/>
                  </a:cubicBezTo>
                  <a:cubicBezTo>
                    <a:pt x="15407" y="10718"/>
                    <a:pt x="15201" y="10649"/>
                    <a:pt x="15167" y="10701"/>
                  </a:cubicBezTo>
                  <a:lnTo>
                    <a:pt x="15167" y="10701"/>
                  </a:lnTo>
                  <a:cubicBezTo>
                    <a:pt x="15167" y="10701"/>
                    <a:pt x="15167" y="10804"/>
                    <a:pt x="15167" y="10856"/>
                  </a:cubicBezTo>
                  <a:lnTo>
                    <a:pt x="15167" y="10856"/>
                  </a:lnTo>
                  <a:cubicBezTo>
                    <a:pt x="15167" y="10856"/>
                    <a:pt x="15167" y="10941"/>
                    <a:pt x="15167" y="10941"/>
                  </a:cubicBezTo>
                  <a:lnTo>
                    <a:pt x="15167" y="10941"/>
                  </a:lnTo>
                  <a:cubicBezTo>
                    <a:pt x="15167" y="10941"/>
                    <a:pt x="15167" y="11027"/>
                    <a:pt x="15047" y="11079"/>
                  </a:cubicBez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cubicBezTo>
                    <a:pt x="15201" y="11079"/>
                    <a:pt x="15047" y="11165"/>
                    <a:pt x="15047" y="11216"/>
                  </a:cubicBezTo>
                  <a:cubicBezTo>
                    <a:pt x="15047" y="11268"/>
                    <a:pt x="15150" y="11113"/>
                    <a:pt x="15201" y="11130"/>
                  </a:cubicBezTo>
                  <a:cubicBezTo>
                    <a:pt x="15253" y="11148"/>
                    <a:pt x="14909" y="11337"/>
                    <a:pt x="14789" y="11508"/>
                  </a:cubicBezTo>
                  <a:lnTo>
                    <a:pt x="14789" y="11508"/>
                  </a:lnTo>
                  <a:cubicBezTo>
                    <a:pt x="14789" y="11508"/>
                    <a:pt x="14652" y="11629"/>
                    <a:pt x="14583" y="11508"/>
                  </a:cubicBezTo>
                  <a:cubicBezTo>
                    <a:pt x="14772" y="11680"/>
                    <a:pt x="14308" y="12041"/>
                    <a:pt x="14325" y="11989"/>
                  </a:cubicBezTo>
                  <a:cubicBezTo>
                    <a:pt x="14342" y="11938"/>
                    <a:pt x="14325" y="12144"/>
                    <a:pt x="14325" y="11989"/>
                  </a:cubicBezTo>
                  <a:cubicBezTo>
                    <a:pt x="14325" y="11835"/>
                    <a:pt x="14119" y="12264"/>
                    <a:pt x="14016" y="12367"/>
                  </a:cubicBezTo>
                  <a:cubicBezTo>
                    <a:pt x="14291" y="12178"/>
                    <a:pt x="14360" y="12144"/>
                    <a:pt x="14016" y="12367"/>
                  </a:cubicBezTo>
                  <a:cubicBezTo>
                    <a:pt x="14016" y="12367"/>
                    <a:pt x="14308" y="12127"/>
                    <a:pt x="14308" y="12230"/>
                  </a:cubicBezTo>
                  <a:cubicBezTo>
                    <a:pt x="14308" y="12333"/>
                    <a:pt x="14463" y="12109"/>
                    <a:pt x="14549" y="12075"/>
                  </a:cubicBezTo>
                  <a:cubicBezTo>
                    <a:pt x="14564" y="12131"/>
                    <a:pt x="14564" y="12191"/>
                    <a:pt x="14549" y="12247"/>
                  </a:cubicBezTo>
                  <a:cubicBezTo>
                    <a:pt x="14549" y="12161"/>
                    <a:pt x="14961" y="11800"/>
                    <a:pt x="14995" y="11921"/>
                  </a:cubicBezTo>
                  <a:cubicBezTo>
                    <a:pt x="15030" y="12041"/>
                    <a:pt x="14995" y="11921"/>
                    <a:pt x="14995" y="11921"/>
                  </a:cubicBezTo>
                  <a:cubicBezTo>
                    <a:pt x="14995" y="11921"/>
                    <a:pt x="14995" y="11817"/>
                    <a:pt x="15133" y="11817"/>
                  </a:cubicBezTo>
                  <a:lnTo>
                    <a:pt x="15133" y="11817"/>
                  </a:lnTo>
                  <a:cubicBezTo>
                    <a:pt x="15133" y="11732"/>
                    <a:pt x="15579" y="11457"/>
                    <a:pt x="15442" y="11577"/>
                  </a:cubicBezTo>
                  <a:lnTo>
                    <a:pt x="15442" y="11577"/>
                  </a:lnTo>
                  <a:cubicBezTo>
                    <a:pt x="15442" y="11577"/>
                    <a:pt x="15442" y="11697"/>
                    <a:pt x="15322" y="11697"/>
                  </a:cubicBezTo>
                  <a:cubicBezTo>
                    <a:pt x="15201" y="11697"/>
                    <a:pt x="15322" y="11697"/>
                    <a:pt x="15322" y="11783"/>
                  </a:cubicBezTo>
                  <a:lnTo>
                    <a:pt x="15322" y="11783"/>
                  </a:lnTo>
                  <a:cubicBezTo>
                    <a:pt x="15218" y="11783"/>
                    <a:pt x="15322" y="11955"/>
                    <a:pt x="15150" y="12006"/>
                  </a:cubicBezTo>
                  <a:cubicBezTo>
                    <a:pt x="14978" y="12058"/>
                    <a:pt x="15150" y="12127"/>
                    <a:pt x="15150" y="12006"/>
                  </a:cubicBezTo>
                  <a:cubicBezTo>
                    <a:pt x="15150" y="11886"/>
                    <a:pt x="14789" y="12161"/>
                    <a:pt x="15150" y="12144"/>
                  </a:cubicBezTo>
                  <a:cubicBezTo>
                    <a:pt x="15510" y="12127"/>
                    <a:pt x="14961" y="12298"/>
                    <a:pt x="15150" y="12247"/>
                  </a:cubicBezTo>
                  <a:cubicBezTo>
                    <a:pt x="15339" y="12195"/>
                    <a:pt x="14995" y="12419"/>
                    <a:pt x="14978" y="12247"/>
                  </a:cubicBezTo>
                  <a:cubicBezTo>
                    <a:pt x="14961" y="12075"/>
                    <a:pt x="14978" y="12333"/>
                    <a:pt x="14978" y="12350"/>
                  </a:cubicBezTo>
                  <a:cubicBezTo>
                    <a:pt x="14978" y="12367"/>
                    <a:pt x="15098" y="12350"/>
                    <a:pt x="15150" y="12350"/>
                  </a:cubicBezTo>
                  <a:cubicBezTo>
                    <a:pt x="15201" y="12350"/>
                    <a:pt x="14961" y="12350"/>
                    <a:pt x="14892" y="12505"/>
                  </a:cubicBezTo>
                  <a:cubicBezTo>
                    <a:pt x="15133" y="12505"/>
                    <a:pt x="15047" y="12505"/>
                    <a:pt x="14892" y="12608"/>
                  </a:cubicBezTo>
                  <a:cubicBezTo>
                    <a:pt x="14738" y="12711"/>
                    <a:pt x="14892" y="12608"/>
                    <a:pt x="14995" y="12608"/>
                  </a:cubicBezTo>
                  <a:cubicBezTo>
                    <a:pt x="15011" y="12682"/>
                    <a:pt x="14963" y="12755"/>
                    <a:pt x="14889" y="12770"/>
                  </a:cubicBezTo>
                  <a:cubicBezTo>
                    <a:pt x="14861" y="12776"/>
                    <a:pt x="14832" y="12773"/>
                    <a:pt x="14806" y="12762"/>
                  </a:cubicBezTo>
                  <a:cubicBezTo>
                    <a:pt x="14806" y="12762"/>
                    <a:pt x="14961" y="12848"/>
                    <a:pt x="14806" y="12917"/>
                  </a:cubicBezTo>
                  <a:cubicBezTo>
                    <a:pt x="14995" y="13020"/>
                    <a:pt x="14600" y="13157"/>
                    <a:pt x="14566" y="13089"/>
                  </a:cubicBezTo>
                  <a:cubicBezTo>
                    <a:pt x="14531" y="13020"/>
                    <a:pt x="14566" y="13363"/>
                    <a:pt x="14411" y="13312"/>
                  </a:cubicBezTo>
                  <a:cubicBezTo>
                    <a:pt x="14257" y="13260"/>
                    <a:pt x="14669" y="13312"/>
                    <a:pt x="14531" y="13415"/>
                  </a:cubicBezTo>
                  <a:cubicBezTo>
                    <a:pt x="14394" y="13518"/>
                    <a:pt x="14531" y="13415"/>
                    <a:pt x="14531" y="13501"/>
                  </a:cubicBezTo>
                  <a:cubicBezTo>
                    <a:pt x="14531" y="13587"/>
                    <a:pt x="14531" y="13501"/>
                    <a:pt x="14531" y="13621"/>
                  </a:cubicBezTo>
                  <a:lnTo>
                    <a:pt x="14634" y="13621"/>
                  </a:lnTo>
                  <a:cubicBezTo>
                    <a:pt x="14634" y="13707"/>
                    <a:pt x="14428" y="13879"/>
                    <a:pt x="14325" y="13844"/>
                  </a:cubicBezTo>
                  <a:cubicBezTo>
                    <a:pt x="14222" y="13810"/>
                    <a:pt x="14480" y="13844"/>
                    <a:pt x="14549" y="13844"/>
                  </a:cubicBezTo>
                  <a:cubicBezTo>
                    <a:pt x="14325" y="14050"/>
                    <a:pt x="14549" y="13844"/>
                    <a:pt x="14549" y="13844"/>
                  </a:cubicBezTo>
                  <a:cubicBezTo>
                    <a:pt x="14549" y="13844"/>
                    <a:pt x="14549" y="13844"/>
                    <a:pt x="14394" y="13999"/>
                  </a:cubicBezTo>
                  <a:cubicBezTo>
                    <a:pt x="14394" y="13999"/>
                    <a:pt x="14686" y="13810"/>
                    <a:pt x="14549" y="13999"/>
                  </a:cubicBezTo>
                  <a:lnTo>
                    <a:pt x="14549" y="13999"/>
                  </a:lnTo>
                  <a:cubicBezTo>
                    <a:pt x="14549" y="13999"/>
                    <a:pt x="14463" y="14102"/>
                    <a:pt x="14446" y="14153"/>
                  </a:cubicBezTo>
                  <a:cubicBezTo>
                    <a:pt x="14428" y="14205"/>
                    <a:pt x="14755" y="14153"/>
                    <a:pt x="14549" y="14153"/>
                  </a:cubicBezTo>
                  <a:cubicBezTo>
                    <a:pt x="14806" y="14342"/>
                    <a:pt x="14205" y="14239"/>
                    <a:pt x="14119" y="14360"/>
                  </a:cubicBezTo>
                  <a:cubicBezTo>
                    <a:pt x="14566" y="14360"/>
                    <a:pt x="13982" y="14360"/>
                    <a:pt x="13896" y="14497"/>
                  </a:cubicBezTo>
                  <a:cubicBezTo>
                    <a:pt x="13870" y="14437"/>
                    <a:pt x="13870" y="14368"/>
                    <a:pt x="13896" y="14308"/>
                  </a:cubicBezTo>
                  <a:cubicBezTo>
                    <a:pt x="13896" y="14445"/>
                    <a:pt x="13896" y="14531"/>
                    <a:pt x="13793" y="14634"/>
                  </a:cubicBezTo>
                  <a:cubicBezTo>
                    <a:pt x="13982" y="14634"/>
                    <a:pt x="14188" y="14342"/>
                    <a:pt x="14428" y="14411"/>
                  </a:cubicBezTo>
                  <a:cubicBezTo>
                    <a:pt x="14308" y="14257"/>
                    <a:pt x="14806" y="14411"/>
                    <a:pt x="14428" y="14617"/>
                  </a:cubicBezTo>
                  <a:cubicBezTo>
                    <a:pt x="14428" y="14617"/>
                    <a:pt x="14428" y="14617"/>
                    <a:pt x="14428" y="14617"/>
                  </a:cubicBezTo>
                  <a:cubicBezTo>
                    <a:pt x="14428" y="14617"/>
                    <a:pt x="14703" y="14463"/>
                    <a:pt x="14566" y="14617"/>
                  </a:cubicBezTo>
                  <a:cubicBezTo>
                    <a:pt x="14428" y="14772"/>
                    <a:pt x="14669" y="14617"/>
                    <a:pt x="14652" y="14617"/>
                  </a:cubicBezTo>
                  <a:cubicBezTo>
                    <a:pt x="14634" y="14617"/>
                    <a:pt x="14652" y="14789"/>
                    <a:pt x="14497" y="14772"/>
                  </a:cubicBezTo>
                  <a:cubicBezTo>
                    <a:pt x="14600" y="14772"/>
                    <a:pt x="14360" y="14995"/>
                    <a:pt x="14360" y="14875"/>
                  </a:cubicBezTo>
                  <a:cubicBezTo>
                    <a:pt x="14360" y="14755"/>
                    <a:pt x="14549" y="15047"/>
                    <a:pt x="14360" y="15012"/>
                  </a:cubicBezTo>
                  <a:cubicBezTo>
                    <a:pt x="14583" y="15115"/>
                    <a:pt x="13879" y="15407"/>
                    <a:pt x="13844" y="15287"/>
                  </a:cubicBezTo>
                  <a:cubicBezTo>
                    <a:pt x="13810" y="15167"/>
                    <a:pt x="13724" y="15287"/>
                    <a:pt x="13844" y="15287"/>
                  </a:cubicBezTo>
                  <a:cubicBezTo>
                    <a:pt x="13381" y="15682"/>
                    <a:pt x="13003" y="15734"/>
                    <a:pt x="12590" y="15407"/>
                  </a:cubicBezTo>
                  <a:cubicBezTo>
                    <a:pt x="12590" y="15407"/>
                    <a:pt x="12213" y="15407"/>
                    <a:pt x="12247" y="15253"/>
                  </a:cubicBezTo>
                  <a:cubicBezTo>
                    <a:pt x="11629" y="15631"/>
                    <a:pt x="11062" y="16026"/>
                    <a:pt x="10426" y="16369"/>
                  </a:cubicBezTo>
                  <a:cubicBezTo>
                    <a:pt x="10849" y="16193"/>
                    <a:pt x="11326" y="16193"/>
                    <a:pt x="11749" y="16369"/>
                  </a:cubicBezTo>
                  <a:cubicBezTo>
                    <a:pt x="11704" y="16429"/>
                    <a:pt x="11645" y="16477"/>
                    <a:pt x="11577" y="16507"/>
                  </a:cubicBezTo>
                  <a:cubicBezTo>
                    <a:pt x="11749" y="16507"/>
                    <a:pt x="11354" y="16885"/>
                    <a:pt x="11577" y="16936"/>
                  </a:cubicBezTo>
                  <a:cubicBezTo>
                    <a:pt x="11405" y="17022"/>
                    <a:pt x="11732" y="17262"/>
                    <a:pt x="11835" y="17125"/>
                  </a:cubicBezTo>
                  <a:cubicBezTo>
                    <a:pt x="11835" y="17125"/>
                    <a:pt x="11972" y="17262"/>
                    <a:pt x="11835" y="17245"/>
                  </a:cubicBezTo>
                  <a:cubicBezTo>
                    <a:pt x="12075" y="17245"/>
                    <a:pt x="11182" y="17520"/>
                    <a:pt x="11251" y="17365"/>
                  </a:cubicBezTo>
                  <a:cubicBezTo>
                    <a:pt x="11101" y="17505"/>
                    <a:pt x="10940" y="17631"/>
                    <a:pt x="10770" y="17743"/>
                  </a:cubicBezTo>
                  <a:lnTo>
                    <a:pt x="10770" y="17743"/>
                  </a:lnTo>
                  <a:cubicBezTo>
                    <a:pt x="10667" y="17743"/>
                    <a:pt x="10770" y="17589"/>
                    <a:pt x="10770" y="17640"/>
                  </a:cubicBezTo>
                  <a:cubicBezTo>
                    <a:pt x="10770" y="17417"/>
                    <a:pt x="11371" y="16988"/>
                    <a:pt x="11371" y="17280"/>
                  </a:cubicBezTo>
                  <a:cubicBezTo>
                    <a:pt x="11371" y="17177"/>
                    <a:pt x="11491" y="17280"/>
                    <a:pt x="11543" y="17194"/>
                  </a:cubicBezTo>
                  <a:cubicBezTo>
                    <a:pt x="11233" y="17073"/>
                    <a:pt x="11233" y="17194"/>
                    <a:pt x="11543" y="16970"/>
                  </a:cubicBezTo>
                  <a:lnTo>
                    <a:pt x="11543" y="16970"/>
                  </a:lnTo>
                  <a:lnTo>
                    <a:pt x="11543" y="16970"/>
                  </a:lnTo>
                  <a:cubicBezTo>
                    <a:pt x="11543" y="17073"/>
                    <a:pt x="11045" y="17245"/>
                    <a:pt x="11233" y="16970"/>
                  </a:cubicBezTo>
                  <a:cubicBezTo>
                    <a:pt x="11096" y="17125"/>
                    <a:pt x="11045" y="17073"/>
                    <a:pt x="10924" y="16970"/>
                  </a:cubicBezTo>
                  <a:cubicBezTo>
                    <a:pt x="10804" y="16867"/>
                    <a:pt x="10924" y="17091"/>
                    <a:pt x="10924" y="17159"/>
                  </a:cubicBezTo>
                  <a:cubicBezTo>
                    <a:pt x="10924" y="17228"/>
                    <a:pt x="10924" y="17331"/>
                    <a:pt x="10924" y="17159"/>
                  </a:cubicBezTo>
                  <a:cubicBezTo>
                    <a:pt x="10924" y="16988"/>
                    <a:pt x="10598" y="17314"/>
                    <a:pt x="10667" y="17159"/>
                  </a:cubicBezTo>
                  <a:cubicBezTo>
                    <a:pt x="10735" y="17005"/>
                    <a:pt x="10478" y="17245"/>
                    <a:pt x="10667" y="17159"/>
                  </a:cubicBezTo>
                  <a:cubicBezTo>
                    <a:pt x="10856" y="17073"/>
                    <a:pt x="10546" y="17297"/>
                    <a:pt x="10478" y="17331"/>
                  </a:cubicBezTo>
                  <a:lnTo>
                    <a:pt x="10478" y="17331"/>
                  </a:lnTo>
                  <a:cubicBezTo>
                    <a:pt x="10478" y="17331"/>
                    <a:pt x="10478" y="17417"/>
                    <a:pt x="10478" y="17331"/>
                  </a:cubicBezTo>
                  <a:cubicBezTo>
                    <a:pt x="10478" y="17245"/>
                    <a:pt x="10357" y="17469"/>
                    <a:pt x="10478" y="17331"/>
                  </a:cubicBezTo>
                  <a:cubicBezTo>
                    <a:pt x="10254" y="17331"/>
                    <a:pt x="9722" y="18345"/>
                    <a:pt x="10083" y="18001"/>
                  </a:cubicBezTo>
                  <a:cubicBezTo>
                    <a:pt x="10083" y="18138"/>
                    <a:pt x="9842" y="18327"/>
                    <a:pt x="9911" y="18087"/>
                  </a:cubicBezTo>
                  <a:cubicBezTo>
                    <a:pt x="9773" y="18259"/>
                    <a:pt x="9791" y="18241"/>
                    <a:pt x="9808" y="18087"/>
                  </a:cubicBezTo>
                  <a:cubicBezTo>
                    <a:pt x="9360" y="18252"/>
                    <a:pt x="8984" y="18568"/>
                    <a:pt x="8743" y="18980"/>
                  </a:cubicBezTo>
                  <a:lnTo>
                    <a:pt x="8743" y="18980"/>
                  </a:lnTo>
                  <a:lnTo>
                    <a:pt x="8743" y="18980"/>
                  </a:lnTo>
                  <a:cubicBezTo>
                    <a:pt x="8743" y="18980"/>
                    <a:pt x="8743" y="18825"/>
                    <a:pt x="8743" y="18740"/>
                  </a:cubicBezTo>
                  <a:cubicBezTo>
                    <a:pt x="8605" y="18980"/>
                    <a:pt x="8588" y="19289"/>
                    <a:pt x="8365" y="19495"/>
                  </a:cubicBezTo>
                  <a:lnTo>
                    <a:pt x="8365" y="19495"/>
                  </a:lnTo>
                  <a:lnTo>
                    <a:pt x="8262" y="19650"/>
                  </a:lnTo>
                  <a:cubicBezTo>
                    <a:pt x="8298" y="19536"/>
                    <a:pt x="8356" y="19431"/>
                    <a:pt x="8434" y="19341"/>
                  </a:cubicBezTo>
                  <a:cubicBezTo>
                    <a:pt x="8434" y="19341"/>
                    <a:pt x="8434" y="19255"/>
                    <a:pt x="8434" y="19221"/>
                  </a:cubicBezTo>
                  <a:lnTo>
                    <a:pt x="8434" y="19221"/>
                  </a:lnTo>
                  <a:cubicBezTo>
                    <a:pt x="8434" y="19014"/>
                    <a:pt x="8605" y="18860"/>
                    <a:pt x="8674" y="18671"/>
                  </a:cubicBezTo>
                  <a:cubicBezTo>
                    <a:pt x="8545" y="18838"/>
                    <a:pt x="8441" y="19023"/>
                    <a:pt x="8365" y="19221"/>
                  </a:cubicBezTo>
                  <a:cubicBezTo>
                    <a:pt x="8365" y="19117"/>
                    <a:pt x="8365" y="19032"/>
                    <a:pt x="8365" y="18929"/>
                  </a:cubicBezTo>
                  <a:cubicBezTo>
                    <a:pt x="8365" y="18825"/>
                    <a:pt x="8365" y="19581"/>
                    <a:pt x="8365" y="19324"/>
                  </a:cubicBezTo>
                  <a:cubicBezTo>
                    <a:pt x="8365" y="19324"/>
                    <a:pt x="8365" y="19598"/>
                    <a:pt x="8365" y="19530"/>
                  </a:cubicBezTo>
                  <a:cubicBezTo>
                    <a:pt x="8365" y="19461"/>
                    <a:pt x="8365" y="19616"/>
                    <a:pt x="8365" y="19650"/>
                  </a:cubicBezTo>
                  <a:cubicBezTo>
                    <a:pt x="8374" y="19605"/>
                    <a:pt x="8374" y="19558"/>
                    <a:pt x="8365" y="19513"/>
                  </a:cubicBezTo>
                  <a:cubicBezTo>
                    <a:pt x="8365" y="19650"/>
                    <a:pt x="8502" y="19719"/>
                    <a:pt x="8365" y="19856"/>
                  </a:cubicBezTo>
                  <a:lnTo>
                    <a:pt x="8365" y="19856"/>
                  </a:lnTo>
                  <a:cubicBezTo>
                    <a:pt x="8365" y="19993"/>
                    <a:pt x="8176" y="20148"/>
                    <a:pt x="8210" y="19976"/>
                  </a:cubicBezTo>
                  <a:cubicBezTo>
                    <a:pt x="8245" y="19805"/>
                    <a:pt x="8210" y="20079"/>
                    <a:pt x="8210" y="20097"/>
                  </a:cubicBezTo>
                  <a:cubicBezTo>
                    <a:pt x="8210" y="20114"/>
                    <a:pt x="8296" y="20097"/>
                    <a:pt x="8313" y="20234"/>
                  </a:cubicBezTo>
                  <a:cubicBezTo>
                    <a:pt x="8304" y="20200"/>
                    <a:pt x="8304" y="20165"/>
                    <a:pt x="8313" y="20131"/>
                  </a:cubicBezTo>
                  <a:cubicBezTo>
                    <a:pt x="8313" y="20234"/>
                    <a:pt x="8313" y="20285"/>
                    <a:pt x="8176" y="20354"/>
                  </a:cubicBezTo>
                  <a:cubicBezTo>
                    <a:pt x="8039" y="20423"/>
                    <a:pt x="8176" y="20354"/>
                    <a:pt x="8176" y="20251"/>
                  </a:cubicBezTo>
                  <a:cubicBezTo>
                    <a:pt x="8176" y="20148"/>
                    <a:pt x="8176" y="20251"/>
                    <a:pt x="8176" y="20251"/>
                  </a:cubicBezTo>
                  <a:cubicBezTo>
                    <a:pt x="8176" y="20251"/>
                    <a:pt x="8176" y="20474"/>
                    <a:pt x="8176" y="20389"/>
                  </a:cubicBezTo>
                  <a:lnTo>
                    <a:pt x="8176" y="20389"/>
                  </a:lnTo>
                  <a:lnTo>
                    <a:pt x="8176" y="20389"/>
                  </a:lnTo>
                  <a:lnTo>
                    <a:pt x="8176" y="20389"/>
                  </a:lnTo>
                  <a:cubicBezTo>
                    <a:pt x="6991" y="20389"/>
                    <a:pt x="6458" y="24992"/>
                    <a:pt x="6579" y="22982"/>
                  </a:cubicBezTo>
                  <a:cubicBezTo>
                    <a:pt x="6579" y="22982"/>
                    <a:pt x="6579" y="22982"/>
                    <a:pt x="6579" y="22982"/>
                  </a:cubicBezTo>
                  <a:cubicBezTo>
                    <a:pt x="6579" y="22982"/>
                    <a:pt x="6579" y="22982"/>
                    <a:pt x="6579" y="22982"/>
                  </a:cubicBezTo>
                  <a:lnTo>
                    <a:pt x="6579" y="22982"/>
                  </a:lnTo>
                  <a:cubicBezTo>
                    <a:pt x="6579" y="22879"/>
                    <a:pt x="6579" y="22707"/>
                    <a:pt x="6579" y="22604"/>
                  </a:cubicBezTo>
                  <a:cubicBezTo>
                    <a:pt x="6579" y="22501"/>
                    <a:pt x="6579" y="22604"/>
                    <a:pt x="6579" y="22707"/>
                  </a:cubicBezTo>
                  <a:cubicBezTo>
                    <a:pt x="6579" y="22810"/>
                    <a:pt x="6853" y="21780"/>
                    <a:pt x="6579" y="21745"/>
                  </a:cubicBezTo>
                  <a:cubicBezTo>
                    <a:pt x="6304" y="21711"/>
                    <a:pt x="6476" y="21849"/>
                    <a:pt x="6579" y="21745"/>
                  </a:cubicBezTo>
                  <a:lnTo>
                    <a:pt x="6579" y="21745"/>
                  </a:lnTo>
                  <a:lnTo>
                    <a:pt x="6579" y="21745"/>
                  </a:lnTo>
                  <a:cubicBezTo>
                    <a:pt x="6579" y="21745"/>
                    <a:pt x="6579" y="21574"/>
                    <a:pt x="6579" y="21642"/>
                  </a:cubicBezTo>
                  <a:cubicBezTo>
                    <a:pt x="6587" y="21603"/>
                    <a:pt x="6587" y="21562"/>
                    <a:pt x="6579" y="21522"/>
                  </a:cubicBezTo>
                  <a:lnTo>
                    <a:pt x="6579" y="21522"/>
                  </a:lnTo>
                  <a:cubicBezTo>
                    <a:pt x="6579" y="21522"/>
                    <a:pt x="6579" y="21436"/>
                    <a:pt x="6579" y="21385"/>
                  </a:cubicBezTo>
                  <a:lnTo>
                    <a:pt x="6579" y="21385"/>
                  </a:lnTo>
                  <a:cubicBezTo>
                    <a:pt x="6579" y="21385"/>
                    <a:pt x="6579" y="21385"/>
                    <a:pt x="6579" y="21385"/>
                  </a:cubicBezTo>
                  <a:cubicBezTo>
                    <a:pt x="6579" y="21385"/>
                    <a:pt x="6579" y="21385"/>
                    <a:pt x="6579" y="21385"/>
                  </a:cubicBezTo>
                  <a:cubicBezTo>
                    <a:pt x="6579" y="21385"/>
                    <a:pt x="6579" y="21282"/>
                    <a:pt x="6579" y="21230"/>
                  </a:cubicBezTo>
                  <a:lnTo>
                    <a:pt x="6579" y="21333"/>
                  </a:lnTo>
                  <a:cubicBezTo>
                    <a:pt x="6579" y="21230"/>
                    <a:pt x="6390" y="21333"/>
                    <a:pt x="6373" y="21453"/>
                  </a:cubicBezTo>
                  <a:lnTo>
                    <a:pt x="6373" y="21453"/>
                  </a:lnTo>
                  <a:cubicBezTo>
                    <a:pt x="6373" y="21642"/>
                    <a:pt x="6373" y="21763"/>
                    <a:pt x="6373" y="21849"/>
                  </a:cubicBezTo>
                  <a:cubicBezTo>
                    <a:pt x="6373" y="21934"/>
                    <a:pt x="6373" y="21471"/>
                    <a:pt x="6373" y="21763"/>
                  </a:cubicBezTo>
                  <a:lnTo>
                    <a:pt x="6373" y="21660"/>
                  </a:lnTo>
                  <a:cubicBezTo>
                    <a:pt x="6373" y="21539"/>
                    <a:pt x="6373" y="21471"/>
                    <a:pt x="6373" y="21350"/>
                  </a:cubicBezTo>
                  <a:cubicBezTo>
                    <a:pt x="6373" y="21230"/>
                    <a:pt x="6373" y="21350"/>
                    <a:pt x="6373" y="21350"/>
                  </a:cubicBezTo>
                  <a:cubicBezTo>
                    <a:pt x="6373" y="21591"/>
                    <a:pt x="6373" y="21076"/>
                    <a:pt x="6184" y="21350"/>
                  </a:cubicBezTo>
                  <a:cubicBezTo>
                    <a:pt x="6184" y="21350"/>
                    <a:pt x="6184" y="21196"/>
                    <a:pt x="6184" y="21127"/>
                  </a:cubicBezTo>
                  <a:cubicBezTo>
                    <a:pt x="6184" y="21058"/>
                    <a:pt x="6184" y="21247"/>
                    <a:pt x="6184" y="21127"/>
                  </a:cubicBezTo>
                  <a:cubicBezTo>
                    <a:pt x="6193" y="21213"/>
                    <a:pt x="6193" y="21299"/>
                    <a:pt x="6184" y="21385"/>
                  </a:cubicBezTo>
                  <a:lnTo>
                    <a:pt x="6184" y="21385"/>
                  </a:lnTo>
                  <a:lnTo>
                    <a:pt x="6184" y="21505"/>
                  </a:lnTo>
                  <a:lnTo>
                    <a:pt x="6184" y="21505"/>
                  </a:lnTo>
                  <a:cubicBezTo>
                    <a:pt x="6184" y="21591"/>
                    <a:pt x="6184" y="21505"/>
                    <a:pt x="6184" y="21505"/>
                  </a:cubicBezTo>
                  <a:lnTo>
                    <a:pt x="6184" y="21505"/>
                  </a:lnTo>
                  <a:cubicBezTo>
                    <a:pt x="6184" y="21505"/>
                    <a:pt x="6184" y="21505"/>
                    <a:pt x="6184" y="21505"/>
                  </a:cubicBezTo>
                  <a:lnTo>
                    <a:pt x="6184" y="21505"/>
                  </a:lnTo>
                  <a:cubicBezTo>
                    <a:pt x="6184" y="21505"/>
                    <a:pt x="6184" y="21608"/>
                    <a:pt x="6184" y="21608"/>
                  </a:cubicBezTo>
                  <a:lnTo>
                    <a:pt x="6184" y="21608"/>
                  </a:lnTo>
                  <a:cubicBezTo>
                    <a:pt x="6085" y="21918"/>
                    <a:pt x="6005" y="22233"/>
                    <a:pt x="5943" y="22553"/>
                  </a:cubicBezTo>
                  <a:cubicBezTo>
                    <a:pt x="5943" y="22553"/>
                    <a:pt x="5943" y="22433"/>
                    <a:pt x="5943" y="22398"/>
                  </a:cubicBezTo>
                  <a:cubicBezTo>
                    <a:pt x="5943" y="22364"/>
                    <a:pt x="5840" y="22862"/>
                    <a:pt x="5943" y="22621"/>
                  </a:cubicBezTo>
                  <a:cubicBezTo>
                    <a:pt x="5838" y="23115"/>
                    <a:pt x="5758" y="23614"/>
                    <a:pt x="5703" y="24116"/>
                  </a:cubicBezTo>
                  <a:cubicBezTo>
                    <a:pt x="5668" y="24579"/>
                    <a:pt x="5668" y="25044"/>
                    <a:pt x="5703" y="25507"/>
                  </a:cubicBezTo>
                  <a:cubicBezTo>
                    <a:pt x="5703" y="25507"/>
                    <a:pt x="5703" y="25507"/>
                    <a:pt x="5703" y="25507"/>
                  </a:cubicBezTo>
                  <a:cubicBezTo>
                    <a:pt x="5709" y="25479"/>
                    <a:pt x="5709" y="25449"/>
                    <a:pt x="5703" y="25421"/>
                  </a:cubicBezTo>
                  <a:lnTo>
                    <a:pt x="5703" y="25421"/>
                  </a:lnTo>
                  <a:cubicBezTo>
                    <a:pt x="5703" y="25421"/>
                    <a:pt x="5703" y="25421"/>
                    <a:pt x="5703" y="25421"/>
                  </a:cubicBezTo>
                  <a:lnTo>
                    <a:pt x="5703" y="25421"/>
                  </a:lnTo>
                  <a:cubicBezTo>
                    <a:pt x="5703" y="25421"/>
                    <a:pt x="5703" y="25559"/>
                    <a:pt x="5703" y="25627"/>
                  </a:cubicBezTo>
                  <a:lnTo>
                    <a:pt x="5703" y="25627"/>
                  </a:lnTo>
                  <a:lnTo>
                    <a:pt x="5703" y="25627"/>
                  </a:lnTo>
                  <a:cubicBezTo>
                    <a:pt x="5711" y="25553"/>
                    <a:pt x="5711" y="25478"/>
                    <a:pt x="5703" y="25404"/>
                  </a:cubicBezTo>
                  <a:lnTo>
                    <a:pt x="5703" y="25404"/>
                  </a:lnTo>
                  <a:cubicBezTo>
                    <a:pt x="5857" y="25249"/>
                    <a:pt x="5703" y="24511"/>
                    <a:pt x="5995" y="24665"/>
                  </a:cubicBezTo>
                  <a:cubicBezTo>
                    <a:pt x="5995" y="24665"/>
                    <a:pt x="5995" y="24562"/>
                    <a:pt x="5995" y="24665"/>
                  </a:cubicBezTo>
                  <a:cubicBezTo>
                    <a:pt x="5995" y="24769"/>
                    <a:pt x="5995" y="24665"/>
                    <a:pt x="5995" y="24665"/>
                  </a:cubicBezTo>
                  <a:cubicBezTo>
                    <a:pt x="5995" y="24665"/>
                    <a:pt x="5995" y="24820"/>
                    <a:pt x="5995" y="24665"/>
                  </a:cubicBezTo>
                  <a:cubicBezTo>
                    <a:pt x="6098" y="24957"/>
                    <a:pt x="5806" y="25284"/>
                    <a:pt x="5857" y="25593"/>
                  </a:cubicBezTo>
                  <a:cubicBezTo>
                    <a:pt x="5857" y="25593"/>
                    <a:pt x="5857" y="25868"/>
                    <a:pt x="5857" y="25919"/>
                  </a:cubicBezTo>
                  <a:cubicBezTo>
                    <a:pt x="5814" y="26294"/>
                    <a:pt x="5476" y="26563"/>
                    <a:pt x="5101" y="26521"/>
                  </a:cubicBezTo>
                  <a:cubicBezTo>
                    <a:pt x="4727" y="26478"/>
                    <a:pt x="4457" y="26140"/>
                    <a:pt x="4500" y="25765"/>
                  </a:cubicBezTo>
                  <a:cubicBezTo>
                    <a:pt x="4500" y="25954"/>
                    <a:pt x="4500" y="26349"/>
                    <a:pt x="4397" y="26658"/>
                  </a:cubicBezTo>
                  <a:lnTo>
                    <a:pt x="4397" y="26658"/>
                  </a:lnTo>
                  <a:cubicBezTo>
                    <a:pt x="4380" y="26726"/>
                    <a:pt x="4380" y="26796"/>
                    <a:pt x="4397" y="26864"/>
                  </a:cubicBezTo>
                  <a:lnTo>
                    <a:pt x="4397" y="26864"/>
                  </a:lnTo>
                  <a:cubicBezTo>
                    <a:pt x="4397" y="26864"/>
                    <a:pt x="4397" y="26864"/>
                    <a:pt x="4397" y="26950"/>
                  </a:cubicBezTo>
                  <a:cubicBezTo>
                    <a:pt x="4397" y="27036"/>
                    <a:pt x="4603" y="27139"/>
                    <a:pt x="4586" y="26950"/>
                  </a:cubicBezTo>
                  <a:cubicBezTo>
                    <a:pt x="4586" y="27053"/>
                    <a:pt x="4586" y="27105"/>
                    <a:pt x="4724" y="27190"/>
                  </a:cubicBezTo>
                  <a:lnTo>
                    <a:pt x="4724" y="27190"/>
                  </a:lnTo>
                  <a:cubicBezTo>
                    <a:pt x="4738" y="27241"/>
                    <a:pt x="4738" y="27295"/>
                    <a:pt x="4724" y="27345"/>
                  </a:cubicBezTo>
                  <a:cubicBezTo>
                    <a:pt x="4724" y="27208"/>
                    <a:pt x="4724" y="27345"/>
                    <a:pt x="4724" y="27448"/>
                  </a:cubicBezTo>
                  <a:lnTo>
                    <a:pt x="4724" y="27448"/>
                  </a:lnTo>
                  <a:cubicBezTo>
                    <a:pt x="4767" y="27681"/>
                    <a:pt x="4767" y="27920"/>
                    <a:pt x="4724" y="28152"/>
                  </a:cubicBezTo>
                  <a:lnTo>
                    <a:pt x="4724" y="28152"/>
                  </a:lnTo>
                  <a:cubicBezTo>
                    <a:pt x="4732" y="28307"/>
                    <a:pt x="4732" y="28462"/>
                    <a:pt x="4724" y="28616"/>
                  </a:cubicBezTo>
                  <a:cubicBezTo>
                    <a:pt x="4724" y="28616"/>
                    <a:pt x="4724" y="28513"/>
                    <a:pt x="4724" y="28444"/>
                  </a:cubicBezTo>
                  <a:cubicBezTo>
                    <a:pt x="4715" y="28564"/>
                    <a:pt x="4715" y="28685"/>
                    <a:pt x="4724" y="28805"/>
                  </a:cubicBezTo>
                  <a:cubicBezTo>
                    <a:pt x="4734" y="28777"/>
                    <a:pt x="4734" y="28747"/>
                    <a:pt x="4724" y="28719"/>
                  </a:cubicBezTo>
                  <a:cubicBezTo>
                    <a:pt x="4697" y="28861"/>
                    <a:pt x="4697" y="29007"/>
                    <a:pt x="4724" y="29149"/>
                  </a:cubicBezTo>
                  <a:cubicBezTo>
                    <a:pt x="4724" y="29063"/>
                    <a:pt x="4947" y="30042"/>
                    <a:pt x="4930" y="29733"/>
                  </a:cubicBezTo>
                  <a:cubicBezTo>
                    <a:pt x="5136" y="30265"/>
                    <a:pt x="5170" y="29131"/>
                    <a:pt x="5634" y="30471"/>
                  </a:cubicBezTo>
                  <a:cubicBezTo>
                    <a:pt x="5634" y="30368"/>
                    <a:pt x="5634" y="29337"/>
                    <a:pt x="5960" y="29595"/>
                  </a:cubicBezTo>
                  <a:cubicBezTo>
                    <a:pt x="5960" y="29818"/>
                    <a:pt x="5960" y="29595"/>
                    <a:pt x="5960" y="29475"/>
                  </a:cubicBezTo>
                  <a:cubicBezTo>
                    <a:pt x="5960" y="29355"/>
                    <a:pt x="6252" y="29303"/>
                    <a:pt x="6355" y="29234"/>
                  </a:cubicBezTo>
                  <a:cubicBezTo>
                    <a:pt x="6476" y="29458"/>
                    <a:pt x="6355" y="29836"/>
                    <a:pt x="6355" y="30145"/>
                  </a:cubicBezTo>
                  <a:cubicBezTo>
                    <a:pt x="6630" y="30901"/>
                    <a:pt x="6355" y="29681"/>
                    <a:pt x="6665" y="29664"/>
                  </a:cubicBezTo>
                  <a:cubicBezTo>
                    <a:pt x="6974" y="29647"/>
                    <a:pt x="6527" y="29544"/>
                    <a:pt x="6665" y="29441"/>
                  </a:cubicBezTo>
                  <a:cubicBezTo>
                    <a:pt x="6802" y="29337"/>
                    <a:pt x="6665" y="29664"/>
                    <a:pt x="6785" y="29733"/>
                  </a:cubicBezTo>
                  <a:cubicBezTo>
                    <a:pt x="6933" y="29741"/>
                    <a:pt x="7051" y="29859"/>
                    <a:pt x="7060" y="30007"/>
                  </a:cubicBezTo>
                  <a:cubicBezTo>
                    <a:pt x="6939" y="30213"/>
                    <a:pt x="7352" y="30145"/>
                    <a:pt x="7472" y="30196"/>
                  </a:cubicBezTo>
                  <a:cubicBezTo>
                    <a:pt x="7558" y="30660"/>
                    <a:pt x="8090" y="30042"/>
                    <a:pt x="8262" y="30402"/>
                  </a:cubicBezTo>
                  <a:cubicBezTo>
                    <a:pt x="8004" y="30402"/>
                    <a:pt x="8073" y="30402"/>
                    <a:pt x="8262" y="30643"/>
                  </a:cubicBezTo>
                  <a:cubicBezTo>
                    <a:pt x="8262" y="30471"/>
                    <a:pt x="8863" y="31107"/>
                    <a:pt x="8434" y="31107"/>
                  </a:cubicBezTo>
                  <a:cubicBezTo>
                    <a:pt x="8885" y="31152"/>
                    <a:pt x="9220" y="31547"/>
                    <a:pt x="9189" y="32000"/>
                  </a:cubicBezTo>
                  <a:cubicBezTo>
                    <a:pt x="9189" y="31673"/>
                    <a:pt x="9550" y="32154"/>
                    <a:pt x="9550" y="32309"/>
                  </a:cubicBezTo>
                  <a:cubicBezTo>
                    <a:pt x="9464" y="32103"/>
                    <a:pt x="10461" y="32309"/>
                    <a:pt x="10220" y="32532"/>
                  </a:cubicBezTo>
                  <a:cubicBezTo>
                    <a:pt x="10443" y="32361"/>
                    <a:pt x="10976" y="33030"/>
                    <a:pt x="10856" y="33151"/>
                  </a:cubicBezTo>
                  <a:cubicBezTo>
                    <a:pt x="11010" y="32893"/>
                    <a:pt x="11130" y="33735"/>
                    <a:pt x="11302" y="33924"/>
                  </a:cubicBezTo>
                  <a:cubicBezTo>
                    <a:pt x="11474" y="34113"/>
                    <a:pt x="10976" y="34559"/>
                    <a:pt x="11045" y="34868"/>
                  </a:cubicBezTo>
                  <a:cubicBezTo>
                    <a:pt x="11045" y="34611"/>
                    <a:pt x="11233" y="34628"/>
                    <a:pt x="11148" y="34868"/>
                  </a:cubicBezTo>
                  <a:cubicBezTo>
                    <a:pt x="11148" y="34868"/>
                    <a:pt x="11268" y="34559"/>
                    <a:pt x="11337" y="34731"/>
                  </a:cubicBezTo>
                  <a:cubicBezTo>
                    <a:pt x="11405" y="34903"/>
                    <a:pt x="11337" y="34731"/>
                    <a:pt x="11337" y="34731"/>
                  </a:cubicBezTo>
                  <a:cubicBezTo>
                    <a:pt x="11337" y="34216"/>
                    <a:pt x="12401" y="35143"/>
                    <a:pt x="11337" y="35092"/>
                  </a:cubicBezTo>
                  <a:cubicBezTo>
                    <a:pt x="11749" y="35092"/>
                    <a:pt x="11543" y="35315"/>
                    <a:pt x="11680" y="35624"/>
                  </a:cubicBezTo>
                  <a:cubicBezTo>
                    <a:pt x="11543" y="35074"/>
                    <a:pt x="12075" y="34576"/>
                    <a:pt x="12419" y="35074"/>
                  </a:cubicBezTo>
                  <a:cubicBezTo>
                    <a:pt x="12419" y="35074"/>
                    <a:pt x="12608" y="35177"/>
                    <a:pt x="12642" y="35263"/>
                  </a:cubicBezTo>
                  <a:cubicBezTo>
                    <a:pt x="12676" y="35349"/>
                    <a:pt x="12986" y="35366"/>
                    <a:pt x="12882" y="35469"/>
                  </a:cubicBezTo>
                  <a:cubicBezTo>
                    <a:pt x="12779" y="35573"/>
                    <a:pt x="12882" y="35727"/>
                    <a:pt x="12968" y="35830"/>
                  </a:cubicBezTo>
                  <a:cubicBezTo>
                    <a:pt x="13054" y="35933"/>
                    <a:pt x="12968" y="35487"/>
                    <a:pt x="12968" y="35710"/>
                  </a:cubicBezTo>
                  <a:cubicBezTo>
                    <a:pt x="12968" y="35555"/>
                    <a:pt x="13106" y="35607"/>
                    <a:pt x="12968" y="35504"/>
                  </a:cubicBezTo>
                  <a:cubicBezTo>
                    <a:pt x="12831" y="35401"/>
                    <a:pt x="13363" y="35761"/>
                    <a:pt x="13363" y="35641"/>
                  </a:cubicBezTo>
                  <a:cubicBezTo>
                    <a:pt x="13363" y="35521"/>
                    <a:pt x="13363" y="35641"/>
                    <a:pt x="13466" y="35744"/>
                  </a:cubicBezTo>
                  <a:cubicBezTo>
                    <a:pt x="13569" y="35847"/>
                    <a:pt x="13466" y="35744"/>
                    <a:pt x="13466" y="35744"/>
                  </a:cubicBezTo>
                  <a:lnTo>
                    <a:pt x="13466" y="35744"/>
                  </a:lnTo>
                  <a:lnTo>
                    <a:pt x="13466" y="35744"/>
                  </a:lnTo>
                  <a:cubicBezTo>
                    <a:pt x="14841" y="36157"/>
                    <a:pt x="16438" y="37462"/>
                    <a:pt x="14926" y="38922"/>
                  </a:cubicBezTo>
                  <a:cubicBezTo>
                    <a:pt x="14926" y="38836"/>
                    <a:pt x="14926" y="38682"/>
                    <a:pt x="14926" y="38819"/>
                  </a:cubicBezTo>
                  <a:cubicBezTo>
                    <a:pt x="14926" y="38956"/>
                    <a:pt x="14823" y="38819"/>
                    <a:pt x="14806" y="38819"/>
                  </a:cubicBezTo>
                  <a:lnTo>
                    <a:pt x="14806" y="38819"/>
                  </a:lnTo>
                  <a:cubicBezTo>
                    <a:pt x="15133" y="39386"/>
                    <a:pt x="15717" y="41619"/>
                    <a:pt x="14806" y="41447"/>
                  </a:cubicBezTo>
                  <a:cubicBezTo>
                    <a:pt x="14806" y="41447"/>
                    <a:pt x="14514" y="41447"/>
                    <a:pt x="14806" y="41447"/>
                  </a:cubicBezTo>
                  <a:cubicBezTo>
                    <a:pt x="15098" y="41447"/>
                    <a:pt x="14652" y="41447"/>
                    <a:pt x="14600" y="41447"/>
                  </a:cubicBezTo>
                  <a:cubicBezTo>
                    <a:pt x="14549" y="41447"/>
                    <a:pt x="14600" y="41533"/>
                    <a:pt x="14600" y="41687"/>
                  </a:cubicBezTo>
                  <a:cubicBezTo>
                    <a:pt x="14360" y="41498"/>
                    <a:pt x="14257" y="41997"/>
                    <a:pt x="14154" y="41962"/>
                  </a:cubicBezTo>
                  <a:cubicBezTo>
                    <a:pt x="14050" y="41928"/>
                    <a:pt x="14154" y="41962"/>
                    <a:pt x="14154" y="41962"/>
                  </a:cubicBezTo>
                  <a:cubicBezTo>
                    <a:pt x="14154" y="41962"/>
                    <a:pt x="14291" y="42048"/>
                    <a:pt x="14154" y="42048"/>
                  </a:cubicBezTo>
                  <a:cubicBezTo>
                    <a:pt x="14016" y="42048"/>
                    <a:pt x="14154" y="42048"/>
                    <a:pt x="14154" y="42048"/>
                  </a:cubicBezTo>
                  <a:cubicBezTo>
                    <a:pt x="14154" y="42048"/>
                    <a:pt x="14446" y="42426"/>
                    <a:pt x="14411" y="42529"/>
                  </a:cubicBezTo>
                  <a:cubicBezTo>
                    <a:pt x="14377" y="42632"/>
                    <a:pt x="14411" y="43697"/>
                    <a:pt x="14411" y="43336"/>
                  </a:cubicBezTo>
                  <a:cubicBezTo>
                    <a:pt x="14411" y="43336"/>
                    <a:pt x="14411" y="43336"/>
                    <a:pt x="14411" y="43250"/>
                  </a:cubicBezTo>
                  <a:cubicBezTo>
                    <a:pt x="14411" y="43165"/>
                    <a:pt x="14411" y="43113"/>
                    <a:pt x="14411" y="43113"/>
                  </a:cubicBezTo>
                  <a:cubicBezTo>
                    <a:pt x="14338" y="43042"/>
                    <a:pt x="14257" y="42979"/>
                    <a:pt x="14171" y="42924"/>
                  </a:cubicBezTo>
                  <a:cubicBezTo>
                    <a:pt x="14231" y="42979"/>
                    <a:pt x="14283" y="43043"/>
                    <a:pt x="14325" y="43113"/>
                  </a:cubicBezTo>
                  <a:cubicBezTo>
                    <a:pt x="14325" y="43113"/>
                    <a:pt x="14446" y="43354"/>
                    <a:pt x="14325" y="43250"/>
                  </a:cubicBezTo>
                  <a:cubicBezTo>
                    <a:pt x="14858" y="44041"/>
                    <a:pt x="14325" y="44264"/>
                    <a:pt x="13844" y="43817"/>
                  </a:cubicBezTo>
                  <a:lnTo>
                    <a:pt x="14549" y="44418"/>
                  </a:lnTo>
                  <a:lnTo>
                    <a:pt x="14549" y="44418"/>
                  </a:lnTo>
                  <a:cubicBezTo>
                    <a:pt x="14637" y="44494"/>
                    <a:pt x="14707" y="44587"/>
                    <a:pt x="14755" y="44693"/>
                  </a:cubicBezTo>
                  <a:lnTo>
                    <a:pt x="14755" y="44693"/>
                  </a:lnTo>
                  <a:cubicBezTo>
                    <a:pt x="14755" y="44693"/>
                    <a:pt x="14944" y="44951"/>
                    <a:pt x="14755" y="44882"/>
                  </a:cubicBezTo>
                  <a:cubicBezTo>
                    <a:pt x="14566" y="44814"/>
                    <a:pt x="14394" y="44882"/>
                    <a:pt x="14291" y="44882"/>
                  </a:cubicBezTo>
                  <a:cubicBezTo>
                    <a:pt x="14188" y="44882"/>
                    <a:pt x="14480" y="45037"/>
                    <a:pt x="14566" y="45123"/>
                  </a:cubicBezTo>
                  <a:lnTo>
                    <a:pt x="14566" y="45123"/>
                  </a:lnTo>
                  <a:cubicBezTo>
                    <a:pt x="14909" y="45466"/>
                    <a:pt x="14995" y="45569"/>
                    <a:pt x="14463" y="45294"/>
                  </a:cubicBezTo>
                  <a:cubicBezTo>
                    <a:pt x="14621" y="45462"/>
                    <a:pt x="14807" y="45602"/>
                    <a:pt x="15012" y="45707"/>
                  </a:cubicBezTo>
                  <a:cubicBezTo>
                    <a:pt x="15012" y="45707"/>
                    <a:pt x="15012" y="45707"/>
                    <a:pt x="15012" y="45707"/>
                  </a:cubicBezTo>
                  <a:lnTo>
                    <a:pt x="15012" y="45707"/>
                  </a:lnTo>
                  <a:cubicBezTo>
                    <a:pt x="15304" y="45930"/>
                    <a:pt x="15133" y="45947"/>
                    <a:pt x="15717" y="46359"/>
                  </a:cubicBezTo>
                  <a:lnTo>
                    <a:pt x="15717" y="46359"/>
                  </a:lnTo>
                  <a:lnTo>
                    <a:pt x="15717" y="46359"/>
                  </a:lnTo>
                  <a:lnTo>
                    <a:pt x="15717" y="46359"/>
                  </a:lnTo>
                  <a:cubicBezTo>
                    <a:pt x="15991" y="46669"/>
                    <a:pt x="16438" y="46737"/>
                    <a:pt x="16730" y="47012"/>
                  </a:cubicBezTo>
                  <a:lnTo>
                    <a:pt x="16730" y="47012"/>
                  </a:lnTo>
                  <a:lnTo>
                    <a:pt x="16730" y="47012"/>
                  </a:lnTo>
                  <a:lnTo>
                    <a:pt x="16730" y="47012"/>
                  </a:lnTo>
                  <a:lnTo>
                    <a:pt x="16885" y="47132"/>
                  </a:lnTo>
                  <a:lnTo>
                    <a:pt x="16885" y="47132"/>
                  </a:lnTo>
                  <a:lnTo>
                    <a:pt x="17091" y="47270"/>
                  </a:lnTo>
                  <a:cubicBezTo>
                    <a:pt x="17091" y="47270"/>
                    <a:pt x="17091" y="47270"/>
                    <a:pt x="16988" y="47270"/>
                  </a:cubicBezTo>
                  <a:cubicBezTo>
                    <a:pt x="17278" y="47454"/>
                    <a:pt x="17582" y="47614"/>
                    <a:pt x="17898" y="47751"/>
                  </a:cubicBezTo>
                  <a:lnTo>
                    <a:pt x="17898" y="47751"/>
                  </a:lnTo>
                  <a:cubicBezTo>
                    <a:pt x="17795" y="47751"/>
                    <a:pt x="17898" y="47751"/>
                    <a:pt x="17898" y="47751"/>
                  </a:cubicBezTo>
                  <a:lnTo>
                    <a:pt x="17898" y="47751"/>
                  </a:lnTo>
                  <a:cubicBezTo>
                    <a:pt x="18059" y="47847"/>
                    <a:pt x="18225" y="47933"/>
                    <a:pt x="18396" y="48008"/>
                  </a:cubicBezTo>
                  <a:lnTo>
                    <a:pt x="18173" y="48008"/>
                  </a:lnTo>
                  <a:close/>
                  <a:moveTo>
                    <a:pt x="20560" y="10117"/>
                  </a:moveTo>
                  <a:cubicBezTo>
                    <a:pt x="20286" y="10409"/>
                    <a:pt x="20560" y="10014"/>
                    <a:pt x="20560" y="9980"/>
                  </a:cubicBezTo>
                  <a:cubicBezTo>
                    <a:pt x="20560" y="9945"/>
                    <a:pt x="20423" y="10134"/>
                    <a:pt x="20286" y="10323"/>
                  </a:cubicBezTo>
                  <a:cubicBezTo>
                    <a:pt x="19822" y="10083"/>
                    <a:pt x="19581" y="10976"/>
                    <a:pt x="19289" y="10907"/>
                  </a:cubicBezTo>
                  <a:cubicBezTo>
                    <a:pt x="19530" y="11165"/>
                    <a:pt x="19100" y="10907"/>
                    <a:pt x="19152" y="11165"/>
                  </a:cubicBezTo>
                  <a:cubicBezTo>
                    <a:pt x="19014" y="10959"/>
                    <a:pt x="19152" y="11165"/>
                    <a:pt x="19152" y="11165"/>
                  </a:cubicBezTo>
                  <a:cubicBezTo>
                    <a:pt x="19152" y="10907"/>
                    <a:pt x="19152" y="11457"/>
                    <a:pt x="18997" y="11165"/>
                  </a:cubicBezTo>
                  <a:cubicBezTo>
                    <a:pt x="18688" y="11165"/>
                    <a:pt x="18997" y="11577"/>
                    <a:pt x="18585" y="11577"/>
                  </a:cubicBezTo>
                  <a:cubicBezTo>
                    <a:pt x="18585" y="11577"/>
                    <a:pt x="18327" y="12024"/>
                    <a:pt x="18259" y="11903"/>
                  </a:cubicBezTo>
                  <a:cubicBezTo>
                    <a:pt x="18190" y="11783"/>
                    <a:pt x="17846" y="12453"/>
                    <a:pt x="18001" y="12109"/>
                  </a:cubicBezTo>
                  <a:cubicBezTo>
                    <a:pt x="17537" y="12401"/>
                    <a:pt x="18104" y="11938"/>
                    <a:pt x="17743" y="12006"/>
                  </a:cubicBezTo>
                  <a:cubicBezTo>
                    <a:pt x="18173" y="11680"/>
                    <a:pt x="18070" y="11749"/>
                    <a:pt x="17503" y="11783"/>
                  </a:cubicBezTo>
                  <a:cubicBezTo>
                    <a:pt x="17588" y="11313"/>
                    <a:pt x="17763" y="10864"/>
                    <a:pt x="18018" y="10461"/>
                  </a:cubicBezTo>
                  <a:cubicBezTo>
                    <a:pt x="18018" y="10220"/>
                    <a:pt x="18224" y="10461"/>
                    <a:pt x="18448" y="10134"/>
                  </a:cubicBezTo>
                  <a:cubicBezTo>
                    <a:pt x="17984" y="10306"/>
                    <a:pt x="17984" y="10134"/>
                    <a:pt x="18448" y="9739"/>
                  </a:cubicBezTo>
                  <a:cubicBezTo>
                    <a:pt x="18345" y="9739"/>
                    <a:pt x="18207" y="9739"/>
                    <a:pt x="18345" y="9739"/>
                  </a:cubicBezTo>
                  <a:cubicBezTo>
                    <a:pt x="18482" y="9739"/>
                    <a:pt x="18345" y="9636"/>
                    <a:pt x="18963" y="9344"/>
                  </a:cubicBezTo>
                  <a:cubicBezTo>
                    <a:pt x="17709" y="9808"/>
                    <a:pt x="19392" y="8966"/>
                    <a:pt x="18774" y="9104"/>
                  </a:cubicBezTo>
                  <a:cubicBezTo>
                    <a:pt x="19272" y="8657"/>
                    <a:pt x="19152" y="9293"/>
                    <a:pt x="19324" y="9104"/>
                  </a:cubicBezTo>
                  <a:cubicBezTo>
                    <a:pt x="18997" y="9104"/>
                    <a:pt x="19667" y="8863"/>
                    <a:pt x="19324" y="8966"/>
                  </a:cubicBezTo>
                  <a:cubicBezTo>
                    <a:pt x="19444" y="8846"/>
                    <a:pt x="19169" y="8966"/>
                    <a:pt x="18946" y="8966"/>
                  </a:cubicBezTo>
                  <a:cubicBezTo>
                    <a:pt x="19427" y="8537"/>
                    <a:pt x="19238" y="9086"/>
                    <a:pt x="19598" y="8674"/>
                  </a:cubicBezTo>
                  <a:cubicBezTo>
                    <a:pt x="19289" y="8846"/>
                    <a:pt x="19341" y="8554"/>
                    <a:pt x="19598" y="8674"/>
                  </a:cubicBezTo>
                  <a:cubicBezTo>
                    <a:pt x="19808" y="8533"/>
                    <a:pt x="20004" y="8372"/>
                    <a:pt x="20182" y="8193"/>
                  </a:cubicBezTo>
                  <a:cubicBezTo>
                    <a:pt x="19994" y="8193"/>
                    <a:pt x="20182" y="7266"/>
                    <a:pt x="20354" y="7953"/>
                  </a:cubicBezTo>
                  <a:cubicBezTo>
                    <a:pt x="20354" y="7953"/>
                    <a:pt x="20509" y="7712"/>
                    <a:pt x="20560" y="7764"/>
                  </a:cubicBezTo>
                  <a:cubicBezTo>
                    <a:pt x="20612" y="7815"/>
                    <a:pt x="21144" y="6991"/>
                    <a:pt x="20681" y="7386"/>
                  </a:cubicBezTo>
                  <a:cubicBezTo>
                    <a:pt x="20217" y="7781"/>
                    <a:pt x="21162" y="6922"/>
                    <a:pt x="21746" y="6338"/>
                  </a:cubicBezTo>
                  <a:cubicBezTo>
                    <a:pt x="23154" y="5256"/>
                    <a:pt x="21746" y="5497"/>
                    <a:pt x="22914" y="4981"/>
                  </a:cubicBezTo>
                  <a:cubicBezTo>
                    <a:pt x="23085" y="4981"/>
                    <a:pt x="23206" y="5067"/>
                    <a:pt x="23326" y="4844"/>
                  </a:cubicBezTo>
                  <a:cubicBezTo>
                    <a:pt x="26332" y="3556"/>
                    <a:pt x="25576" y="4260"/>
                    <a:pt x="26761" y="3693"/>
                  </a:cubicBezTo>
                  <a:cubicBezTo>
                    <a:pt x="26418" y="3882"/>
                    <a:pt x="26761" y="3693"/>
                    <a:pt x="26881" y="3693"/>
                  </a:cubicBezTo>
                  <a:cubicBezTo>
                    <a:pt x="26503" y="3951"/>
                    <a:pt x="26710" y="3693"/>
                    <a:pt x="26607" y="3951"/>
                  </a:cubicBezTo>
                  <a:cubicBezTo>
                    <a:pt x="26761" y="4140"/>
                    <a:pt x="25765" y="4243"/>
                    <a:pt x="26211" y="4208"/>
                  </a:cubicBezTo>
                  <a:cubicBezTo>
                    <a:pt x="26658" y="4174"/>
                    <a:pt x="26057" y="4346"/>
                    <a:pt x="26211" y="4329"/>
                  </a:cubicBezTo>
                  <a:cubicBezTo>
                    <a:pt x="26555" y="4054"/>
                    <a:pt x="26211" y="4483"/>
                    <a:pt x="26074" y="4500"/>
                  </a:cubicBezTo>
                  <a:cubicBezTo>
                    <a:pt x="25284" y="5119"/>
                    <a:pt x="27036" y="3744"/>
                    <a:pt x="26383" y="4621"/>
                  </a:cubicBezTo>
                  <a:cubicBezTo>
                    <a:pt x="26108" y="4844"/>
                    <a:pt x="25816" y="4861"/>
                    <a:pt x="26057" y="4947"/>
                  </a:cubicBezTo>
                  <a:cubicBezTo>
                    <a:pt x="25672" y="5283"/>
                    <a:pt x="25406" y="5735"/>
                    <a:pt x="25301" y="6235"/>
                  </a:cubicBezTo>
                  <a:cubicBezTo>
                    <a:pt x="25198" y="5874"/>
                    <a:pt x="24751" y="6424"/>
                    <a:pt x="25112" y="6373"/>
                  </a:cubicBezTo>
                  <a:cubicBezTo>
                    <a:pt x="24837" y="6596"/>
                    <a:pt x="25112" y="6373"/>
                    <a:pt x="25009" y="6596"/>
                  </a:cubicBezTo>
                  <a:cubicBezTo>
                    <a:pt x="24906" y="6819"/>
                    <a:pt x="24837" y="6596"/>
                    <a:pt x="24751" y="6596"/>
                  </a:cubicBezTo>
                  <a:cubicBezTo>
                    <a:pt x="24666" y="6596"/>
                    <a:pt x="24751" y="6957"/>
                    <a:pt x="24751" y="6768"/>
                  </a:cubicBezTo>
                  <a:cubicBezTo>
                    <a:pt x="24751" y="6871"/>
                    <a:pt x="25061" y="7128"/>
                    <a:pt x="24751" y="7180"/>
                  </a:cubicBezTo>
                  <a:cubicBezTo>
                    <a:pt x="24271" y="6750"/>
                    <a:pt x="24751" y="7575"/>
                    <a:pt x="24442" y="7489"/>
                  </a:cubicBezTo>
                  <a:cubicBezTo>
                    <a:pt x="23961" y="7729"/>
                    <a:pt x="24442" y="7060"/>
                    <a:pt x="24133" y="7489"/>
                  </a:cubicBezTo>
                  <a:cubicBezTo>
                    <a:pt x="24133" y="7283"/>
                    <a:pt x="23807" y="7609"/>
                    <a:pt x="23738" y="7626"/>
                  </a:cubicBezTo>
                  <a:cubicBezTo>
                    <a:pt x="24150" y="7626"/>
                    <a:pt x="23738" y="7764"/>
                    <a:pt x="23738" y="7781"/>
                  </a:cubicBezTo>
                  <a:cubicBezTo>
                    <a:pt x="24236" y="7781"/>
                    <a:pt x="23738" y="7918"/>
                    <a:pt x="23824" y="7987"/>
                  </a:cubicBezTo>
                  <a:cubicBezTo>
                    <a:pt x="24442" y="8090"/>
                    <a:pt x="23515" y="9705"/>
                    <a:pt x="23583" y="8262"/>
                  </a:cubicBezTo>
                  <a:cubicBezTo>
                    <a:pt x="23034" y="7901"/>
                    <a:pt x="23978" y="8657"/>
                    <a:pt x="23137" y="8520"/>
                  </a:cubicBezTo>
                  <a:cubicBezTo>
                    <a:pt x="23291" y="8640"/>
                    <a:pt x="22673" y="8777"/>
                    <a:pt x="22931" y="8726"/>
                  </a:cubicBezTo>
                  <a:cubicBezTo>
                    <a:pt x="23188" y="8674"/>
                    <a:pt x="23326" y="8915"/>
                    <a:pt x="22931" y="8846"/>
                  </a:cubicBezTo>
                  <a:cubicBezTo>
                    <a:pt x="22536" y="8777"/>
                    <a:pt x="24082" y="8846"/>
                    <a:pt x="23446" y="9121"/>
                  </a:cubicBezTo>
                  <a:cubicBezTo>
                    <a:pt x="23446" y="9121"/>
                    <a:pt x="23171" y="9327"/>
                    <a:pt x="23137" y="9275"/>
                  </a:cubicBezTo>
                  <a:cubicBezTo>
                    <a:pt x="23103" y="9224"/>
                    <a:pt x="21866" y="9859"/>
                    <a:pt x="21952" y="9396"/>
                  </a:cubicBezTo>
                  <a:cubicBezTo>
                    <a:pt x="22038" y="8932"/>
                    <a:pt x="21952" y="9636"/>
                    <a:pt x="21831" y="9653"/>
                  </a:cubicBezTo>
                  <a:cubicBezTo>
                    <a:pt x="21385" y="9688"/>
                    <a:pt x="20612" y="10529"/>
                    <a:pt x="20560" y="10117"/>
                  </a:cubicBezTo>
                  <a:close/>
                  <a:moveTo>
                    <a:pt x="23669" y="11440"/>
                  </a:moveTo>
                  <a:cubicBezTo>
                    <a:pt x="23669" y="11577"/>
                    <a:pt x="23463" y="11543"/>
                    <a:pt x="23412" y="11440"/>
                  </a:cubicBezTo>
                  <a:cubicBezTo>
                    <a:pt x="23360" y="11337"/>
                    <a:pt x="23223" y="11440"/>
                    <a:pt x="23274" y="11319"/>
                  </a:cubicBezTo>
                  <a:cubicBezTo>
                    <a:pt x="23326" y="11199"/>
                    <a:pt x="23188" y="11319"/>
                    <a:pt x="23274" y="11319"/>
                  </a:cubicBezTo>
                  <a:cubicBezTo>
                    <a:pt x="23173" y="11345"/>
                    <a:pt x="23067" y="11345"/>
                    <a:pt x="22965" y="11319"/>
                  </a:cubicBezTo>
                  <a:cubicBezTo>
                    <a:pt x="22965" y="11319"/>
                    <a:pt x="22965" y="11319"/>
                    <a:pt x="22965" y="11319"/>
                  </a:cubicBezTo>
                  <a:cubicBezTo>
                    <a:pt x="22965" y="11319"/>
                    <a:pt x="22965" y="11319"/>
                    <a:pt x="22965" y="11233"/>
                  </a:cubicBezTo>
                  <a:cubicBezTo>
                    <a:pt x="22965" y="11148"/>
                    <a:pt x="22965" y="11233"/>
                    <a:pt x="22965" y="11233"/>
                  </a:cubicBezTo>
                  <a:cubicBezTo>
                    <a:pt x="22965" y="11233"/>
                    <a:pt x="23120" y="11096"/>
                    <a:pt x="23206" y="11148"/>
                  </a:cubicBezTo>
                  <a:cubicBezTo>
                    <a:pt x="23291" y="11199"/>
                    <a:pt x="22948" y="11251"/>
                    <a:pt x="23206" y="11027"/>
                  </a:cubicBezTo>
                  <a:cubicBezTo>
                    <a:pt x="23206" y="11113"/>
                    <a:pt x="23051" y="11027"/>
                    <a:pt x="23206" y="10941"/>
                  </a:cubicBezTo>
                  <a:cubicBezTo>
                    <a:pt x="23360" y="10856"/>
                    <a:pt x="22948" y="10941"/>
                    <a:pt x="22948" y="10821"/>
                  </a:cubicBezTo>
                  <a:cubicBezTo>
                    <a:pt x="22948" y="10701"/>
                    <a:pt x="23206" y="10735"/>
                    <a:pt x="23223" y="10821"/>
                  </a:cubicBezTo>
                  <a:cubicBezTo>
                    <a:pt x="23240" y="10907"/>
                    <a:pt x="23395" y="10821"/>
                    <a:pt x="23412" y="10718"/>
                  </a:cubicBezTo>
                  <a:cubicBezTo>
                    <a:pt x="23429" y="10615"/>
                    <a:pt x="23291" y="10718"/>
                    <a:pt x="23412" y="10718"/>
                  </a:cubicBezTo>
                  <a:cubicBezTo>
                    <a:pt x="23532" y="10718"/>
                    <a:pt x="23291" y="10718"/>
                    <a:pt x="23412" y="10632"/>
                  </a:cubicBezTo>
                  <a:cubicBezTo>
                    <a:pt x="23532" y="10546"/>
                    <a:pt x="23412" y="10632"/>
                    <a:pt x="23412" y="10632"/>
                  </a:cubicBezTo>
                  <a:cubicBezTo>
                    <a:pt x="23412" y="10632"/>
                    <a:pt x="23412" y="10718"/>
                    <a:pt x="23412" y="10632"/>
                  </a:cubicBezTo>
                  <a:cubicBezTo>
                    <a:pt x="23412" y="10546"/>
                    <a:pt x="23412" y="10632"/>
                    <a:pt x="23412" y="10632"/>
                  </a:cubicBezTo>
                  <a:cubicBezTo>
                    <a:pt x="23223" y="10873"/>
                    <a:pt x="23120" y="10478"/>
                    <a:pt x="23291" y="10632"/>
                  </a:cubicBezTo>
                  <a:cubicBezTo>
                    <a:pt x="23463" y="10787"/>
                    <a:pt x="23291" y="10478"/>
                    <a:pt x="23291" y="10632"/>
                  </a:cubicBezTo>
                  <a:cubicBezTo>
                    <a:pt x="23291" y="10787"/>
                    <a:pt x="23291" y="10632"/>
                    <a:pt x="23291" y="10632"/>
                  </a:cubicBezTo>
                  <a:cubicBezTo>
                    <a:pt x="23291" y="10632"/>
                    <a:pt x="23291" y="10529"/>
                    <a:pt x="23291" y="10632"/>
                  </a:cubicBezTo>
                  <a:cubicBezTo>
                    <a:pt x="23291" y="10735"/>
                    <a:pt x="23291" y="10478"/>
                    <a:pt x="23291" y="10632"/>
                  </a:cubicBezTo>
                  <a:cubicBezTo>
                    <a:pt x="23291" y="10787"/>
                    <a:pt x="23412" y="10632"/>
                    <a:pt x="23291" y="10632"/>
                  </a:cubicBezTo>
                  <a:cubicBezTo>
                    <a:pt x="23171" y="10632"/>
                    <a:pt x="23395" y="10632"/>
                    <a:pt x="23291" y="10632"/>
                  </a:cubicBezTo>
                  <a:cubicBezTo>
                    <a:pt x="23188" y="10632"/>
                    <a:pt x="23120" y="10478"/>
                    <a:pt x="23291" y="10478"/>
                  </a:cubicBezTo>
                  <a:cubicBezTo>
                    <a:pt x="22999" y="10375"/>
                    <a:pt x="23395" y="10375"/>
                    <a:pt x="23291" y="10581"/>
                  </a:cubicBezTo>
                  <a:cubicBezTo>
                    <a:pt x="23291" y="10581"/>
                    <a:pt x="23291" y="10581"/>
                    <a:pt x="23291" y="10581"/>
                  </a:cubicBezTo>
                  <a:cubicBezTo>
                    <a:pt x="23291" y="10581"/>
                    <a:pt x="23291" y="10701"/>
                    <a:pt x="23291" y="10581"/>
                  </a:cubicBezTo>
                  <a:cubicBezTo>
                    <a:pt x="23302" y="10608"/>
                    <a:pt x="23302" y="10639"/>
                    <a:pt x="23291" y="10667"/>
                  </a:cubicBezTo>
                  <a:cubicBezTo>
                    <a:pt x="23291" y="10667"/>
                    <a:pt x="23291" y="10753"/>
                    <a:pt x="23291" y="10787"/>
                  </a:cubicBezTo>
                  <a:cubicBezTo>
                    <a:pt x="23291" y="10821"/>
                    <a:pt x="23291" y="10787"/>
                    <a:pt x="23291" y="10873"/>
                  </a:cubicBezTo>
                  <a:cubicBezTo>
                    <a:pt x="23311" y="10799"/>
                    <a:pt x="23361" y="10737"/>
                    <a:pt x="23429" y="10701"/>
                  </a:cubicBezTo>
                  <a:cubicBezTo>
                    <a:pt x="23429" y="10907"/>
                    <a:pt x="23429" y="10478"/>
                    <a:pt x="23601" y="10461"/>
                  </a:cubicBezTo>
                  <a:cubicBezTo>
                    <a:pt x="23772" y="10443"/>
                    <a:pt x="23601" y="10581"/>
                    <a:pt x="23601" y="10598"/>
                  </a:cubicBezTo>
                  <a:cubicBezTo>
                    <a:pt x="23601" y="10615"/>
                    <a:pt x="23687" y="10461"/>
                    <a:pt x="23790" y="10478"/>
                  </a:cubicBezTo>
                  <a:cubicBezTo>
                    <a:pt x="23832" y="10576"/>
                    <a:pt x="23832" y="10688"/>
                    <a:pt x="23790" y="10787"/>
                  </a:cubicBezTo>
                  <a:cubicBezTo>
                    <a:pt x="23893" y="10701"/>
                    <a:pt x="23790" y="10461"/>
                    <a:pt x="23961" y="10512"/>
                  </a:cubicBezTo>
                  <a:cubicBezTo>
                    <a:pt x="24133" y="10564"/>
                    <a:pt x="24116" y="10375"/>
                    <a:pt x="24099" y="10512"/>
                  </a:cubicBezTo>
                  <a:cubicBezTo>
                    <a:pt x="24082" y="10649"/>
                    <a:pt x="24356" y="10220"/>
                    <a:pt x="24322" y="10512"/>
                  </a:cubicBezTo>
                  <a:cubicBezTo>
                    <a:pt x="24288" y="10804"/>
                    <a:pt x="24442" y="10357"/>
                    <a:pt x="24528" y="10512"/>
                  </a:cubicBezTo>
                  <a:cubicBezTo>
                    <a:pt x="24614" y="10667"/>
                    <a:pt x="24356" y="10667"/>
                    <a:pt x="24528" y="10632"/>
                  </a:cubicBezTo>
                  <a:cubicBezTo>
                    <a:pt x="24700" y="10598"/>
                    <a:pt x="24425" y="10632"/>
                    <a:pt x="24528" y="10804"/>
                  </a:cubicBezTo>
                  <a:cubicBezTo>
                    <a:pt x="24631" y="10976"/>
                    <a:pt x="24528" y="10804"/>
                    <a:pt x="24528" y="10804"/>
                  </a:cubicBezTo>
                  <a:cubicBezTo>
                    <a:pt x="24751" y="10804"/>
                    <a:pt x="24614" y="10804"/>
                    <a:pt x="24528" y="10924"/>
                  </a:cubicBezTo>
                  <a:cubicBezTo>
                    <a:pt x="24442" y="11045"/>
                    <a:pt x="24528" y="11079"/>
                    <a:pt x="24528" y="11148"/>
                  </a:cubicBezTo>
                  <a:cubicBezTo>
                    <a:pt x="24374" y="10924"/>
                    <a:pt x="24528" y="11440"/>
                    <a:pt x="24288" y="11148"/>
                  </a:cubicBezTo>
                  <a:cubicBezTo>
                    <a:pt x="24288" y="11268"/>
                    <a:pt x="24064" y="11268"/>
                    <a:pt x="23978" y="11388"/>
                  </a:cubicBezTo>
                  <a:lnTo>
                    <a:pt x="23978" y="11388"/>
                  </a:lnTo>
                  <a:cubicBezTo>
                    <a:pt x="23978" y="11388"/>
                    <a:pt x="23841" y="11388"/>
                    <a:pt x="23790" y="11388"/>
                  </a:cubicBezTo>
                  <a:cubicBezTo>
                    <a:pt x="23738" y="11388"/>
                    <a:pt x="23790" y="11388"/>
                    <a:pt x="23790" y="11388"/>
                  </a:cubicBezTo>
                  <a:cubicBezTo>
                    <a:pt x="23790" y="11388"/>
                    <a:pt x="23738" y="11594"/>
                    <a:pt x="23669" y="11440"/>
                  </a:cubicBezTo>
                  <a:close/>
                  <a:moveTo>
                    <a:pt x="38184" y="41533"/>
                  </a:moveTo>
                  <a:cubicBezTo>
                    <a:pt x="38063" y="41224"/>
                    <a:pt x="38579" y="40880"/>
                    <a:pt x="38802" y="40640"/>
                  </a:cubicBezTo>
                  <a:cubicBezTo>
                    <a:pt x="39025" y="40399"/>
                    <a:pt x="39025" y="39729"/>
                    <a:pt x="39540" y="39523"/>
                  </a:cubicBezTo>
                  <a:lnTo>
                    <a:pt x="39540" y="39523"/>
                  </a:lnTo>
                  <a:cubicBezTo>
                    <a:pt x="39540" y="39523"/>
                    <a:pt x="39540" y="39523"/>
                    <a:pt x="39540" y="39523"/>
                  </a:cubicBezTo>
                  <a:cubicBezTo>
                    <a:pt x="39540" y="39523"/>
                    <a:pt x="39644" y="39523"/>
                    <a:pt x="39781" y="39386"/>
                  </a:cubicBezTo>
                  <a:cubicBezTo>
                    <a:pt x="39661" y="39678"/>
                    <a:pt x="40073" y="39077"/>
                    <a:pt x="39953" y="39386"/>
                  </a:cubicBezTo>
                  <a:cubicBezTo>
                    <a:pt x="39832" y="39695"/>
                    <a:pt x="39953" y="39386"/>
                    <a:pt x="39953" y="39386"/>
                  </a:cubicBezTo>
                  <a:cubicBezTo>
                    <a:pt x="39953" y="39386"/>
                    <a:pt x="39953" y="39386"/>
                    <a:pt x="39953" y="39248"/>
                  </a:cubicBezTo>
                  <a:cubicBezTo>
                    <a:pt x="39953" y="39111"/>
                    <a:pt x="40073" y="39248"/>
                    <a:pt x="39953" y="39248"/>
                  </a:cubicBezTo>
                  <a:lnTo>
                    <a:pt x="39953" y="39248"/>
                  </a:lnTo>
                  <a:cubicBezTo>
                    <a:pt x="39953" y="39248"/>
                    <a:pt x="39953" y="39248"/>
                    <a:pt x="39953" y="39369"/>
                  </a:cubicBezTo>
                  <a:cubicBezTo>
                    <a:pt x="39953" y="39489"/>
                    <a:pt x="40090" y="39197"/>
                    <a:pt x="40107" y="39266"/>
                  </a:cubicBezTo>
                  <a:cubicBezTo>
                    <a:pt x="40124" y="39334"/>
                    <a:pt x="40107" y="39266"/>
                    <a:pt x="40107" y="39145"/>
                  </a:cubicBezTo>
                  <a:cubicBezTo>
                    <a:pt x="40107" y="39025"/>
                    <a:pt x="40262" y="39145"/>
                    <a:pt x="40107" y="39042"/>
                  </a:cubicBezTo>
                  <a:cubicBezTo>
                    <a:pt x="39953" y="38939"/>
                    <a:pt x="40107" y="39145"/>
                    <a:pt x="40262" y="38939"/>
                  </a:cubicBezTo>
                  <a:cubicBezTo>
                    <a:pt x="40416" y="38733"/>
                    <a:pt x="40537" y="38733"/>
                    <a:pt x="40485" y="38561"/>
                  </a:cubicBezTo>
                  <a:cubicBezTo>
                    <a:pt x="40434" y="38389"/>
                    <a:pt x="40588" y="38561"/>
                    <a:pt x="40674" y="38441"/>
                  </a:cubicBezTo>
                  <a:cubicBezTo>
                    <a:pt x="40760" y="38321"/>
                    <a:pt x="40674" y="38664"/>
                    <a:pt x="40674" y="38664"/>
                  </a:cubicBezTo>
                  <a:cubicBezTo>
                    <a:pt x="41344" y="38922"/>
                    <a:pt x="37514" y="43560"/>
                    <a:pt x="38184" y="41533"/>
                  </a:cubicBezTo>
                  <a:close/>
                  <a:moveTo>
                    <a:pt x="49159" y="26589"/>
                  </a:moveTo>
                  <a:cubicBezTo>
                    <a:pt x="49159" y="26589"/>
                    <a:pt x="49159" y="26589"/>
                    <a:pt x="49159" y="26589"/>
                  </a:cubicBezTo>
                  <a:cubicBezTo>
                    <a:pt x="48810" y="27921"/>
                    <a:pt x="48552" y="29276"/>
                    <a:pt x="48386" y="30643"/>
                  </a:cubicBezTo>
                  <a:cubicBezTo>
                    <a:pt x="48386" y="30540"/>
                    <a:pt x="48215" y="30780"/>
                    <a:pt x="48215" y="30849"/>
                  </a:cubicBezTo>
                  <a:cubicBezTo>
                    <a:pt x="48026" y="31570"/>
                    <a:pt x="47579" y="26864"/>
                    <a:pt x="47613" y="26452"/>
                  </a:cubicBezTo>
                  <a:cubicBezTo>
                    <a:pt x="47459" y="26452"/>
                    <a:pt x="47613" y="26263"/>
                    <a:pt x="47613" y="26160"/>
                  </a:cubicBezTo>
                  <a:cubicBezTo>
                    <a:pt x="47613" y="26057"/>
                    <a:pt x="47528" y="26160"/>
                    <a:pt x="47528" y="26160"/>
                  </a:cubicBezTo>
                  <a:cubicBezTo>
                    <a:pt x="47528" y="26555"/>
                    <a:pt x="47373" y="27362"/>
                    <a:pt x="47098" y="26606"/>
                  </a:cubicBezTo>
                  <a:cubicBezTo>
                    <a:pt x="47098" y="26606"/>
                    <a:pt x="46909" y="26332"/>
                    <a:pt x="46995" y="26383"/>
                  </a:cubicBezTo>
                  <a:lnTo>
                    <a:pt x="46995" y="26383"/>
                  </a:lnTo>
                  <a:cubicBezTo>
                    <a:pt x="46995" y="26538"/>
                    <a:pt x="46995" y="26383"/>
                    <a:pt x="46995" y="26383"/>
                  </a:cubicBezTo>
                  <a:cubicBezTo>
                    <a:pt x="46995" y="26383"/>
                    <a:pt x="47201" y="26074"/>
                    <a:pt x="47081" y="26040"/>
                  </a:cubicBezTo>
                  <a:cubicBezTo>
                    <a:pt x="47081" y="26383"/>
                    <a:pt x="46583" y="26040"/>
                    <a:pt x="46806" y="25833"/>
                  </a:cubicBezTo>
                  <a:cubicBezTo>
                    <a:pt x="46806" y="25833"/>
                    <a:pt x="46806" y="25937"/>
                    <a:pt x="46686" y="25971"/>
                  </a:cubicBezTo>
                  <a:cubicBezTo>
                    <a:pt x="46566" y="26005"/>
                    <a:pt x="46686" y="25885"/>
                    <a:pt x="46549" y="25971"/>
                  </a:cubicBezTo>
                  <a:cubicBezTo>
                    <a:pt x="46411" y="26057"/>
                    <a:pt x="46549" y="25696"/>
                    <a:pt x="46428" y="25559"/>
                  </a:cubicBezTo>
                  <a:cubicBezTo>
                    <a:pt x="46239" y="25730"/>
                    <a:pt x="46428" y="25318"/>
                    <a:pt x="46119" y="25438"/>
                  </a:cubicBezTo>
                  <a:cubicBezTo>
                    <a:pt x="46119" y="25438"/>
                    <a:pt x="45965" y="25524"/>
                    <a:pt x="45913" y="25610"/>
                  </a:cubicBezTo>
                  <a:cubicBezTo>
                    <a:pt x="45861" y="25696"/>
                    <a:pt x="45810" y="25610"/>
                    <a:pt x="45741" y="25610"/>
                  </a:cubicBezTo>
                  <a:cubicBezTo>
                    <a:pt x="45673" y="25610"/>
                    <a:pt x="45604" y="25610"/>
                    <a:pt x="45552" y="25765"/>
                  </a:cubicBezTo>
                  <a:cubicBezTo>
                    <a:pt x="45501" y="25919"/>
                    <a:pt x="45552" y="25765"/>
                    <a:pt x="45432" y="25765"/>
                  </a:cubicBezTo>
                  <a:cubicBezTo>
                    <a:pt x="45312" y="25765"/>
                    <a:pt x="45260" y="25885"/>
                    <a:pt x="45209" y="25679"/>
                  </a:cubicBezTo>
                  <a:cubicBezTo>
                    <a:pt x="45209" y="25782"/>
                    <a:pt x="44814" y="25679"/>
                    <a:pt x="44728" y="25679"/>
                  </a:cubicBezTo>
                  <a:cubicBezTo>
                    <a:pt x="44642" y="25679"/>
                    <a:pt x="44573" y="25679"/>
                    <a:pt x="44453" y="25679"/>
                  </a:cubicBezTo>
                  <a:cubicBezTo>
                    <a:pt x="44178" y="24683"/>
                    <a:pt x="44144" y="25541"/>
                    <a:pt x="43663" y="25404"/>
                  </a:cubicBezTo>
                  <a:cubicBezTo>
                    <a:pt x="43560" y="25404"/>
                    <a:pt x="43251" y="25284"/>
                    <a:pt x="43285" y="25146"/>
                  </a:cubicBezTo>
                  <a:cubicBezTo>
                    <a:pt x="43319" y="25009"/>
                    <a:pt x="42838" y="25146"/>
                    <a:pt x="42804" y="24803"/>
                  </a:cubicBezTo>
                  <a:cubicBezTo>
                    <a:pt x="42804" y="24803"/>
                    <a:pt x="42684" y="24803"/>
                    <a:pt x="42804" y="24803"/>
                  </a:cubicBezTo>
                  <a:cubicBezTo>
                    <a:pt x="42632" y="24803"/>
                    <a:pt x="42564" y="24185"/>
                    <a:pt x="42375" y="24425"/>
                  </a:cubicBezTo>
                  <a:cubicBezTo>
                    <a:pt x="42375" y="24339"/>
                    <a:pt x="42220" y="24425"/>
                    <a:pt x="42272" y="24270"/>
                  </a:cubicBezTo>
                  <a:cubicBezTo>
                    <a:pt x="42323" y="24116"/>
                    <a:pt x="42272" y="24270"/>
                    <a:pt x="42272" y="24270"/>
                  </a:cubicBezTo>
                  <a:cubicBezTo>
                    <a:pt x="42272" y="24270"/>
                    <a:pt x="42272" y="24494"/>
                    <a:pt x="42272" y="24270"/>
                  </a:cubicBezTo>
                  <a:cubicBezTo>
                    <a:pt x="42272" y="24047"/>
                    <a:pt x="42272" y="24580"/>
                    <a:pt x="42100" y="24597"/>
                  </a:cubicBezTo>
                  <a:lnTo>
                    <a:pt x="42220" y="24597"/>
                  </a:lnTo>
                  <a:lnTo>
                    <a:pt x="42220" y="24597"/>
                  </a:lnTo>
                  <a:cubicBezTo>
                    <a:pt x="42220" y="24597"/>
                    <a:pt x="42220" y="24700"/>
                    <a:pt x="42220" y="24734"/>
                  </a:cubicBezTo>
                  <a:cubicBezTo>
                    <a:pt x="42220" y="24769"/>
                    <a:pt x="42220" y="24837"/>
                    <a:pt x="42220" y="24734"/>
                  </a:cubicBezTo>
                  <a:cubicBezTo>
                    <a:pt x="42259" y="24896"/>
                    <a:pt x="42365" y="25033"/>
                    <a:pt x="42512" y="25112"/>
                  </a:cubicBezTo>
                  <a:cubicBezTo>
                    <a:pt x="42512" y="25112"/>
                    <a:pt x="42821" y="25438"/>
                    <a:pt x="42770" y="25610"/>
                  </a:cubicBezTo>
                  <a:lnTo>
                    <a:pt x="42770" y="25610"/>
                  </a:lnTo>
                  <a:cubicBezTo>
                    <a:pt x="42993" y="25851"/>
                    <a:pt x="43027" y="26314"/>
                    <a:pt x="43045" y="25782"/>
                  </a:cubicBezTo>
                  <a:cubicBezTo>
                    <a:pt x="43045" y="25645"/>
                    <a:pt x="43045" y="25438"/>
                    <a:pt x="43165" y="25627"/>
                  </a:cubicBezTo>
                  <a:cubicBezTo>
                    <a:pt x="43133" y="25786"/>
                    <a:pt x="43133" y="25950"/>
                    <a:pt x="43165" y="26108"/>
                  </a:cubicBezTo>
                  <a:cubicBezTo>
                    <a:pt x="43165" y="26108"/>
                    <a:pt x="43165" y="26297"/>
                    <a:pt x="43165" y="26211"/>
                  </a:cubicBezTo>
                  <a:lnTo>
                    <a:pt x="43165" y="26366"/>
                  </a:lnTo>
                  <a:cubicBezTo>
                    <a:pt x="43371" y="26177"/>
                    <a:pt x="43646" y="26366"/>
                    <a:pt x="43766" y="26091"/>
                  </a:cubicBezTo>
                  <a:lnTo>
                    <a:pt x="43766" y="26091"/>
                  </a:lnTo>
                  <a:cubicBezTo>
                    <a:pt x="43766" y="25833"/>
                    <a:pt x="44024" y="25593"/>
                    <a:pt x="44058" y="25318"/>
                  </a:cubicBezTo>
                  <a:lnTo>
                    <a:pt x="44058" y="25318"/>
                  </a:lnTo>
                  <a:cubicBezTo>
                    <a:pt x="44058" y="25318"/>
                    <a:pt x="44058" y="25146"/>
                    <a:pt x="44058" y="25215"/>
                  </a:cubicBezTo>
                  <a:cubicBezTo>
                    <a:pt x="44058" y="25284"/>
                    <a:pt x="44058" y="25559"/>
                    <a:pt x="44058" y="25507"/>
                  </a:cubicBezTo>
                  <a:cubicBezTo>
                    <a:pt x="44058" y="25851"/>
                    <a:pt x="44247" y="26280"/>
                    <a:pt x="44642" y="26091"/>
                  </a:cubicBezTo>
                  <a:cubicBezTo>
                    <a:pt x="44947" y="26440"/>
                    <a:pt x="44947" y="26961"/>
                    <a:pt x="44642" y="27311"/>
                  </a:cubicBezTo>
                  <a:cubicBezTo>
                    <a:pt x="44642" y="27105"/>
                    <a:pt x="44487" y="27757"/>
                    <a:pt x="44642" y="27877"/>
                  </a:cubicBezTo>
                  <a:cubicBezTo>
                    <a:pt x="44230" y="27877"/>
                    <a:pt x="44505" y="28290"/>
                    <a:pt x="44109" y="28376"/>
                  </a:cubicBezTo>
                  <a:cubicBezTo>
                    <a:pt x="44109" y="28496"/>
                    <a:pt x="44109" y="28599"/>
                    <a:pt x="44109" y="28719"/>
                  </a:cubicBezTo>
                  <a:cubicBezTo>
                    <a:pt x="43847" y="28757"/>
                    <a:pt x="43612" y="28900"/>
                    <a:pt x="43457" y="29114"/>
                  </a:cubicBezTo>
                  <a:cubicBezTo>
                    <a:pt x="43457" y="29475"/>
                    <a:pt x="42924" y="29595"/>
                    <a:pt x="42684" y="29767"/>
                  </a:cubicBezTo>
                  <a:cubicBezTo>
                    <a:pt x="42443" y="29939"/>
                    <a:pt x="42495" y="30042"/>
                    <a:pt x="42357" y="29990"/>
                  </a:cubicBezTo>
                  <a:cubicBezTo>
                    <a:pt x="42248" y="30193"/>
                    <a:pt x="42016" y="30299"/>
                    <a:pt x="41791" y="30248"/>
                  </a:cubicBezTo>
                  <a:cubicBezTo>
                    <a:pt x="41649" y="30457"/>
                    <a:pt x="41423" y="30595"/>
                    <a:pt x="41172" y="30626"/>
                  </a:cubicBezTo>
                  <a:cubicBezTo>
                    <a:pt x="41035" y="30317"/>
                    <a:pt x="41172" y="29904"/>
                    <a:pt x="40897" y="29629"/>
                  </a:cubicBezTo>
                  <a:cubicBezTo>
                    <a:pt x="41155" y="29011"/>
                    <a:pt x="40262" y="28204"/>
                    <a:pt x="39850" y="27706"/>
                  </a:cubicBezTo>
                  <a:cubicBezTo>
                    <a:pt x="39850" y="27293"/>
                    <a:pt x="39747" y="26589"/>
                    <a:pt x="39283" y="26606"/>
                  </a:cubicBezTo>
                  <a:cubicBezTo>
                    <a:pt x="39111" y="25799"/>
                    <a:pt x="38166" y="25370"/>
                    <a:pt x="38338" y="24751"/>
                  </a:cubicBezTo>
                  <a:cubicBezTo>
                    <a:pt x="38218" y="24975"/>
                    <a:pt x="38338" y="25249"/>
                    <a:pt x="38201" y="25438"/>
                  </a:cubicBezTo>
                  <a:cubicBezTo>
                    <a:pt x="37948" y="25233"/>
                    <a:pt x="37727" y="24989"/>
                    <a:pt x="37548" y="24717"/>
                  </a:cubicBezTo>
                  <a:cubicBezTo>
                    <a:pt x="37840" y="25370"/>
                    <a:pt x="38304" y="26022"/>
                    <a:pt x="38682" y="26692"/>
                  </a:cubicBezTo>
                  <a:lnTo>
                    <a:pt x="38682" y="26692"/>
                  </a:lnTo>
                  <a:cubicBezTo>
                    <a:pt x="38718" y="26746"/>
                    <a:pt x="38765" y="26793"/>
                    <a:pt x="38819" y="26830"/>
                  </a:cubicBezTo>
                  <a:cubicBezTo>
                    <a:pt x="38819" y="26830"/>
                    <a:pt x="38716" y="26830"/>
                    <a:pt x="38699" y="26830"/>
                  </a:cubicBezTo>
                  <a:cubicBezTo>
                    <a:pt x="38699" y="27328"/>
                    <a:pt x="39231" y="27311"/>
                    <a:pt x="39317" y="27826"/>
                  </a:cubicBezTo>
                  <a:cubicBezTo>
                    <a:pt x="39180" y="27826"/>
                    <a:pt x="39420" y="28187"/>
                    <a:pt x="39317" y="28376"/>
                  </a:cubicBezTo>
                  <a:cubicBezTo>
                    <a:pt x="39214" y="28565"/>
                    <a:pt x="39644" y="28719"/>
                    <a:pt x="39712" y="28891"/>
                  </a:cubicBezTo>
                  <a:cubicBezTo>
                    <a:pt x="39781" y="29063"/>
                    <a:pt x="39884" y="29561"/>
                    <a:pt x="40021" y="29715"/>
                  </a:cubicBezTo>
                  <a:cubicBezTo>
                    <a:pt x="40159" y="29870"/>
                    <a:pt x="40142" y="30007"/>
                    <a:pt x="40021" y="29801"/>
                  </a:cubicBezTo>
                  <a:cubicBezTo>
                    <a:pt x="39901" y="29595"/>
                    <a:pt x="40021" y="30042"/>
                    <a:pt x="40193" y="29939"/>
                  </a:cubicBezTo>
                  <a:cubicBezTo>
                    <a:pt x="40571" y="29939"/>
                    <a:pt x="40708" y="30591"/>
                    <a:pt x="40932" y="30626"/>
                  </a:cubicBezTo>
                  <a:cubicBezTo>
                    <a:pt x="41155" y="30660"/>
                    <a:pt x="40932" y="30746"/>
                    <a:pt x="41035" y="30746"/>
                  </a:cubicBezTo>
                  <a:cubicBezTo>
                    <a:pt x="41037" y="30889"/>
                    <a:pt x="40935" y="31013"/>
                    <a:pt x="40794" y="31038"/>
                  </a:cubicBezTo>
                  <a:cubicBezTo>
                    <a:pt x="41035" y="31038"/>
                    <a:pt x="41086" y="31364"/>
                    <a:pt x="41327" y="31450"/>
                  </a:cubicBezTo>
                  <a:cubicBezTo>
                    <a:pt x="41782" y="31205"/>
                    <a:pt x="42267" y="31020"/>
                    <a:pt x="42770" y="30901"/>
                  </a:cubicBezTo>
                  <a:cubicBezTo>
                    <a:pt x="42857" y="30834"/>
                    <a:pt x="42933" y="30752"/>
                    <a:pt x="42993" y="30660"/>
                  </a:cubicBezTo>
                  <a:cubicBezTo>
                    <a:pt x="43165" y="30660"/>
                    <a:pt x="42993" y="31021"/>
                    <a:pt x="42993" y="31210"/>
                  </a:cubicBezTo>
                  <a:cubicBezTo>
                    <a:pt x="42993" y="31399"/>
                    <a:pt x="42993" y="31210"/>
                    <a:pt x="42993" y="31210"/>
                  </a:cubicBezTo>
                  <a:cubicBezTo>
                    <a:pt x="42684" y="33580"/>
                    <a:pt x="39163" y="34989"/>
                    <a:pt x="38922" y="37033"/>
                  </a:cubicBezTo>
                  <a:cubicBezTo>
                    <a:pt x="38922" y="37033"/>
                    <a:pt x="38716" y="37204"/>
                    <a:pt x="38802" y="37307"/>
                  </a:cubicBezTo>
                  <a:cubicBezTo>
                    <a:pt x="38888" y="37410"/>
                    <a:pt x="38596" y="37874"/>
                    <a:pt x="38802" y="38012"/>
                  </a:cubicBezTo>
                  <a:cubicBezTo>
                    <a:pt x="38630" y="38407"/>
                    <a:pt x="38493" y="38991"/>
                    <a:pt x="38355" y="39248"/>
                  </a:cubicBezTo>
                  <a:cubicBezTo>
                    <a:pt x="38218" y="39506"/>
                    <a:pt x="38149" y="39369"/>
                    <a:pt x="38355" y="39351"/>
                  </a:cubicBezTo>
                  <a:cubicBezTo>
                    <a:pt x="38063" y="39781"/>
                    <a:pt x="37514" y="39901"/>
                    <a:pt x="37119" y="40193"/>
                  </a:cubicBezTo>
                  <a:lnTo>
                    <a:pt x="37119" y="40193"/>
                  </a:lnTo>
                  <a:cubicBezTo>
                    <a:pt x="36902" y="40432"/>
                    <a:pt x="36622" y="40604"/>
                    <a:pt x="36311" y="40691"/>
                  </a:cubicBezTo>
                  <a:cubicBezTo>
                    <a:pt x="36339" y="40751"/>
                    <a:pt x="36339" y="40820"/>
                    <a:pt x="36311" y="40880"/>
                  </a:cubicBezTo>
                  <a:cubicBezTo>
                    <a:pt x="36311" y="40880"/>
                    <a:pt x="36311" y="41000"/>
                    <a:pt x="36311" y="41035"/>
                  </a:cubicBezTo>
                  <a:cubicBezTo>
                    <a:pt x="36311" y="41069"/>
                    <a:pt x="36311" y="41292"/>
                    <a:pt x="36311" y="41395"/>
                  </a:cubicBezTo>
                  <a:cubicBezTo>
                    <a:pt x="36311" y="41498"/>
                    <a:pt x="36311" y="41310"/>
                    <a:pt x="36311" y="41292"/>
                  </a:cubicBezTo>
                  <a:lnTo>
                    <a:pt x="36311" y="41292"/>
                  </a:lnTo>
                  <a:lnTo>
                    <a:pt x="36311" y="41292"/>
                  </a:lnTo>
                  <a:cubicBezTo>
                    <a:pt x="36311" y="41447"/>
                    <a:pt x="36122" y="41567"/>
                    <a:pt x="36054" y="41705"/>
                  </a:cubicBezTo>
                  <a:lnTo>
                    <a:pt x="36054" y="41705"/>
                  </a:lnTo>
                  <a:cubicBezTo>
                    <a:pt x="35865" y="42117"/>
                    <a:pt x="35126" y="41997"/>
                    <a:pt x="35006" y="42392"/>
                  </a:cubicBezTo>
                  <a:lnTo>
                    <a:pt x="35126" y="42392"/>
                  </a:lnTo>
                  <a:cubicBezTo>
                    <a:pt x="35084" y="42471"/>
                    <a:pt x="35025" y="42542"/>
                    <a:pt x="34954" y="42598"/>
                  </a:cubicBezTo>
                  <a:lnTo>
                    <a:pt x="34954" y="42598"/>
                  </a:lnTo>
                  <a:cubicBezTo>
                    <a:pt x="34162" y="43425"/>
                    <a:pt x="33158" y="44019"/>
                    <a:pt x="32051" y="44315"/>
                  </a:cubicBezTo>
                  <a:cubicBezTo>
                    <a:pt x="31588" y="44161"/>
                    <a:pt x="31124" y="44453"/>
                    <a:pt x="30660" y="44418"/>
                  </a:cubicBezTo>
                  <a:cubicBezTo>
                    <a:pt x="30660" y="44333"/>
                    <a:pt x="30660" y="44418"/>
                    <a:pt x="30660" y="44418"/>
                  </a:cubicBezTo>
                  <a:cubicBezTo>
                    <a:pt x="30660" y="44418"/>
                    <a:pt x="30557" y="44333"/>
                    <a:pt x="30660" y="44418"/>
                  </a:cubicBezTo>
                  <a:cubicBezTo>
                    <a:pt x="30763" y="44504"/>
                    <a:pt x="30798" y="44230"/>
                    <a:pt x="30660" y="44092"/>
                  </a:cubicBezTo>
                  <a:cubicBezTo>
                    <a:pt x="30987" y="43938"/>
                    <a:pt x="30660" y="43508"/>
                    <a:pt x="30660" y="43199"/>
                  </a:cubicBezTo>
                  <a:cubicBezTo>
                    <a:pt x="30128" y="42392"/>
                    <a:pt x="30437" y="41189"/>
                    <a:pt x="29836" y="40296"/>
                  </a:cubicBezTo>
                  <a:cubicBezTo>
                    <a:pt x="29836" y="39369"/>
                    <a:pt x="31210" y="38956"/>
                    <a:pt x="30591" y="38046"/>
                  </a:cubicBezTo>
                  <a:cubicBezTo>
                    <a:pt x="30866" y="37840"/>
                    <a:pt x="30591" y="37428"/>
                    <a:pt x="30471" y="37204"/>
                  </a:cubicBezTo>
                  <a:lnTo>
                    <a:pt x="30574" y="37204"/>
                  </a:lnTo>
                  <a:cubicBezTo>
                    <a:pt x="30574" y="37204"/>
                    <a:pt x="30334" y="37204"/>
                    <a:pt x="30454" y="37050"/>
                  </a:cubicBezTo>
                  <a:cubicBezTo>
                    <a:pt x="30248" y="36449"/>
                    <a:pt x="29561" y="36242"/>
                    <a:pt x="29423" y="35607"/>
                  </a:cubicBezTo>
                  <a:cubicBezTo>
                    <a:pt x="29578" y="35607"/>
                    <a:pt x="29612" y="35487"/>
                    <a:pt x="29630" y="35298"/>
                  </a:cubicBezTo>
                  <a:cubicBezTo>
                    <a:pt x="29647" y="35109"/>
                    <a:pt x="29767" y="35298"/>
                    <a:pt x="29819" y="35298"/>
                  </a:cubicBezTo>
                  <a:cubicBezTo>
                    <a:pt x="29741" y="35301"/>
                    <a:pt x="29670" y="35252"/>
                    <a:pt x="29647" y="35177"/>
                  </a:cubicBezTo>
                  <a:cubicBezTo>
                    <a:pt x="29767" y="35177"/>
                    <a:pt x="29750" y="35057"/>
                    <a:pt x="29647" y="35040"/>
                  </a:cubicBezTo>
                  <a:cubicBezTo>
                    <a:pt x="29897" y="34793"/>
                    <a:pt x="29972" y="34419"/>
                    <a:pt x="29836" y="34095"/>
                  </a:cubicBezTo>
                  <a:cubicBezTo>
                    <a:pt x="29681" y="34198"/>
                    <a:pt x="29612" y="34095"/>
                    <a:pt x="29612" y="33906"/>
                  </a:cubicBezTo>
                  <a:cubicBezTo>
                    <a:pt x="29559" y="33957"/>
                    <a:pt x="29477" y="33957"/>
                    <a:pt x="29423" y="33906"/>
                  </a:cubicBezTo>
                  <a:cubicBezTo>
                    <a:pt x="29269" y="34095"/>
                    <a:pt x="28771" y="34078"/>
                    <a:pt x="28496" y="34044"/>
                  </a:cubicBezTo>
                  <a:cubicBezTo>
                    <a:pt x="28118" y="32807"/>
                    <a:pt x="26778" y="33529"/>
                    <a:pt x="25937" y="33821"/>
                  </a:cubicBezTo>
                  <a:cubicBezTo>
                    <a:pt x="24219" y="33305"/>
                    <a:pt x="23961" y="34490"/>
                    <a:pt x="22501" y="32687"/>
                  </a:cubicBezTo>
                  <a:cubicBezTo>
                    <a:pt x="22330" y="32687"/>
                    <a:pt x="22364" y="32429"/>
                    <a:pt x="22226" y="32361"/>
                  </a:cubicBezTo>
                  <a:cubicBezTo>
                    <a:pt x="22089" y="32292"/>
                    <a:pt x="22226" y="32240"/>
                    <a:pt x="22226" y="32137"/>
                  </a:cubicBezTo>
                  <a:cubicBezTo>
                    <a:pt x="22226" y="32034"/>
                    <a:pt x="21883" y="31897"/>
                    <a:pt x="21986" y="31828"/>
                  </a:cubicBezTo>
                  <a:cubicBezTo>
                    <a:pt x="21608" y="31828"/>
                    <a:pt x="21814" y="31485"/>
                    <a:pt x="21591" y="31536"/>
                  </a:cubicBezTo>
                  <a:cubicBezTo>
                    <a:pt x="21368" y="31588"/>
                    <a:pt x="21591" y="31450"/>
                    <a:pt x="21436" y="31450"/>
                  </a:cubicBezTo>
                  <a:lnTo>
                    <a:pt x="21436" y="31450"/>
                  </a:lnTo>
                  <a:lnTo>
                    <a:pt x="21436" y="31450"/>
                  </a:lnTo>
                  <a:cubicBezTo>
                    <a:pt x="21436" y="31450"/>
                    <a:pt x="21436" y="31450"/>
                    <a:pt x="21436" y="31347"/>
                  </a:cubicBezTo>
                  <a:cubicBezTo>
                    <a:pt x="21436" y="31244"/>
                    <a:pt x="21625" y="31347"/>
                    <a:pt x="21642" y="31347"/>
                  </a:cubicBezTo>
                  <a:cubicBezTo>
                    <a:pt x="21660" y="31347"/>
                    <a:pt x="21076" y="31347"/>
                    <a:pt x="21247" y="31158"/>
                  </a:cubicBezTo>
                  <a:cubicBezTo>
                    <a:pt x="21110" y="31158"/>
                    <a:pt x="21076" y="31158"/>
                    <a:pt x="21041" y="30986"/>
                  </a:cubicBezTo>
                  <a:cubicBezTo>
                    <a:pt x="21007" y="30815"/>
                    <a:pt x="21162" y="30986"/>
                    <a:pt x="21213" y="30986"/>
                  </a:cubicBezTo>
                  <a:cubicBezTo>
                    <a:pt x="21265" y="30986"/>
                    <a:pt x="21076" y="30986"/>
                    <a:pt x="21024" y="30986"/>
                  </a:cubicBezTo>
                  <a:cubicBezTo>
                    <a:pt x="20973" y="30986"/>
                    <a:pt x="21024" y="30849"/>
                    <a:pt x="21024" y="30780"/>
                  </a:cubicBezTo>
                  <a:cubicBezTo>
                    <a:pt x="21024" y="30712"/>
                    <a:pt x="21179" y="30935"/>
                    <a:pt x="21299" y="30780"/>
                  </a:cubicBezTo>
                  <a:cubicBezTo>
                    <a:pt x="21419" y="30626"/>
                    <a:pt x="21024" y="30694"/>
                    <a:pt x="21144" y="30626"/>
                  </a:cubicBezTo>
                  <a:lnTo>
                    <a:pt x="21144" y="30626"/>
                  </a:lnTo>
                  <a:cubicBezTo>
                    <a:pt x="21144" y="30626"/>
                    <a:pt x="20990" y="30368"/>
                    <a:pt x="20921" y="30299"/>
                  </a:cubicBezTo>
                  <a:cubicBezTo>
                    <a:pt x="21365" y="29847"/>
                    <a:pt x="21523" y="29187"/>
                    <a:pt x="21333" y="28582"/>
                  </a:cubicBezTo>
                  <a:cubicBezTo>
                    <a:pt x="21471" y="28582"/>
                    <a:pt x="21333" y="28393"/>
                    <a:pt x="21436" y="28358"/>
                  </a:cubicBezTo>
                  <a:cubicBezTo>
                    <a:pt x="21539" y="28324"/>
                    <a:pt x="21265" y="28255"/>
                    <a:pt x="21247" y="28135"/>
                  </a:cubicBezTo>
                  <a:lnTo>
                    <a:pt x="21247" y="28221"/>
                  </a:lnTo>
                  <a:cubicBezTo>
                    <a:pt x="21228" y="27927"/>
                    <a:pt x="21357" y="27644"/>
                    <a:pt x="21591" y="27465"/>
                  </a:cubicBezTo>
                  <a:cubicBezTo>
                    <a:pt x="21952" y="26297"/>
                    <a:pt x="23103" y="25833"/>
                    <a:pt x="23927" y="25043"/>
                  </a:cubicBezTo>
                  <a:cubicBezTo>
                    <a:pt x="23935" y="24883"/>
                    <a:pt x="23935" y="24723"/>
                    <a:pt x="23927" y="24562"/>
                  </a:cubicBezTo>
                  <a:cubicBezTo>
                    <a:pt x="23927" y="24373"/>
                    <a:pt x="24288" y="24288"/>
                    <a:pt x="24133" y="24081"/>
                  </a:cubicBezTo>
                  <a:cubicBezTo>
                    <a:pt x="24677" y="23812"/>
                    <a:pt x="25139" y="23403"/>
                    <a:pt x="25473" y="22896"/>
                  </a:cubicBezTo>
                  <a:cubicBezTo>
                    <a:pt x="25473" y="23240"/>
                    <a:pt x="26005" y="23223"/>
                    <a:pt x="26194" y="23102"/>
                  </a:cubicBezTo>
                  <a:cubicBezTo>
                    <a:pt x="26521" y="23497"/>
                    <a:pt x="27225" y="22828"/>
                    <a:pt x="27586" y="22725"/>
                  </a:cubicBezTo>
                  <a:cubicBezTo>
                    <a:pt x="27946" y="22621"/>
                    <a:pt x="28771" y="22725"/>
                    <a:pt x="29063" y="22587"/>
                  </a:cubicBezTo>
                  <a:cubicBezTo>
                    <a:pt x="29355" y="22450"/>
                    <a:pt x="29286" y="22828"/>
                    <a:pt x="29372" y="22587"/>
                  </a:cubicBezTo>
                  <a:cubicBezTo>
                    <a:pt x="29647" y="22828"/>
                    <a:pt x="29939" y="22450"/>
                    <a:pt x="30162" y="22587"/>
                  </a:cubicBezTo>
                  <a:cubicBezTo>
                    <a:pt x="30162" y="22398"/>
                    <a:pt x="30299" y="22725"/>
                    <a:pt x="30385" y="22776"/>
                  </a:cubicBezTo>
                  <a:cubicBezTo>
                    <a:pt x="30746" y="22415"/>
                    <a:pt x="30488" y="22862"/>
                    <a:pt x="30385" y="23017"/>
                  </a:cubicBezTo>
                  <a:cubicBezTo>
                    <a:pt x="31021" y="23446"/>
                    <a:pt x="29956" y="23618"/>
                    <a:pt x="30385" y="23910"/>
                  </a:cubicBezTo>
                  <a:cubicBezTo>
                    <a:pt x="30385" y="23910"/>
                    <a:pt x="30385" y="23910"/>
                    <a:pt x="30506" y="23910"/>
                  </a:cubicBezTo>
                  <a:cubicBezTo>
                    <a:pt x="30626" y="23910"/>
                    <a:pt x="30506" y="23824"/>
                    <a:pt x="30506" y="23910"/>
                  </a:cubicBezTo>
                  <a:cubicBezTo>
                    <a:pt x="30677" y="24322"/>
                    <a:pt x="31313" y="24013"/>
                    <a:pt x="31622" y="24236"/>
                  </a:cubicBezTo>
                  <a:cubicBezTo>
                    <a:pt x="34851" y="26469"/>
                    <a:pt x="32343" y="23566"/>
                    <a:pt x="34473" y="24236"/>
                  </a:cubicBezTo>
                  <a:cubicBezTo>
                    <a:pt x="34834" y="24580"/>
                    <a:pt x="35641" y="24477"/>
                    <a:pt x="36191" y="24700"/>
                  </a:cubicBezTo>
                  <a:cubicBezTo>
                    <a:pt x="36741" y="24923"/>
                    <a:pt x="36724" y="24597"/>
                    <a:pt x="37084" y="24494"/>
                  </a:cubicBezTo>
                  <a:cubicBezTo>
                    <a:pt x="36844" y="24580"/>
                    <a:pt x="37084" y="24494"/>
                    <a:pt x="37187" y="24494"/>
                  </a:cubicBezTo>
                  <a:cubicBezTo>
                    <a:pt x="37290" y="24494"/>
                    <a:pt x="37187" y="24494"/>
                    <a:pt x="37187" y="24494"/>
                  </a:cubicBezTo>
                  <a:cubicBezTo>
                    <a:pt x="37187" y="24494"/>
                    <a:pt x="37411" y="24494"/>
                    <a:pt x="37462" y="24494"/>
                  </a:cubicBezTo>
                  <a:cubicBezTo>
                    <a:pt x="37514" y="24494"/>
                    <a:pt x="37565" y="24614"/>
                    <a:pt x="37565" y="24665"/>
                  </a:cubicBezTo>
                  <a:cubicBezTo>
                    <a:pt x="37565" y="24717"/>
                    <a:pt x="37565" y="24562"/>
                    <a:pt x="37565" y="24494"/>
                  </a:cubicBezTo>
                  <a:cubicBezTo>
                    <a:pt x="38733" y="24889"/>
                    <a:pt x="38338" y="22776"/>
                    <a:pt x="38407" y="22381"/>
                  </a:cubicBezTo>
                  <a:cubicBezTo>
                    <a:pt x="38218" y="22536"/>
                    <a:pt x="37892" y="22381"/>
                    <a:pt x="37840" y="22656"/>
                  </a:cubicBezTo>
                  <a:cubicBezTo>
                    <a:pt x="37496" y="23051"/>
                    <a:pt x="36775" y="22106"/>
                    <a:pt x="36775" y="22656"/>
                  </a:cubicBezTo>
                  <a:cubicBezTo>
                    <a:pt x="36620" y="22656"/>
                    <a:pt x="36225" y="22828"/>
                    <a:pt x="36277" y="22536"/>
                  </a:cubicBezTo>
                  <a:cubicBezTo>
                    <a:pt x="36277" y="22536"/>
                    <a:pt x="36277" y="22536"/>
                    <a:pt x="36140" y="22536"/>
                  </a:cubicBezTo>
                  <a:cubicBezTo>
                    <a:pt x="36002" y="22536"/>
                    <a:pt x="35951" y="22690"/>
                    <a:pt x="35933" y="22536"/>
                  </a:cubicBezTo>
                  <a:lnTo>
                    <a:pt x="35727" y="22536"/>
                  </a:lnTo>
                  <a:cubicBezTo>
                    <a:pt x="35727" y="22450"/>
                    <a:pt x="35951" y="22536"/>
                    <a:pt x="35951" y="22398"/>
                  </a:cubicBezTo>
                  <a:cubicBezTo>
                    <a:pt x="35951" y="22261"/>
                    <a:pt x="35556" y="22501"/>
                    <a:pt x="35762" y="22398"/>
                  </a:cubicBezTo>
                  <a:cubicBezTo>
                    <a:pt x="35521" y="22244"/>
                    <a:pt x="35762" y="22106"/>
                    <a:pt x="35401" y="22020"/>
                  </a:cubicBezTo>
                  <a:cubicBezTo>
                    <a:pt x="35040" y="21934"/>
                    <a:pt x="35401" y="21883"/>
                    <a:pt x="35401" y="21831"/>
                  </a:cubicBezTo>
                  <a:cubicBezTo>
                    <a:pt x="35401" y="21780"/>
                    <a:pt x="35401" y="21952"/>
                    <a:pt x="35573" y="21831"/>
                  </a:cubicBezTo>
                  <a:lnTo>
                    <a:pt x="35573" y="21831"/>
                  </a:lnTo>
                  <a:cubicBezTo>
                    <a:pt x="35573" y="21831"/>
                    <a:pt x="35710" y="21831"/>
                    <a:pt x="35676" y="21694"/>
                  </a:cubicBezTo>
                  <a:cubicBezTo>
                    <a:pt x="35641" y="21557"/>
                    <a:pt x="35504" y="21522"/>
                    <a:pt x="35676" y="21488"/>
                  </a:cubicBezTo>
                  <a:cubicBezTo>
                    <a:pt x="35195" y="21660"/>
                    <a:pt x="35435" y="20938"/>
                    <a:pt x="35779" y="21179"/>
                  </a:cubicBezTo>
                  <a:cubicBezTo>
                    <a:pt x="35779" y="21041"/>
                    <a:pt x="36071" y="21179"/>
                    <a:pt x="36225" y="21179"/>
                  </a:cubicBezTo>
                  <a:cubicBezTo>
                    <a:pt x="35916" y="21058"/>
                    <a:pt x="36363" y="21076"/>
                    <a:pt x="36397" y="20990"/>
                  </a:cubicBezTo>
                  <a:cubicBezTo>
                    <a:pt x="35676" y="20766"/>
                    <a:pt x="36775" y="20869"/>
                    <a:pt x="36827" y="20784"/>
                  </a:cubicBezTo>
                  <a:cubicBezTo>
                    <a:pt x="36964" y="20406"/>
                    <a:pt x="37479" y="20457"/>
                    <a:pt x="37788" y="20371"/>
                  </a:cubicBezTo>
                  <a:cubicBezTo>
                    <a:pt x="37788" y="20543"/>
                    <a:pt x="37960" y="20560"/>
                    <a:pt x="38063" y="20371"/>
                  </a:cubicBezTo>
                  <a:cubicBezTo>
                    <a:pt x="38166" y="20182"/>
                    <a:pt x="38201" y="20663"/>
                    <a:pt x="38287" y="20526"/>
                  </a:cubicBezTo>
                  <a:cubicBezTo>
                    <a:pt x="40760" y="21024"/>
                    <a:pt x="38991" y="19324"/>
                    <a:pt x="37857" y="19049"/>
                  </a:cubicBezTo>
                  <a:cubicBezTo>
                    <a:pt x="37857" y="19049"/>
                    <a:pt x="37857" y="19049"/>
                    <a:pt x="37857" y="18911"/>
                  </a:cubicBezTo>
                  <a:cubicBezTo>
                    <a:pt x="37857" y="18774"/>
                    <a:pt x="38063" y="18911"/>
                    <a:pt x="37977" y="18791"/>
                  </a:cubicBezTo>
                  <a:cubicBezTo>
                    <a:pt x="37892" y="18671"/>
                    <a:pt x="38201" y="18637"/>
                    <a:pt x="37977" y="18551"/>
                  </a:cubicBezTo>
                  <a:cubicBezTo>
                    <a:pt x="37754" y="18465"/>
                    <a:pt x="37874" y="18551"/>
                    <a:pt x="37857" y="18448"/>
                  </a:cubicBezTo>
                  <a:cubicBezTo>
                    <a:pt x="37840" y="18345"/>
                    <a:pt x="38029" y="18448"/>
                    <a:pt x="38029" y="18448"/>
                  </a:cubicBezTo>
                  <a:cubicBezTo>
                    <a:pt x="38029" y="18448"/>
                    <a:pt x="38166" y="18310"/>
                    <a:pt x="38132" y="18224"/>
                  </a:cubicBezTo>
                  <a:cubicBezTo>
                    <a:pt x="38098" y="18138"/>
                    <a:pt x="37651" y="18224"/>
                    <a:pt x="37548" y="18499"/>
                  </a:cubicBezTo>
                  <a:cubicBezTo>
                    <a:pt x="37548" y="18499"/>
                    <a:pt x="37445" y="18585"/>
                    <a:pt x="37359" y="18499"/>
                  </a:cubicBezTo>
                  <a:cubicBezTo>
                    <a:pt x="37273" y="18413"/>
                    <a:pt x="37256" y="18499"/>
                    <a:pt x="37204" y="18499"/>
                  </a:cubicBezTo>
                  <a:cubicBezTo>
                    <a:pt x="37153" y="18499"/>
                    <a:pt x="37204" y="18774"/>
                    <a:pt x="37204" y="18705"/>
                  </a:cubicBezTo>
                  <a:cubicBezTo>
                    <a:pt x="37204" y="18637"/>
                    <a:pt x="37204" y="18585"/>
                    <a:pt x="37204" y="18568"/>
                  </a:cubicBezTo>
                  <a:cubicBezTo>
                    <a:pt x="37204" y="18551"/>
                    <a:pt x="36964" y="18722"/>
                    <a:pt x="36878" y="18791"/>
                  </a:cubicBezTo>
                  <a:cubicBezTo>
                    <a:pt x="36792" y="18860"/>
                    <a:pt x="37170" y="18791"/>
                    <a:pt x="37136" y="18946"/>
                  </a:cubicBezTo>
                  <a:cubicBezTo>
                    <a:pt x="37101" y="19100"/>
                    <a:pt x="37136" y="18946"/>
                    <a:pt x="37136" y="18946"/>
                  </a:cubicBezTo>
                  <a:cubicBezTo>
                    <a:pt x="37136" y="18946"/>
                    <a:pt x="37136" y="19066"/>
                    <a:pt x="37325" y="19049"/>
                  </a:cubicBezTo>
                  <a:cubicBezTo>
                    <a:pt x="37514" y="19032"/>
                    <a:pt x="37016" y="18825"/>
                    <a:pt x="37084" y="18705"/>
                  </a:cubicBezTo>
                  <a:cubicBezTo>
                    <a:pt x="37153" y="18585"/>
                    <a:pt x="37273" y="18980"/>
                    <a:pt x="37393" y="19014"/>
                  </a:cubicBezTo>
                  <a:cubicBezTo>
                    <a:pt x="37514" y="19049"/>
                    <a:pt x="37393" y="19014"/>
                    <a:pt x="37514" y="19014"/>
                  </a:cubicBezTo>
                  <a:cubicBezTo>
                    <a:pt x="37634" y="19014"/>
                    <a:pt x="37617" y="18929"/>
                    <a:pt x="37685" y="18929"/>
                  </a:cubicBezTo>
                  <a:cubicBezTo>
                    <a:pt x="37754" y="18929"/>
                    <a:pt x="37685" y="19152"/>
                    <a:pt x="37462" y="19100"/>
                  </a:cubicBezTo>
                  <a:cubicBezTo>
                    <a:pt x="37239" y="19049"/>
                    <a:pt x="36861" y="19650"/>
                    <a:pt x="36912" y="19100"/>
                  </a:cubicBezTo>
                  <a:cubicBezTo>
                    <a:pt x="36775" y="18980"/>
                    <a:pt x="36466" y="19100"/>
                    <a:pt x="36758" y="18860"/>
                  </a:cubicBezTo>
                  <a:cubicBezTo>
                    <a:pt x="37050" y="18619"/>
                    <a:pt x="36620" y="18602"/>
                    <a:pt x="36500" y="18740"/>
                  </a:cubicBezTo>
                  <a:cubicBezTo>
                    <a:pt x="36380" y="18877"/>
                    <a:pt x="36311" y="18740"/>
                    <a:pt x="36380" y="18619"/>
                  </a:cubicBezTo>
                  <a:cubicBezTo>
                    <a:pt x="36449" y="18499"/>
                    <a:pt x="36191" y="18619"/>
                    <a:pt x="36157" y="18619"/>
                  </a:cubicBezTo>
                  <a:cubicBezTo>
                    <a:pt x="36122" y="18619"/>
                    <a:pt x="36380" y="18619"/>
                    <a:pt x="36449" y="18619"/>
                  </a:cubicBezTo>
                  <a:cubicBezTo>
                    <a:pt x="36396" y="18670"/>
                    <a:pt x="36313" y="18670"/>
                    <a:pt x="36260" y="18619"/>
                  </a:cubicBezTo>
                  <a:cubicBezTo>
                    <a:pt x="36260" y="18791"/>
                    <a:pt x="36122" y="18619"/>
                    <a:pt x="36088" y="18740"/>
                  </a:cubicBezTo>
                  <a:cubicBezTo>
                    <a:pt x="36054" y="18860"/>
                    <a:pt x="36088" y="18929"/>
                    <a:pt x="35916" y="18946"/>
                  </a:cubicBezTo>
                  <a:cubicBezTo>
                    <a:pt x="35744" y="18963"/>
                    <a:pt x="35916" y="19221"/>
                    <a:pt x="35796" y="19083"/>
                  </a:cubicBezTo>
                  <a:cubicBezTo>
                    <a:pt x="35916" y="19392"/>
                    <a:pt x="35796" y="19409"/>
                    <a:pt x="35607" y="19598"/>
                  </a:cubicBezTo>
                  <a:cubicBezTo>
                    <a:pt x="35418" y="19787"/>
                    <a:pt x="35607" y="19856"/>
                    <a:pt x="35607" y="19993"/>
                  </a:cubicBezTo>
                  <a:cubicBezTo>
                    <a:pt x="35607" y="20131"/>
                    <a:pt x="35401" y="20097"/>
                    <a:pt x="35470" y="20251"/>
                  </a:cubicBezTo>
                  <a:cubicBezTo>
                    <a:pt x="35538" y="20406"/>
                    <a:pt x="35607" y="20440"/>
                    <a:pt x="35607" y="20698"/>
                  </a:cubicBezTo>
                  <a:cubicBezTo>
                    <a:pt x="35607" y="20955"/>
                    <a:pt x="36054" y="20835"/>
                    <a:pt x="35899" y="20990"/>
                  </a:cubicBezTo>
                  <a:cubicBezTo>
                    <a:pt x="35744" y="21144"/>
                    <a:pt x="35435" y="21144"/>
                    <a:pt x="35212" y="21333"/>
                  </a:cubicBezTo>
                  <a:cubicBezTo>
                    <a:pt x="35212" y="21230"/>
                    <a:pt x="35212" y="21179"/>
                    <a:pt x="35315" y="21144"/>
                  </a:cubicBezTo>
                  <a:cubicBezTo>
                    <a:pt x="35109" y="21144"/>
                    <a:pt x="34851" y="20887"/>
                    <a:pt x="34731" y="21144"/>
                  </a:cubicBezTo>
                  <a:cubicBezTo>
                    <a:pt x="34559" y="21144"/>
                    <a:pt x="34611" y="21144"/>
                    <a:pt x="34491" y="21230"/>
                  </a:cubicBezTo>
                  <a:cubicBezTo>
                    <a:pt x="34370" y="21316"/>
                    <a:pt x="34491" y="21333"/>
                    <a:pt x="34611" y="21385"/>
                  </a:cubicBezTo>
                  <a:cubicBezTo>
                    <a:pt x="34731" y="21436"/>
                    <a:pt x="34422" y="21299"/>
                    <a:pt x="34439" y="21385"/>
                  </a:cubicBezTo>
                  <a:cubicBezTo>
                    <a:pt x="34456" y="21471"/>
                    <a:pt x="34559" y="21385"/>
                    <a:pt x="34439" y="21471"/>
                  </a:cubicBezTo>
                  <a:cubicBezTo>
                    <a:pt x="34319" y="21557"/>
                    <a:pt x="34164" y="21350"/>
                    <a:pt x="34439" y="21471"/>
                  </a:cubicBezTo>
                  <a:cubicBezTo>
                    <a:pt x="34302" y="21471"/>
                    <a:pt x="34250" y="21333"/>
                    <a:pt x="34164" y="21282"/>
                  </a:cubicBezTo>
                  <a:cubicBezTo>
                    <a:pt x="34078" y="21230"/>
                    <a:pt x="33924" y="21402"/>
                    <a:pt x="34164" y="21522"/>
                  </a:cubicBezTo>
                  <a:cubicBezTo>
                    <a:pt x="34405" y="21642"/>
                    <a:pt x="34542" y="21986"/>
                    <a:pt x="34164" y="21728"/>
                  </a:cubicBezTo>
                  <a:cubicBezTo>
                    <a:pt x="34164" y="21728"/>
                    <a:pt x="34164" y="21728"/>
                    <a:pt x="34164" y="21728"/>
                  </a:cubicBezTo>
                  <a:cubicBezTo>
                    <a:pt x="34164" y="21728"/>
                    <a:pt x="34164" y="21849"/>
                    <a:pt x="34164" y="21831"/>
                  </a:cubicBezTo>
                  <a:cubicBezTo>
                    <a:pt x="34353" y="21969"/>
                    <a:pt x="34680" y="22020"/>
                    <a:pt x="34662" y="22295"/>
                  </a:cubicBezTo>
                  <a:cubicBezTo>
                    <a:pt x="34542" y="22295"/>
                    <a:pt x="34473" y="22175"/>
                    <a:pt x="34336" y="22295"/>
                  </a:cubicBezTo>
                  <a:cubicBezTo>
                    <a:pt x="34199" y="22415"/>
                    <a:pt x="34645" y="22536"/>
                    <a:pt x="34456" y="22467"/>
                  </a:cubicBezTo>
                  <a:cubicBezTo>
                    <a:pt x="34267" y="22398"/>
                    <a:pt x="34456" y="22467"/>
                    <a:pt x="34456" y="22467"/>
                  </a:cubicBezTo>
                  <a:cubicBezTo>
                    <a:pt x="34456" y="22467"/>
                    <a:pt x="34456" y="22707"/>
                    <a:pt x="34456" y="22776"/>
                  </a:cubicBezTo>
                  <a:cubicBezTo>
                    <a:pt x="34456" y="22845"/>
                    <a:pt x="34216" y="22587"/>
                    <a:pt x="34250" y="22776"/>
                  </a:cubicBezTo>
                  <a:cubicBezTo>
                    <a:pt x="34250" y="22621"/>
                    <a:pt x="34147" y="22639"/>
                    <a:pt x="34078" y="22518"/>
                  </a:cubicBezTo>
                  <a:cubicBezTo>
                    <a:pt x="34010" y="22398"/>
                    <a:pt x="34078" y="22604"/>
                    <a:pt x="34078" y="22656"/>
                  </a:cubicBezTo>
                  <a:cubicBezTo>
                    <a:pt x="33988" y="22604"/>
                    <a:pt x="33946" y="22498"/>
                    <a:pt x="33975" y="22398"/>
                  </a:cubicBezTo>
                  <a:cubicBezTo>
                    <a:pt x="33855" y="22295"/>
                    <a:pt x="33666" y="22226"/>
                    <a:pt x="33855" y="22089"/>
                  </a:cubicBezTo>
                  <a:cubicBezTo>
                    <a:pt x="34044" y="21952"/>
                    <a:pt x="34199" y="22261"/>
                    <a:pt x="34353" y="22089"/>
                  </a:cubicBezTo>
                  <a:cubicBezTo>
                    <a:pt x="34216" y="22089"/>
                    <a:pt x="34061" y="21917"/>
                    <a:pt x="33958" y="22089"/>
                  </a:cubicBezTo>
                  <a:cubicBezTo>
                    <a:pt x="33855" y="22261"/>
                    <a:pt x="33838" y="21969"/>
                    <a:pt x="33786" y="22089"/>
                  </a:cubicBezTo>
                  <a:cubicBezTo>
                    <a:pt x="33546" y="21849"/>
                    <a:pt x="33374" y="21471"/>
                    <a:pt x="33065" y="21316"/>
                  </a:cubicBezTo>
                  <a:cubicBezTo>
                    <a:pt x="33065" y="21127"/>
                    <a:pt x="33065" y="20921"/>
                    <a:pt x="33065" y="20732"/>
                  </a:cubicBezTo>
                  <a:cubicBezTo>
                    <a:pt x="32859" y="20732"/>
                    <a:pt x="32739" y="20457"/>
                    <a:pt x="32584" y="20320"/>
                  </a:cubicBezTo>
                  <a:cubicBezTo>
                    <a:pt x="32429" y="20182"/>
                    <a:pt x="32326" y="20320"/>
                    <a:pt x="32275" y="20320"/>
                  </a:cubicBezTo>
                  <a:cubicBezTo>
                    <a:pt x="32223" y="20320"/>
                    <a:pt x="32275" y="20320"/>
                    <a:pt x="32395" y="20320"/>
                  </a:cubicBezTo>
                  <a:cubicBezTo>
                    <a:pt x="32515" y="20320"/>
                    <a:pt x="32103" y="20062"/>
                    <a:pt x="31931" y="20131"/>
                  </a:cubicBezTo>
                  <a:cubicBezTo>
                    <a:pt x="31759" y="20200"/>
                    <a:pt x="31416" y="19839"/>
                    <a:pt x="31742" y="19856"/>
                  </a:cubicBezTo>
                  <a:cubicBezTo>
                    <a:pt x="31347" y="19616"/>
                    <a:pt x="31536" y="19135"/>
                    <a:pt x="31175" y="19633"/>
                  </a:cubicBezTo>
                  <a:cubicBezTo>
                    <a:pt x="31175" y="19530"/>
                    <a:pt x="31038" y="19409"/>
                    <a:pt x="31175" y="19306"/>
                  </a:cubicBezTo>
                  <a:cubicBezTo>
                    <a:pt x="31313" y="19203"/>
                    <a:pt x="30832" y="19306"/>
                    <a:pt x="30746" y="19427"/>
                  </a:cubicBezTo>
                  <a:cubicBezTo>
                    <a:pt x="30746" y="19942"/>
                    <a:pt x="31347" y="20268"/>
                    <a:pt x="31656" y="20681"/>
                  </a:cubicBezTo>
                  <a:cubicBezTo>
                    <a:pt x="31811" y="20681"/>
                    <a:pt x="32223" y="20681"/>
                    <a:pt x="31983" y="20887"/>
                  </a:cubicBezTo>
                  <a:cubicBezTo>
                    <a:pt x="32223" y="21024"/>
                    <a:pt x="32979" y="21161"/>
                    <a:pt x="32807" y="21539"/>
                  </a:cubicBezTo>
                  <a:cubicBezTo>
                    <a:pt x="32653" y="21539"/>
                    <a:pt x="32807" y="21282"/>
                    <a:pt x="32532" y="21333"/>
                  </a:cubicBezTo>
                  <a:cubicBezTo>
                    <a:pt x="32258" y="21385"/>
                    <a:pt x="32258" y="21539"/>
                    <a:pt x="32309" y="21625"/>
                  </a:cubicBezTo>
                  <a:cubicBezTo>
                    <a:pt x="32670" y="21728"/>
                    <a:pt x="32309" y="21934"/>
                    <a:pt x="32309" y="22141"/>
                  </a:cubicBezTo>
                  <a:cubicBezTo>
                    <a:pt x="32309" y="22347"/>
                    <a:pt x="31845" y="22415"/>
                    <a:pt x="32086" y="22141"/>
                  </a:cubicBezTo>
                  <a:cubicBezTo>
                    <a:pt x="32197" y="21856"/>
                    <a:pt x="32069" y="21534"/>
                    <a:pt x="31794" y="21402"/>
                  </a:cubicBezTo>
                  <a:cubicBezTo>
                    <a:pt x="31639" y="21402"/>
                    <a:pt x="31794" y="21282"/>
                    <a:pt x="31656" y="21230"/>
                  </a:cubicBezTo>
                  <a:cubicBezTo>
                    <a:pt x="31518" y="21226"/>
                    <a:pt x="31393" y="21147"/>
                    <a:pt x="31330" y="21024"/>
                  </a:cubicBezTo>
                  <a:cubicBezTo>
                    <a:pt x="30317" y="21024"/>
                    <a:pt x="30145" y="18980"/>
                    <a:pt x="29080" y="20217"/>
                  </a:cubicBezTo>
                  <a:cubicBezTo>
                    <a:pt x="29080" y="20423"/>
                    <a:pt x="28736" y="20217"/>
                    <a:pt x="28633" y="20114"/>
                  </a:cubicBezTo>
                  <a:cubicBezTo>
                    <a:pt x="27568" y="19993"/>
                    <a:pt x="28633" y="20921"/>
                    <a:pt x="27448" y="21093"/>
                  </a:cubicBezTo>
                  <a:cubicBezTo>
                    <a:pt x="27534" y="21093"/>
                    <a:pt x="27448" y="21265"/>
                    <a:pt x="27448" y="21213"/>
                  </a:cubicBezTo>
                  <a:cubicBezTo>
                    <a:pt x="26744" y="21763"/>
                    <a:pt x="27448" y="21728"/>
                    <a:pt x="27191" y="22003"/>
                  </a:cubicBezTo>
                  <a:cubicBezTo>
                    <a:pt x="26950" y="22003"/>
                    <a:pt x="27070" y="22450"/>
                    <a:pt x="26847" y="22398"/>
                  </a:cubicBezTo>
                  <a:cubicBezTo>
                    <a:pt x="26418" y="22862"/>
                    <a:pt x="25919" y="22398"/>
                    <a:pt x="25421" y="22896"/>
                  </a:cubicBezTo>
                  <a:cubicBezTo>
                    <a:pt x="25095" y="22896"/>
                    <a:pt x="25147" y="22192"/>
                    <a:pt x="24700" y="22501"/>
                  </a:cubicBezTo>
                  <a:cubicBezTo>
                    <a:pt x="24700" y="22501"/>
                    <a:pt x="24494" y="22364"/>
                    <a:pt x="24408" y="22501"/>
                  </a:cubicBezTo>
                  <a:cubicBezTo>
                    <a:pt x="24426" y="22310"/>
                    <a:pt x="24460" y="22120"/>
                    <a:pt x="24511" y="21934"/>
                  </a:cubicBezTo>
                  <a:cubicBezTo>
                    <a:pt x="24185" y="21934"/>
                    <a:pt x="24511" y="21934"/>
                    <a:pt x="24511" y="21763"/>
                  </a:cubicBezTo>
                  <a:cubicBezTo>
                    <a:pt x="24099" y="22020"/>
                    <a:pt x="24614" y="21299"/>
                    <a:pt x="24631" y="21144"/>
                  </a:cubicBezTo>
                  <a:cubicBezTo>
                    <a:pt x="24648" y="20990"/>
                    <a:pt x="24631" y="20595"/>
                    <a:pt x="24734" y="20457"/>
                  </a:cubicBezTo>
                  <a:lnTo>
                    <a:pt x="24734" y="20457"/>
                  </a:lnTo>
                  <a:cubicBezTo>
                    <a:pt x="24734" y="20457"/>
                    <a:pt x="24734" y="20457"/>
                    <a:pt x="24734" y="20337"/>
                  </a:cubicBezTo>
                  <a:cubicBezTo>
                    <a:pt x="24734" y="20217"/>
                    <a:pt x="24734" y="20337"/>
                    <a:pt x="24734" y="20234"/>
                  </a:cubicBezTo>
                  <a:cubicBezTo>
                    <a:pt x="24734" y="20131"/>
                    <a:pt x="24940" y="20097"/>
                    <a:pt x="25026" y="20045"/>
                  </a:cubicBezTo>
                  <a:cubicBezTo>
                    <a:pt x="25112" y="19993"/>
                    <a:pt x="25404" y="20045"/>
                    <a:pt x="25490" y="20045"/>
                  </a:cubicBezTo>
                  <a:cubicBezTo>
                    <a:pt x="25851" y="20045"/>
                    <a:pt x="26246" y="20217"/>
                    <a:pt x="26607" y="20131"/>
                  </a:cubicBezTo>
                  <a:cubicBezTo>
                    <a:pt x="27242" y="20629"/>
                    <a:pt x="26847" y="18911"/>
                    <a:pt x="27276" y="19564"/>
                  </a:cubicBezTo>
                  <a:cubicBezTo>
                    <a:pt x="27276" y="19461"/>
                    <a:pt x="27173" y="19306"/>
                    <a:pt x="27053" y="19289"/>
                  </a:cubicBezTo>
                  <a:cubicBezTo>
                    <a:pt x="27225" y="19066"/>
                    <a:pt x="26899" y="19014"/>
                    <a:pt x="26813" y="18860"/>
                  </a:cubicBezTo>
                  <a:cubicBezTo>
                    <a:pt x="26727" y="18705"/>
                    <a:pt x="26813" y="18619"/>
                    <a:pt x="26950" y="18722"/>
                  </a:cubicBezTo>
                  <a:cubicBezTo>
                    <a:pt x="26847" y="18568"/>
                    <a:pt x="26727" y="18825"/>
                    <a:pt x="26727" y="18551"/>
                  </a:cubicBezTo>
                  <a:cubicBezTo>
                    <a:pt x="26607" y="18551"/>
                    <a:pt x="26400" y="18345"/>
                    <a:pt x="26229" y="18465"/>
                  </a:cubicBezTo>
                  <a:cubicBezTo>
                    <a:pt x="26057" y="18585"/>
                    <a:pt x="26229" y="18465"/>
                    <a:pt x="26229" y="18345"/>
                  </a:cubicBezTo>
                  <a:cubicBezTo>
                    <a:pt x="26229" y="18224"/>
                    <a:pt x="26332" y="18190"/>
                    <a:pt x="26229" y="18345"/>
                  </a:cubicBezTo>
                  <a:cubicBezTo>
                    <a:pt x="26126" y="18499"/>
                    <a:pt x="26229" y="18345"/>
                    <a:pt x="26229" y="18345"/>
                  </a:cubicBezTo>
                  <a:cubicBezTo>
                    <a:pt x="25851" y="18224"/>
                    <a:pt x="26435" y="18207"/>
                    <a:pt x="26555" y="18121"/>
                  </a:cubicBezTo>
                  <a:cubicBezTo>
                    <a:pt x="26692" y="18293"/>
                    <a:pt x="26795" y="18121"/>
                    <a:pt x="27019" y="18241"/>
                  </a:cubicBezTo>
                  <a:cubicBezTo>
                    <a:pt x="26989" y="18096"/>
                    <a:pt x="26949" y="17952"/>
                    <a:pt x="26899" y="17812"/>
                  </a:cubicBezTo>
                  <a:cubicBezTo>
                    <a:pt x="26899" y="17812"/>
                    <a:pt x="27053" y="17812"/>
                    <a:pt x="27105" y="17812"/>
                  </a:cubicBezTo>
                  <a:cubicBezTo>
                    <a:pt x="27156" y="17812"/>
                    <a:pt x="27397" y="18001"/>
                    <a:pt x="27500" y="17812"/>
                  </a:cubicBezTo>
                  <a:cubicBezTo>
                    <a:pt x="27259" y="17623"/>
                    <a:pt x="27775" y="17709"/>
                    <a:pt x="27775" y="17606"/>
                  </a:cubicBezTo>
                  <a:cubicBezTo>
                    <a:pt x="27775" y="17503"/>
                    <a:pt x="27860" y="17383"/>
                    <a:pt x="27895" y="17280"/>
                  </a:cubicBezTo>
                  <a:cubicBezTo>
                    <a:pt x="27929" y="17177"/>
                    <a:pt x="28204" y="16988"/>
                    <a:pt x="28444" y="17125"/>
                  </a:cubicBezTo>
                  <a:cubicBezTo>
                    <a:pt x="28273" y="17125"/>
                    <a:pt x="28221" y="16919"/>
                    <a:pt x="28444" y="17125"/>
                  </a:cubicBezTo>
                  <a:cubicBezTo>
                    <a:pt x="28668" y="17331"/>
                    <a:pt x="28324" y="17005"/>
                    <a:pt x="28547" y="17022"/>
                  </a:cubicBezTo>
                  <a:cubicBezTo>
                    <a:pt x="28187" y="16764"/>
                    <a:pt x="28925" y="16112"/>
                    <a:pt x="29286" y="16438"/>
                  </a:cubicBezTo>
                  <a:cubicBezTo>
                    <a:pt x="29028" y="16249"/>
                    <a:pt x="29389" y="16112"/>
                    <a:pt x="29458" y="16438"/>
                  </a:cubicBezTo>
                  <a:cubicBezTo>
                    <a:pt x="29458" y="16197"/>
                    <a:pt x="29458" y="16438"/>
                    <a:pt x="29595" y="16438"/>
                  </a:cubicBezTo>
                  <a:cubicBezTo>
                    <a:pt x="29441" y="16026"/>
                    <a:pt x="29750" y="16232"/>
                    <a:pt x="29956" y="16301"/>
                  </a:cubicBezTo>
                  <a:cubicBezTo>
                    <a:pt x="29389" y="16043"/>
                    <a:pt x="29544" y="15493"/>
                    <a:pt x="29389" y="15115"/>
                  </a:cubicBezTo>
                  <a:cubicBezTo>
                    <a:pt x="29630" y="15115"/>
                    <a:pt x="29527" y="14961"/>
                    <a:pt x="29664" y="15115"/>
                  </a:cubicBezTo>
                  <a:cubicBezTo>
                    <a:pt x="29664" y="14634"/>
                    <a:pt x="29836" y="15115"/>
                    <a:pt x="30025" y="15115"/>
                  </a:cubicBezTo>
                  <a:cubicBezTo>
                    <a:pt x="30025" y="15373"/>
                    <a:pt x="29527" y="15528"/>
                    <a:pt x="29922" y="16009"/>
                  </a:cubicBezTo>
                  <a:cubicBezTo>
                    <a:pt x="29922" y="15888"/>
                    <a:pt x="30334" y="16009"/>
                    <a:pt x="30059" y="16094"/>
                  </a:cubicBezTo>
                  <a:cubicBezTo>
                    <a:pt x="30591" y="16094"/>
                    <a:pt x="30385" y="15768"/>
                    <a:pt x="30883" y="16094"/>
                  </a:cubicBezTo>
                  <a:cubicBezTo>
                    <a:pt x="31124" y="16472"/>
                    <a:pt x="31656" y="15356"/>
                    <a:pt x="32103" y="15768"/>
                  </a:cubicBezTo>
                  <a:cubicBezTo>
                    <a:pt x="31828" y="15768"/>
                    <a:pt x="32103" y="16043"/>
                    <a:pt x="32326" y="15768"/>
                  </a:cubicBezTo>
                  <a:cubicBezTo>
                    <a:pt x="32299" y="15829"/>
                    <a:pt x="32250" y="15878"/>
                    <a:pt x="32189" y="15905"/>
                  </a:cubicBezTo>
                  <a:cubicBezTo>
                    <a:pt x="34078" y="15820"/>
                    <a:pt x="31656" y="15270"/>
                    <a:pt x="32704" y="14497"/>
                  </a:cubicBezTo>
                  <a:cubicBezTo>
                    <a:pt x="33082" y="15081"/>
                    <a:pt x="33202" y="14686"/>
                    <a:pt x="33031" y="14222"/>
                  </a:cubicBezTo>
                  <a:cubicBezTo>
                    <a:pt x="33031" y="14428"/>
                    <a:pt x="32739" y="14222"/>
                    <a:pt x="32842" y="14068"/>
                  </a:cubicBezTo>
                  <a:cubicBezTo>
                    <a:pt x="32532" y="14068"/>
                    <a:pt x="32842" y="13758"/>
                    <a:pt x="32842" y="13690"/>
                  </a:cubicBezTo>
                  <a:cubicBezTo>
                    <a:pt x="32842" y="13621"/>
                    <a:pt x="33082" y="13690"/>
                    <a:pt x="32979" y="13690"/>
                  </a:cubicBezTo>
                  <a:lnTo>
                    <a:pt x="33615" y="13793"/>
                  </a:lnTo>
                  <a:cubicBezTo>
                    <a:pt x="33426" y="13501"/>
                    <a:pt x="33615" y="13690"/>
                    <a:pt x="33752" y="13466"/>
                  </a:cubicBezTo>
                  <a:cubicBezTo>
                    <a:pt x="33889" y="13243"/>
                    <a:pt x="33305" y="13363"/>
                    <a:pt x="33546" y="13192"/>
                  </a:cubicBezTo>
                  <a:cubicBezTo>
                    <a:pt x="33546" y="13192"/>
                    <a:pt x="33426" y="13295"/>
                    <a:pt x="33408" y="13192"/>
                  </a:cubicBezTo>
                  <a:cubicBezTo>
                    <a:pt x="33408" y="13346"/>
                    <a:pt x="33099" y="13363"/>
                    <a:pt x="33031" y="13312"/>
                  </a:cubicBezTo>
                  <a:cubicBezTo>
                    <a:pt x="32962" y="13260"/>
                    <a:pt x="33031" y="13312"/>
                    <a:pt x="33031" y="13312"/>
                  </a:cubicBezTo>
                  <a:cubicBezTo>
                    <a:pt x="33031" y="13312"/>
                    <a:pt x="33031" y="13552"/>
                    <a:pt x="33031" y="13312"/>
                  </a:cubicBezTo>
                  <a:cubicBezTo>
                    <a:pt x="33031" y="13449"/>
                    <a:pt x="32601" y="13466"/>
                    <a:pt x="32567" y="13621"/>
                  </a:cubicBezTo>
                  <a:cubicBezTo>
                    <a:pt x="32567" y="13312"/>
                    <a:pt x="32412" y="13415"/>
                    <a:pt x="32172" y="13260"/>
                  </a:cubicBezTo>
                  <a:cubicBezTo>
                    <a:pt x="31931" y="13106"/>
                    <a:pt x="31691" y="12144"/>
                    <a:pt x="31914" y="12058"/>
                  </a:cubicBezTo>
                  <a:cubicBezTo>
                    <a:pt x="32137" y="11972"/>
                    <a:pt x="31914" y="11972"/>
                    <a:pt x="32017" y="12058"/>
                  </a:cubicBezTo>
                  <a:cubicBezTo>
                    <a:pt x="32120" y="12144"/>
                    <a:pt x="32017" y="11921"/>
                    <a:pt x="32017" y="11817"/>
                  </a:cubicBezTo>
                  <a:cubicBezTo>
                    <a:pt x="32017" y="11714"/>
                    <a:pt x="32240" y="11354"/>
                    <a:pt x="32309" y="11457"/>
                  </a:cubicBezTo>
                  <a:cubicBezTo>
                    <a:pt x="32103" y="11010"/>
                    <a:pt x="31708" y="11148"/>
                    <a:pt x="31502" y="11182"/>
                  </a:cubicBezTo>
                  <a:cubicBezTo>
                    <a:pt x="31622" y="11354"/>
                    <a:pt x="31502" y="11577"/>
                    <a:pt x="31656" y="11714"/>
                  </a:cubicBezTo>
                  <a:cubicBezTo>
                    <a:pt x="31532" y="12056"/>
                    <a:pt x="31318" y="12359"/>
                    <a:pt x="31038" y="12590"/>
                  </a:cubicBezTo>
                  <a:cubicBezTo>
                    <a:pt x="31158" y="12676"/>
                    <a:pt x="31038" y="12848"/>
                    <a:pt x="31175" y="12968"/>
                  </a:cubicBezTo>
                  <a:cubicBezTo>
                    <a:pt x="30883" y="13123"/>
                    <a:pt x="32189" y="13999"/>
                    <a:pt x="31382" y="13793"/>
                  </a:cubicBezTo>
                  <a:cubicBezTo>
                    <a:pt x="31382" y="13793"/>
                    <a:pt x="30901" y="13793"/>
                    <a:pt x="31210" y="13913"/>
                  </a:cubicBezTo>
                  <a:cubicBezTo>
                    <a:pt x="31519" y="14033"/>
                    <a:pt x="31811" y="14119"/>
                    <a:pt x="31485" y="14050"/>
                  </a:cubicBezTo>
                  <a:cubicBezTo>
                    <a:pt x="31485" y="14050"/>
                    <a:pt x="31485" y="14257"/>
                    <a:pt x="31364" y="14188"/>
                  </a:cubicBezTo>
                  <a:cubicBezTo>
                    <a:pt x="31244" y="14119"/>
                    <a:pt x="31467" y="14325"/>
                    <a:pt x="31364" y="14342"/>
                  </a:cubicBezTo>
                  <a:cubicBezTo>
                    <a:pt x="31485" y="14342"/>
                    <a:pt x="31519" y="14600"/>
                    <a:pt x="31364" y="14514"/>
                  </a:cubicBezTo>
                  <a:cubicBezTo>
                    <a:pt x="31502" y="14789"/>
                    <a:pt x="31519" y="15510"/>
                    <a:pt x="31090" y="15236"/>
                  </a:cubicBezTo>
                  <a:cubicBezTo>
                    <a:pt x="30815" y="16301"/>
                    <a:pt x="30059" y="14153"/>
                    <a:pt x="30162" y="14050"/>
                  </a:cubicBezTo>
                  <a:cubicBezTo>
                    <a:pt x="29990" y="13947"/>
                    <a:pt x="29939" y="13844"/>
                    <a:pt x="29939" y="13810"/>
                  </a:cubicBezTo>
                  <a:cubicBezTo>
                    <a:pt x="29958" y="13906"/>
                    <a:pt x="29958" y="14006"/>
                    <a:pt x="29939" y="14102"/>
                  </a:cubicBezTo>
                  <a:cubicBezTo>
                    <a:pt x="29939" y="14102"/>
                    <a:pt x="29939" y="14102"/>
                    <a:pt x="29733" y="13965"/>
                  </a:cubicBezTo>
                  <a:cubicBezTo>
                    <a:pt x="29733" y="14119"/>
                    <a:pt x="29733" y="14360"/>
                    <a:pt x="29595" y="14291"/>
                  </a:cubicBezTo>
                  <a:cubicBezTo>
                    <a:pt x="29733" y="14463"/>
                    <a:pt x="29286" y="14583"/>
                    <a:pt x="29183" y="14428"/>
                  </a:cubicBezTo>
                  <a:cubicBezTo>
                    <a:pt x="29080" y="14549"/>
                    <a:pt x="28651" y="14050"/>
                    <a:pt x="29183" y="14102"/>
                  </a:cubicBezTo>
                  <a:cubicBezTo>
                    <a:pt x="28960" y="14102"/>
                    <a:pt x="29183" y="13999"/>
                    <a:pt x="29011" y="13879"/>
                  </a:cubicBezTo>
                  <a:cubicBezTo>
                    <a:pt x="29011" y="14188"/>
                    <a:pt x="28771" y="13690"/>
                    <a:pt x="29011" y="13879"/>
                  </a:cubicBezTo>
                  <a:cubicBezTo>
                    <a:pt x="29252" y="14068"/>
                    <a:pt x="29011" y="13879"/>
                    <a:pt x="29166" y="13776"/>
                  </a:cubicBezTo>
                  <a:cubicBezTo>
                    <a:pt x="28960" y="13776"/>
                    <a:pt x="29166" y="13449"/>
                    <a:pt x="29166" y="13655"/>
                  </a:cubicBezTo>
                  <a:cubicBezTo>
                    <a:pt x="29118" y="13609"/>
                    <a:pt x="29118" y="13533"/>
                    <a:pt x="29164" y="13485"/>
                  </a:cubicBezTo>
                  <a:cubicBezTo>
                    <a:pt x="29165" y="13485"/>
                    <a:pt x="29165" y="13484"/>
                    <a:pt x="29166" y="13484"/>
                  </a:cubicBezTo>
                  <a:cubicBezTo>
                    <a:pt x="28943" y="13569"/>
                    <a:pt x="28822" y="13724"/>
                    <a:pt x="28943" y="13484"/>
                  </a:cubicBezTo>
                  <a:cubicBezTo>
                    <a:pt x="28788" y="13484"/>
                    <a:pt x="28736" y="13569"/>
                    <a:pt x="28943" y="13381"/>
                  </a:cubicBezTo>
                  <a:cubicBezTo>
                    <a:pt x="28599" y="13243"/>
                    <a:pt x="29544" y="13484"/>
                    <a:pt x="29355" y="13157"/>
                  </a:cubicBezTo>
                  <a:cubicBezTo>
                    <a:pt x="29355" y="13329"/>
                    <a:pt x="28582" y="13295"/>
                    <a:pt x="28994" y="13157"/>
                  </a:cubicBezTo>
                  <a:cubicBezTo>
                    <a:pt x="28651" y="13157"/>
                    <a:pt x="28994" y="13037"/>
                    <a:pt x="29183" y="13020"/>
                  </a:cubicBezTo>
                  <a:cubicBezTo>
                    <a:pt x="28822" y="13020"/>
                    <a:pt x="28754" y="12831"/>
                    <a:pt x="29046" y="12917"/>
                  </a:cubicBezTo>
                  <a:cubicBezTo>
                    <a:pt x="28960" y="12917"/>
                    <a:pt x="29046" y="12779"/>
                    <a:pt x="29183" y="12917"/>
                  </a:cubicBezTo>
                  <a:lnTo>
                    <a:pt x="29183" y="12797"/>
                  </a:lnTo>
                  <a:cubicBezTo>
                    <a:pt x="29183" y="12797"/>
                    <a:pt x="29183" y="12797"/>
                    <a:pt x="29441" y="12797"/>
                  </a:cubicBezTo>
                  <a:cubicBezTo>
                    <a:pt x="29114" y="12797"/>
                    <a:pt x="29303" y="12590"/>
                    <a:pt x="29578" y="12797"/>
                  </a:cubicBezTo>
                  <a:cubicBezTo>
                    <a:pt x="29217" y="12505"/>
                    <a:pt x="29578" y="12797"/>
                    <a:pt x="29578" y="12676"/>
                  </a:cubicBezTo>
                  <a:cubicBezTo>
                    <a:pt x="29578" y="12556"/>
                    <a:pt x="29922" y="12213"/>
                    <a:pt x="29767" y="12676"/>
                  </a:cubicBezTo>
                  <a:cubicBezTo>
                    <a:pt x="30007" y="12539"/>
                    <a:pt x="29973" y="12539"/>
                    <a:pt x="30059" y="12298"/>
                  </a:cubicBezTo>
                  <a:cubicBezTo>
                    <a:pt x="30145" y="12058"/>
                    <a:pt x="29784" y="12814"/>
                    <a:pt x="29801" y="12419"/>
                  </a:cubicBezTo>
                  <a:cubicBezTo>
                    <a:pt x="29664" y="12522"/>
                    <a:pt x="29801" y="12161"/>
                    <a:pt x="29801" y="12195"/>
                  </a:cubicBezTo>
                  <a:cubicBezTo>
                    <a:pt x="29801" y="12230"/>
                    <a:pt x="29990" y="12006"/>
                    <a:pt x="30145" y="11766"/>
                  </a:cubicBezTo>
                  <a:cubicBezTo>
                    <a:pt x="29990" y="11886"/>
                    <a:pt x="30059" y="11525"/>
                    <a:pt x="30145" y="11611"/>
                  </a:cubicBezTo>
                  <a:cubicBezTo>
                    <a:pt x="30231" y="11697"/>
                    <a:pt x="30145" y="11440"/>
                    <a:pt x="30145" y="11525"/>
                  </a:cubicBezTo>
                  <a:cubicBezTo>
                    <a:pt x="30042" y="11319"/>
                    <a:pt x="30145" y="11440"/>
                    <a:pt x="30145" y="11337"/>
                  </a:cubicBezTo>
                  <a:cubicBezTo>
                    <a:pt x="29939" y="11337"/>
                    <a:pt x="30145" y="11233"/>
                    <a:pt x="30025" y="11148"/>
                  </a:cubicBezTo>
                  <a:cubicBezTo>
                    <a:pt x="29904" y="11062"/>
                    <a:pt x="30025" y="10821"/>
                    <a:pt x="30334" y="10976"/>
                  </a:cubicBezTo>
                  <a:cubicBezTo>
                    <a:pt x="30179" y="10890"/>
                    <a:pt x="30111" y="10735"/>
                    <a:pt x="30334" y="10838"/>
                  </a:cubicBezTo>
                  <a:cubicBezTo>
                    <a:pt x="30557" y="10941"/>
                    <a:pt x="30162" y="10701"/>
                    <a:pt x="30334" y="10684"/>
                  </a:cubicBezTo>
                  <a:cubicBezTo>
                    <a:pt x="30042" y="10684"/>
                    <a:pt x="30334" y="10684"/>
                    <a:pt x="30334" y="10478"/>
                  </a:cubicBezTo>
                  <a:cubicBezTo>
                    <a:pt x="30523" y="10478"/>
                    <a:pt x="30488" y="10478"/>
                    <a:pt x="30506" y="10478"/>
                  </a:cubicBezTo>
                  <a:cubicBezTo>
                    <a:pt x="30918" y="10564"/>
                    <a:pt x="30214" y="10323"/>
                    <a:pt x="30506" y="10323"/>
                  </a:cubicBezTo>
                  <a:cubicBezTo>
                    <a:pt x="30506" y="10323"/>
                    <a:pt x="30506" y="10220"/>
                    <a:pt x="30506" y="10220"/>
                  </a:cubicBezTo>
                  <a:cubicBezTo>
                    <a:pt x="30506" y="10220"/>
                    <a:pt x="30506" y="9911"/>
                    <a:pt x="30609" y="10117"/>
                  </a:cubicBezTo>
                  <a:cubicBezTo>
                    <a:pt x="30712" y="10323"/>
                    <a:pt x="30609" y="10117"/>
                    <a:pt x="30609" y="10117"/>
                  </a:cubicBezTo>
                  <a:cubicBezTo>
                    <a:pt x="30385" y="9980"/>
                    <a:pt x="30609" y="10014"/>
                    <a:pt x="30609" y="10117"/>
                  </a:cubicBezTo>
                  <a:cubicBezTo>
                    <a:pt x="30609" y="10220"/>
                    <a:pt x="30609" y="9773"/>
                    <a:pt x="30609" y="10117"/>
                  </a:cubicBezTo>
                  <a:cubicBezTo>
                    <a:pt x="30609" y="9670"/>
                    <a:pt x="30609" y="10237"/>
                    <a:pt x="30798" y="10117"/>
                  </a:cubicBezTo>
                  <a:cubicBezTo>
                    <a:pt x="30609" y="9773"/>
                    <a:pt x="31021" y="10117"/>
                    <a:pt x="30798" y="9739"/>
                  </a:cubicBezTo>
                  <a:cubicBezTo>
                    <a:pt x="30901" y="9739"/>
                    <a:pt x="31038" y="9911"/>
                    <a:pt x="31124" y="9894"/>
                  </a:cubicBezTo>
                  <a:cubicBezTo>
                    <a:pt x="31210" y="9877"/>
                    <a:pt x="31124" y="9602"/>
                    <a:pt x="31124" y="9619"/>
                  </a:cubicBezTo>
                  <a:cubicBezTo>
                    <a:pt x="31124" y="9636"/>
                    <a:pt x="30969" y="9464"/>
                    <a:pt x="31124" y="9619"/>
                  </a:cubicBezTo>
                  <a:cubicBezTo>
                    <a:pt x="31279" y="9773"/>
                    <a:pt x="31124" y="9499"/>
                    <a:pt x="31124" y="9619"/>
                  </a:cubicBezTo>
                  <a:cubicBezTo>
                    <a:pt x="31244" y="9447"/>
                    <a:pt x="31279" y="10426"/>
                    <a:pt x="31261" y="9619"/>
                  </a:cubicBezTo>
                  <a:cubicBezTo>
                    <a:pt x="31536" y="10134"/>
                    <a:pt x="31261" y="9516"/>
                    <a:pt x="31450" y="9499"/>
                  </a:cubicBezTo>
                  <a:cubicBezTo>
                    <a:pt x="31639" y="9481"/>
                    <a:pt x="31450" y="9653"/>
                    <a:pt x="31553" y="9842"/>
                  </a:cubicBezTo>
                  <a:cubicBezTo>
                    <a:pt x="31656" y="10031"/>
                    <a:pt x="31639" y="9842"/>
                    <a:pt x="31674" y="9842"/>
                  </a:cubicBezTo>
                  <a:cubicBezTo>
                    <a:pt x="31502" y="9499"/>
                    <a:pt x="31863" y="9688"/>
                    <a:pt x="31845" y="9842"/>
                  </a:cubicBezTo>
                  <a:cubicBezTo>
                    <a:pt x="32172" y="9842"/>
                    <a:pt x="32051" y="10134"/>
                    <a:pt x="31742" y="10031"/>
                  </a:cubicBezTo>
                  <a:cubicBezTo>
                    <a:pt x="31845" y="10031"/>
                    <a:pt x="31948" y="10031"/>
                    <a:pt x="32000" y="10220"/>
                  </a:cubicBezTo>
                  <a:cubicBezTo>
                    <a:pt x="32051" y="10409"/>
                    <a:pt x="32120" y="10083"/>
                    <a:pt x="32275" y="10220"/>
                  </a:cubicBezTo>
                  <a:cubicBezTo>
                    <a:pt x="32275" y="10100"/>
                    <a:pt x="32275" y="10117"/>
                    <a:pt x="32275" y="10048"/>
                  </a:cubicBezTo>
                  <a:cubicBezTo>
                    <a:pt x="32275" y="9980"/>
                    <a:pt x="32653" y="10306"/>
                    <a:pt x="32378" y="10048"/>
                  </a:cubicBezTo>
                  <a:cubicBezTo>
                    <a:pt x="32378" y="10237"/>
                    <a:pt x="32567" y="10048"/>
                    <a:pt x="32584" y="10220"/>
                  </a:cubicBezTo>
                  <a:cubicBezTo>
                    <a:pt x="32601" y="10392"/>
                    <a:pt x="33220" y="10220"/>
                    <a:pt x="33683" y="10529"/>
                  </a:cubicBezTo>
                  <a:cubicBezTo>
                    <a:pt x="33563" y="10392"/>
                    <a:pt x="34044" y="10735"/>
                    <a:pt x="33804" y="10529"/>
                  </a:cubicBezTo>
                  <a:cubicBezTo>
                    <a:pt x="34697" y="10838"/>
                    <a:pt x="34611" y="11852"/>
                    <a:pt x="33597" y="11354"/>
                  </a:cubicBezTo>
                  <a:cubicBezTo>
                    <a:pt x="33477" y="11354"/>
                    <a:pt x="33477" y="11354"/>
                    <a:pt x="33426" y="11354"/>
                  </a:cubicBezTo>
                  <a:cubicBezTo>
                    <a:pt x="33374" y="11354"/>
                    <a:pt x="32910" y="11096"/>
                    <a:pt x="33065" y="11354"/>
                  </a:cubicBezTo>
                  <a:cubicBezTo>
                    <a:pt x="33220" y="11611"/>
                    <a:pt x="33460" y="11491"/>
                    <a:pt x="33357" y="11663"/>
                  </a:cubicBezTo>
                  <a:cubicBezTo>
                    <a:pt x="33632" y="11663"/>
                    <a:pt x="34834" y="13277"/>
                    <a:pt x="34576" y="12333"/>
                  </a:cubicBezTo>
                  <a:cubicBezTo>
                    <a:pt x="34388" y="12505"/>
                    <a:pt x="34113" y="12058"/>
                    <a:pt x="34250" y="12006"/>
                  </a:cubicBezTo>
                  <a:cubicBezTo>
                    <a:pt x="35693" y="12917"/>
                    <a:pt x="33975" y="11148"/>
                    <a:pt x="34972" y="11474"/>
                  </a:cubicBezTo>
                  <a:cubicBezTo>
                    <a:pt x="34972" y="11337"/>
                    <a:pt x="35092" y="11474"/>
                    <a:pt x="35143" y="11474"/>
                  </a:cubicBezTo>
                  <a:cubicBezTo>
                    <a:pt x="34895" y="11040"/>
                    <a:pt x="34569" y="10656"/>
                    <a:pt x="34181" y="10340"/>
                  </a:cubicBezTo>
                  <a:cubicBezTo>
                    <a:pt x="34491" y="10340"/>
                    <a:pt x="34972" y="10443"/>
                    <a:pt x="34800" y="10753"/>
                  </a:cubicBezTo>
                  <a:cubicBezTo>
                    <a:pt x="35195" y="11354"/>
                    <a:pt x="35349" y="10753"/>
                    <a:pt x="35143" y="10529"/>
                  </a:cubicBezTo>
                  <a:cubicBezTo>
                    <a:pt x="35315" y="10529"/>
                    <a:pt x="35143" y="9945"/>
                    <a:pt x="35401" y="10289"/>
                  </a:cubicBezTo>
                  <a:cubicBezTo>
                    <a:pt x="35401" y="10186"/>
                    <a:pt x="35178" y="9980"/>
                    <a:pt x="35401" y="10151"/>
                  </a:cubicBezTo>
                  <a:cubicBezTo>
                    <a:pt x="35229" y="9705"/>
                    <a:pt x="35521" y="10151"/>
                    <a:pt x="35727" y="10306"/>
                  </a:cubicBezTo>
                  <a:cubicBezTo>
                    <a:pt x="35727" y="10203"/>
                    <a:pt x="35727" y="10169"/>
                    <a:pt x="35727" y="10306"/>
                  </a:cubicBezTo>
                  <a:cubicBezTo>
                    <a:pt x="35504" y="10048"/>
                    <a:pt x="35882" y="10134"/>
                    <a:pt x="35830" y="9842"/>
                  </a:cubicBezTo>
                  <a:cubicBezTo>
                    <a:pt x="35951" y="9997"/>
                    <a:pt x="36311" y="10272"/>
                    <a:pt x="36019" y="9945"/>
                  </a:cubicBezTo>
                  <a:cubicBezTo>
                    <a:pt x="36191" y="9945"/>
                    <a:pt x="35916" y="9791"/>
                    <a:pt x="36122" y="9945"/>
                  </a:cubicBezTo>
                  <a:cubicBezTo>
                    <a:pt x="36035" y="9882"/>
                    <a:pt x="35943" y="9824"/>
                    <a:pt x="35848" y="9773"/>
                  </a:cubicBezTo>
                  <a:lnTo>
                    <a:pt x="35848" y="9773"/>
                  </a:lnTo>
                  <a:cubicBezTo>
                    <a:pt x="35057" y="9155"/>
                    <a:pt x="36586" y="9619"/>
                    <a:pt x="36981" y="9894"/>
                  </a:cubicBezTo>
                  <a:cubicBezTo>
                    <a:pt x="36792" y="9619"/>
                    <a:pt x="36517" y="9567"/>
                    <a:pt x="36260" y="9361"/>
                  </a:cubicBezTo>
                  <a:lnTo>
                    <a:pt x="36260" y="9361"/>
                  </a:lnTo>
                  <a:cubicBezTo>
                    <a:pt x="36260" y="9361"/>
                    <a:pt x="36260" y="9361"/>
                    <a:pt x="36140" y="9361"/>
                  </a:cubicBezTo>
                  <a:lnTo>
                    <a:pt x="36140" y="9361"/>
                  </a:lnTo>
                  <a:lnTo>
                    <a:pt x="35882" y="9155"/>
                  </a:lnTo>
                  <a:cubicBezTo>
                    <a:pt x="36019" y="9155"/>
                    <a:pt x="35624" y="8983"/>
                    <a:pt x="35727" y="8983"/>
                  </a:cubicBezTo>
                  <a:cubicBezTo>
                    <a:pt x="35504" y="8880"/>
                    <a:pt x="34353" y="7918"/>
                    <a:pt x="34594" y="7884"/>
                  </a:cubicBezTo>
                  <a:cubicBezTo>
                    <a:pt x="35435" y="8193"/>
                    <a:pt x="36311" y="9086"/>
                    <a:pt x="37136" y="9602"/>
                  </a:cubicBezTo>
                  <a:lnTo>
                    <a:pt x="37136" y="9602"/>
                  </a:lnTo>
                  <a:cubicBezTo>
                    <a:pt x="37389" y="9800"/>
                    <a:pt x="37614" y="10031"/>
                    <a:pt x="37806" y="10289"/>
                  </a:cubicBezTo>
                  <a:lnTo>
                    <a:pt x="37806" y="10289"/>
                  </a:lnTo>
                  <a:cubicBezTo>
                    <a:pt x="37995" y="10409"/>
                    <a:pt x="37977" y="10581"/>
                    <a:pt x="37806" y="10289"/>
                  </a:cubicBezTo>
                  <a:cubicBezTo>
                    <a:pt x="37806" y="10289"/>
                    <a:pt x="37479" y="10289"/>
                    <a:pt x="37703" y="10426"/>
                  </a:cubicBezTo>
                  <a:cubicBezTo>
                    <a:pt x="38939" y="10701"/>
                    <a:pt x="37256" y="9619"/>
                    <a:pt x="37101" y="9275"/>
                  </a:cubicBezTo>
                  <a:cubicBezTo>
                    <a:pt x="37101" y="9275"/>
                    <a:pt x="37101" y="9275"/>
                    <a:pt x="37101" y="9275"/>
                  </a:cubicBezTo>
                  <a:cubicBezTo>
                    <a:pt x="36284" y="8916"/>
                    <a:pt x="35525" y="8435"/>
                    <a:pt x="34851" y="7850"/>
                  </a:cubicBezTo>
                  <a:cubicBezTo>
                    <a:pt x="35229" y="8021"/>
                    <a:pt x="35573" y="8399"/>
                    <a:pt x="35933" y="8451"/>
                  </a:cubicBezTo>
                  <a:cubicBezTo>
                    <a:pt x="35796" y="8262"/>
                    <a:pt x="36208" y="8571"/>
                    <a:pt x="36105" y="8451"/>
                  </a:cubicBezTo>
                  <a:cubicBezTo>
                    <a:pt x="35827" y="8436"/>
                    <a:pt x="35564" y="8320"/>
                    <a:pt x="35367" y="8125"/>
                  </a:cubicBezTo>
                  <a:cubicBezTo>
                    <a:pt x="35727" y="8279"/>
                    <a:pt x="35367" y="8125"/>
                    <a:pt x="35367" y="8039"/>
                  </a:cubicBezTo>
                  <a:lnTo>
                    <a:pt x="35367" y="8039"/>
                  </a:lnTo>
                  <a:cubicBezTo>
                    <a:pt x="34886" y="7455"/>
                    <a:pt x="37084" y="8880"/>
                    <a:pt x="36363" y="8331"/>
                  </a:cubicBezTo>
                  <a:cubicBezTo>
                    <a:pt x="36637" y="8531"/>
                    <a:pt x="36938" y="8693"/>
                    <a:pt x="37256" y="8812"/>
                  </a:cubicBezTo>
                  <a:cubicBezTo>
                    <a:pt x="36947" y="8605"/>
                    <a:pt x="37256" y="8691"/>
                    <a:pt x="37428" y="8812"/>
                  </a:cubicBezTo>
                  <a:cubicBezTo>
                    <a:pt x="37325" y="8709"/>
                    <a:pt x="37033" y="8588"/>
                    <a:pt x="37101" y="8709"/>
                  </a:cubicBezTo>
                  <a:cubicBezTo>
                    <a:pt x="36569" y="8468"/>
                    <a:pt x="36019" y="8056"/>
                    <a:pt x="35384" y="7798"/>
                  </a:cubicBezTo>
                  <a:cubicBezTo>
                    <a:pt x="35212" y="7798"/>
                    <a:pt x="34405" y="7403"/>
                    <a:pt x="34525" y="7231"/>
                  </a:cubicBezTo>
                  <a:cubicBezTo>
                    <a:pt x="34284" y="6922"/>
                    <a:pt x="34697" y="7334"/>
                    <a:pt x="34851" y="7317"/>
                  </a:cubicBezTo>
                  <a:cubicBezTo>
                    <a:pt x="34628" y="7317"/>
                    <a:pt x="34491" y="7042"/>
                    <a:pt x="34267" y="7008"/>
                  </a:cubicBezTo>
                  <a:cubicBezTo>
                    <a:pt x="34044" y="6974"/>
                    <a:pt x="34061" y="7008"/>
                    <a:pt x="34027" y="6922"/>
                  </a:cubicBezTo>
                  <a:cubicBezTo>
                    <a:pt x="33992" y="6836"/>
                    <a:pt x="34130" y="6922"/>
                    <a:pt x="34027" y="6922"/>
                  </a:cubicBezTo>
                  <a:cubicBezTo>
                    <a:pt x="33924" y="6922"/>
                    <a:pt x="33838" y="6836"/>
                    <a:pt x="33872" y="6922"/>
                  </a:cubicBezTo>
                  <a:cubicBezTo>
                    <a:pt x="33907" y="7008"/>
                    <a:pt x="33683" y="6802"/>
                    <a:pt x="33872" y="6922"/>
                  </a:cubicBezTo>
                  <a:lnTo>
                    <a:pt x="33615" y="6768"/>
                  </a:lnTo>
                  <a:cubicBezTo>
                    <a:pt x="33615" y="6768"/>
                    <a:pt x="33615" y="6768"/>
                    <a:pt x="33615" y="6768"/>
                  </a:cubicBezTo>
                  <a:lnTo>
                    <a:pt x="33168" y="6458"/>
                  </a:lnTo>
                  <a:lnTo>
                    <a:pt x="33168" y="6458"/>
                  </a:lnTo>
                  <a:cubicBezTo>
                    <a:pt x="33086" y="6395"/>
                    <a:pt x="33000" y="6338"/>
                    <a:pt x="32910" y="6287"/>
                  </a:cubicBezTo>
                  <a:lnTo>
                    <a:pt x="32910" y="6287"/>
                  </a:lnTo>
                  <a:lnTo>
                    <a:pt x="32910" y="6287"/>
                  </a:lnTo>
                  <a:lnTo>
                    <a:pt x="32910" y="6287"/>
                  </a:lnTo>
                  <a:lnTo>
                    <a:pt x="32687" y="6184"/>
                  </a:lnTo>
                  <a:lnTo>
                    <a:pt x="32687" y="6184"/>
                  </a:lnTo>
                  <a:cubicBezTo>
                    <a:pt x="32687" y="6184"/>
                    <a:pt x="32515" y="6184"/>
                    <a:pt x="32687" y="6184"/>
                  </a:cubicBezTo>
                  <a:lnTo>
                    <a:pt x="32687" y="6184"/>
                  </a:lnTo>
                  <a:lnTo>
                    <a:pt x="32687" y="6184"/>
                  </a:lnTo>
                  <a:lnTo>
                    <a:pt x="32962" y="6287"/>
                  </a:lnTo>
                  <a:lnTo>
                    <a:pt x="32739" y="6184"/>
                  </a:lnTo>
                  <a:lnTo>
                    <a:pt x="32893" y="6184"/>
                  </a:lnTo>
                  <a:lnTo>
                    <a:pt x="32807" y="6184"/>
                  </a:lnTo>
                  <a:cubicBezTo>
                    <a:pt x="32762" y="6174"/>
                    <a:pt x="32715" y="6174"/>
                    <a:pt x="32670" y="6184"/>
                  </a:cubicBezTo>
                  <a:lnTo>
                    <a:pt x="32670" y="6184"/>
                  </a:lnTo>
                  <a:cubicBezTo>
                    <a:pt x="32625" y="6193"/>
                    <a:pt x="32578" y="6193"/>
                    <a:pt x="32532" y="6184"/>
                  </a:cubicBezTo>
                  <a:lnTo>
                    <a:pt x="32876" y="6304"/>
                  </a:lnTo>
                  <a:cubicBezTo>
                    <a:pt x="32750" y="6242"/>
                    <a:pt x="32618" y="6196"/>
                    <a:pt x="32481" y="6166"/>
                  </a:cubicBezTo>
                  <a:lnTo>
                    <a:pt x="32481" y="6166"/>
                  </a:lnTo>
                  <a:cubicBezTo>
                    <a:pt x="32481" y="6166"/>
                    <a:pt x="32292" y="6166"/>
                    <a:pt x="32343" y="6166"/>
                  </a:cubicBezTo>
                  <a:cubicBezTo>
                    <a:pt x="32395" y="6166"/>
                    <a:pt x="32343" y="6166"/>
                    <a:pt x="32343" y="6166"/>
                  </a:cubicBezTo>
                  <a:lnTo>
                    <a:pt x="32343" y="6166"/>
                  </a:lnTo>
                  <a:lnTo>
                    <a:pt x="32206" y="6166"/>
                  </a:lnTo>
                  <a:lnTo>
                    <a:pt x="32206" y="6166"/>
                  </a:lnTo>
                  <a:lnTo>
                    <a:pt x="31742" y="6029"/>
                  </a:lnTo>
                  <a:lnTo>
                    <a:pt x="31742" y="6029"/>
                  </a:lnTo>
                  <a:cubicBezTo>
                    <a:pt x="31571" y="6029"/>
                    <a:pt x="30763" y="5720"/>
                    <a:pt x="30952" y="5754"/>
                  </a:cubicBezTo>
                  <a:lnTo>
                    <a:pt x="30952" y="5754"/>
                  </a:lnTo>
                  <a:lnTo>
                    <a:pt x="31055" y="5754"/>
                  </a:lnTo>
                  <a:lnTo>
                    <a:pt x="31055" y="5754"/>
                  </a:lnTo>
                  <a:cubicBezTo>
                    <a:pt x="31244" y="5754"/>
                    <a:pt x="31416" y="5857"/>
                    <a:pt x="31605" y="5909"/>
                  </a:cubicBezTo>
                  <a:lnTo>
                    <a:pt x="31416" y="5909"/>
                  </a:lnTo>
                  <a:lnTo>
                    <a:pt x="31588" y="5909"/>
                  </a:lnTo>
                  <a:lnTo>
                    <a:pt x="31485" y="5909"/>
                  </a:lnTo>
                  <a:cubicBezTo>
                    <a:pt x="31588" y="5909"/>
                    <a:pt x="31364" y="5909"/>
                    <a:pt x="31485" y="5909"/>
                  </a:cubicBezTo>
                  <a:lnTo>
                    <a:pt x="31485" y="5909"/>
                  </a:lnTo>
                  <a:cubicBezTo>
                    <a:pt x="31794" y="5995"/>
                    <a:pt x="32481" y="6201"/>
                    <a:pt x="31811" y="5909"/>
                  </a:cubicBezTo>
                  <a:lnTo>
                    <a:pt x="31811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2292" y="6046"/>
                  </a:lnTo>
                  <a:lnTo>
                    <a:pt x="32051" y="6046"/>
                  </a:lnTo>
                  <a:lnTo>
                    <a:pt x="32378" y="6046"/>
                  </a:lnTo>
                  <a:lnTo>
                    <a:pt x="32635" y="6046"/>
                  </a:lnTo>
                  <a:lnTo>
                    <a:pt x="32635" y="6046"/>
                  </a:lnTo>
                  <a:cubicBezTo>
                    <a:pt x="32412" y="6046"/>
                    <a:pt x="32635" y="6046"/>
                    <a:pt x="32773" y="6046"/>
                  </a:cubicBezTo>
                  <a:lnTo>
                    <a:pt x="32773" y="6046"/>
                  </a:lnTo>
                  <a:lnTo>
                    <a:pt x="32773" y="6046"/>
                  </a:lnTo>
                  <a:cubicBezTo>
                    <a:pt x="33198" y="6156"/>
                    <a:pt x="33612" y="6306"/>
                    <a:pt x="34010" y="6493"/>
                  </a:cubicBezTo>
                  <a:cubicBezTo>
                    <a:pt x="34010" y="6493"/>
                    <a:pt x="34010" y="6493"/>
                    <a:pt x="34010" y="6493"/>
                  </a:cubicBezTo>
                  <a:cubicBezTo>
                    <a:pt x="34010" y="6493"/>
                    <a:pt x="34456" y="6665"/>
                    <a:pt x="34645" y="6768"/>
                  </a:cubicBezTo>
                  <a:lnTo>
                    <a:pt x="34645" y="6768"/>
                  </a:lnTo>
                  <a:lnTo>
                    <a:pt x="35470" y="7163"/>
                  </a:lnTo>
                  <a:cubicBezTo>
                    <a:pt x="35212" y="7025"/>
                    <a:pt x="34954" y="6871"/>
                    <a:pt x="34662" y="6733"/>
                  </a:cubicBezTo>
                  <a:lnTo>
                    <a:pt x="34662" y="6733"/>
                  </a:lnTo>
                  <a:lnTo>
                    <a:pt x="34353" y="6596"/>
                  </a:lnTo>
                  <a:lnTo>
                    <a:pt x="34491" y="6596"/>
                  </a:lnTo>
                  <a:cubicBezTo>
                    <a:pt x="34491" y="6596"/>
                    <a:pt x="34044" y="6441"/>
                    <a:pt x="34250" y="6493"/>
                  </a:cubicBezTo>
                  <a:lnTo>
                    <a:pt x="34113" y="6493"/>
                  </a:lnTo>
                  <a:lnTo>
                    <a:pt x="34422" y="6596"/>
                  </a:lnTo>
                  <a:cubicBezTo>
                    <a:pt x="34327" y="6538"/>
                    <a:pt x="34222" y="6497"/>
                    <a:pt x="34113" y="6476"/>
                  </a:cubicBezTo>
                  <a:cubicBezTo>
                    <a:pt x="34287" y="6517"/>
                    <a:pt x="34459" y="6568"/>
                    <a:pt x="34628" y="6630"/>
                  </a:cubicBezTo>
                  <a:lnTo>
                    <a:pt x="34473" y="6630"/>
                  </a:lnTo>
                  <a:lnTo>
                    <a:pt x="34473" y="6630"/>
                  </a:lnTo>
                  <a:lnTo>
                    <a:pt x="33700" y="4827"/>
                  </a:lnTo>
                  <a:cubicBezTo>
                    <a:pt x="42679" y="7791"/>
                    <a:pt x="48892" y="15993"/>
                    <a:pt x="49314" y="25438"/>
                  </a:cubicBezTo>
                  <a:cubicBezTo>
                    <a:pt x="49301" y="25780"/>
                    <a:pt x="49255" y="26119"/>
                    <a:pt x="49177" y="26452"/>
                  </a:cubicBezTo>
                  <a:cubicBezTo>
                    <a:pt x="49245" y="26349"/>
                    <a:pt x="49159" y="26538"/>
                    <a:pt x="49159" y="26589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30" name="Google Shape;230;p30"/>
            <p:cNvSpPr/>
            <p:nvPr/>
          </p:nvSpPr>
          <p:spPr>
            <a:xfrm rot="-5400000">
              <a:off x="12026199" y="6563439"/>
              <a:ext cx="13277" cy="68070"/>
            </a:xfrm>
            <a:custGeom>
              <a:avLst/>
              <a:gdLst/>
              <a:ahLst/>
              <a:cxnLst/>
              <a:rect l="l" t="t" r="r" b="b"/>
              <a:pathLst>
                <a:path w="13277" h="68070" extrusionOk="0">
                  <a:moveTo>
                    <a:pt x="13277" y="12024"/>
                  </a:moveTo>
                  <a:lnTo>
                    <a:pt x="0" y="12024"/>
                  </a:lnTo>
                  <a:lnTo>
                    <a:pt x="0" y="0"/>
                  </a:lnTo>
                  <a:lnTo>
                    <a:pt x="13277" y="0"/>
                  </a:lnTo>
                  <a:close/>
                  <a:moveTo>
                    <a:pt x="0" y="17984"/>
                  </a:moveTo>
                  <a:lnTo>
                    <a:pt x="13277" y="17984"/>
                  </a:lnTo>
                  <a:lnTo>
                    <a:pt x="13277" y="68070"/>
                  </a:lnTo>
                  <a:lnTo>
                    <a:pt x="0" y="6807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31" name="Google Shape;231;p30"/>
            <p:cNvSpPr/>
            <p:nvPr/>
          </p:nvSpPr>
          <p:spPr>
            <a:xfrm rot="-5400000">
              <a:off x="12018640" y="6529825"/>
              <a:ext cx="45208" cy="51256"/>
            </a:xfrm>
            <a:custGeom>
              <a:avLst/>
              <a:gdLst/>
              <a:ahLst/>
              <a:cxnLst/>
              <a:rect l="l" t="t" r="r" b="b"/>
              <a:pathLst>
                <a:path w="45208" h="51256" extrusionOk="0">
                  <a:moveTo>
                    <a:pt x="40279" y="4038"/>
                  </a:moveTo>
                  <a:cubicBezTo>
                    <a:pt x="43565" y="6752"/>
                    <a:pt x="45209" y="11246"/>
                    <a:pt x="45209" y="17521"/>
                  </a:cubicBezTo>
                  <a:lnTo>
                    <a:pt x="45209" y="51256"/>
                  </a:lnTo>
                  <a:lnTo>
                    <a:pt x="31794" y="51256"/>
                  </a:lnTo>
                  <a:lnTo>
                    <a:pt x="31794" y="20785"/>
                  </a:lnTo>
                  <a:cubicBezTo>
                    <a:pt x="31892" y="18712"/>
                    <a:pt x="31535" y="16642"/>
                    <a:pt x="30746" y="14722"/>
                  </a:cubicBezTo>
                  <a:cubicBezTo>
                    <a:pt x="29458" y="12162"/>
                    <a:pt x="27036" y="10874"/>
                    <a:pt x="23446" y="10874"/>
                  </a:cubicBezTo>
                  <a:cubicBezTo>
                    <a:pt x="19509" y="10574"/>
                    <a:pt x="15832" y="12861"/>
                    <a:pt x="14360" y="16525"/>
                  </a:cubicBezTo>
                  <a:cubicBezTo>
                    <a:pt x="13437" y="18959"/>
                    <a:pt x="13005" y="21550"/>
                    <a:pt x="13089" y="24152"/>
                  </a:cubicBezTo>
                  <a:lnTo>
                    <a:pt x="13089" y="51256"/>
                  </a:lnTo>
                  <a:lnTo>
                    <a:pt x="0" y="51256"/>
                  </a:lnTo>
                  <a:lnTo>
                    <a:pt x="0" y="1272"/>
                  </a:lnTo>
                  <a:lnTo>
                    <a:pt x="12676" y="1272"/>
                  </a:lnTo>
                  <a:lnTo>
                    <a:pt x="12676" y="8607"/>
                  </a:lnTo>
                  <a:cubicBezTo>
                    <a:pt x="13939" y="6498"/>
                    <a:pt x="15548" y="4617"/>
                    <a:pt x="17434" y="3042"/>
                  </a:cubicBezTo>
                  <a:cubicBezTo>
                    <a:pt x="20409" y="938"/>
                    <a:pt x="23996" y="-125"/>
                    <a:pt x="27637" y="19"/>
                  </a:cubicBezTo>
                  <a:cubicBezTo>
                    <a:pt x="32194" y="-181"/>
                    <a:pt x="36674" y="1243"/>
                    <a:pt x="40279" y="403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32" name="Google Shape;232;p30"/>
            <p:cNvSpPr/>
            <p:nvPr/>
          </p:nvSpPr>
          <p:spPr>
            <a:xfrm rot="-5400000">
              <a:off x="12018195" y="6477145"/>
              <a:ext cx="28942" cy="68414"/>
            </a:xfrm>
            <a:custGeom>
              <a:avLst/>
              <a:gdLst/>
              <a:ahLst/>
              <a:cxnLst/>
              <a:rect l="l" t="t" r="r" b="b"/>
              <a:pathLst>
                <a:path w="28942" h="68414" extrusionOk="0">
                  <a:moveTo>
                    <a:pt x="25868" y="0"/>
                  </a:moveTo>
                  <a:lnTo>
                    <a:pt x="28616" y="206"/>
                  </a:lnTo>
                  <a:lnTo>
                    <a:pt x="28616" y="10941"/>
                  </a:lnTo>
                  <a:cubicBezTo>
                    <a:pt x="27390" y="10808"/>
                    <a:pt x="26157" y="10739"/>
                    <a:pt x="24923" y="10735"/>
                  </a:cubicBezTo>
                  <a:cubicBezTo>
                    <a:pt x="23616" y="10538"/>
                    <a:pt x="22290" y="10956"/>
                    <a:pt x="21333" y="11869"/>
                  </a:cubicBezTo>
                  <a:cubicBezTo>
                    <a:pt x="20704" y="12627"/>
                    <a:pt x="20358" y="13580"/>
                    <a:pt x="20354" y="14566"/>
                  </a:cubicBezTo>
                  <a:lnTo>
                    <a:pt x="20354" y="18791"/>
                  </a:lnTo>
                  <a:lnTo>
                    <a:pt x="28943" y="18791"/>
                  </a:lnTo>
                  <a:lnTo>
                    <a:pt x="28943" y="28032"/>
                  </a:lnTo>
                  <a:lnTo>
                    <a:pt x="20354" y="28032"/>
                  </a:lnTo>
                  <a:lnTo>
                    <a:pt x="20354" y="68414"/>
                  </a:lnTo>
                  <a:lnTo>
                    <a:pt x="7352" y="68414"/>
                  </a:lnTo>
                  <a:lnTo>
                    <a:pt x="7352" y="28032"/>
                  </a:lnTo>
                  <a:lnTo>
                    <a:pt x="0" y="28032"/>
                  </a:lnTo>
                  <a:lnTo>
                    <a:pt x="0" y="18791"/>
                  </a:lnTo>
                  <a:lnTo>
                    <a:pt x="7163" y="18791"/>
                  </a:lnTo>
                  <a:lnTo>
                    <a:pt x="7163" y="15579"/>
                  </a:lnTo>
                  <a:cubicBezTo>
                    <a:pt x="7163" y="10220"/>
                    <a:pt x="8067" y="6527"/>
                    <a:pt x="9877" y="4500"/>
                  </a:cubicBezTo>
                  <a:cubicBezTo>
                    <a:pt x="11783" y="1494"/>
                    <a:pt x="16352" y="0"/>
                    <a:pt x="23618" y="0"/>
                  </a:cubicBezTo>
                  <a:cubicBezTo>
                    <a:pt x="24442" y="0"/>
                    <a:pt x="25198" y="0"/>
                    <a:pt x="25868" y="0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33" name="Google Shape;233;p30"/>
            <p:cNvSpPr/>
            <p:nvPr/>
          </p:nvSpPr>
          <p:spPr>
            <a:xfrm rot="-5400000">
              <a:off x="12016830" y="6161182"/>
              <a:ext cx="49036" cy="51048"/>
            </a:xfrm>
            <a:custGeom>
              <a:avLst/>
              <a:gdLst/>
              <a:ahLst/>
              <a:cxnLst/>
              <a:rect l="l" t="t" r="r" b="b"/>
              <a:pathLst>
                <a:path w="49036" h="51048" extrusionOk="0">
                  <a:moveTo>
                    <a:pt x="42949" y="43542"/>
                  </a:moveTo>
                  <a:cubicBezTo>
                    <a:pt x="38907" y="48535"/>
                    <a:pt x="32763" y="51037"/>
                    <a:pt x="24519" y="51049"/>
                  </a:cubicBezTo>
                  <a:cubicBezTo>
                    <a:pt x="16274" y="51060"/>
                    <a:pt x="10125" y="48558"/>
                    <a:pt x="6071" y="43542"/>
                  </a:cubicBezTo>
                  <a:cubicBezTo>
                    <a:pt x="2000" y="38452"/>
                    <a:pt x="-145" y="32091"/>
                    <a:pt x="8" y="25576"/>
                  </a:cubicBezTo>
                  <a:cubicBezTo>
                    <a:pt x="-130" y="19058"/>
                    <a:pt x="2016" y="12697"/>
                    <a:pt x="6071" y="7592"/>
                  </a:cubicBezTo>
                  <a:cubicBezTo>
                    <a:pt x="10125" y="2519"/>
                    <a:pt x="16274" y="-11"/>
                    <a:pt x="24519" y="0"/>
                  </a:cubicBezTo>
                  <a:cubicBezTo>
                    <a:pt x="32763" y="12"/>
                    <a:pt x="38907" y="2542"/>
                    <a:pt x="42949" y="7592"/>
                  </a:cubicBezTo>
                  <a:cubicBezTo>
                    <a:pt x="47010" y="12695"/>
                    <a:pt x="49160" y="19056"/>
                    <a:pt x="49030" y="25576"/>
                  </a:cubicBezTo>
                  <a:cubicBezTo>
                    <a:pt x="49177" y="32093"/>
                    <a:pt x="47023" y="38454"/>
                    <a:pt x="42949" y="43542"/>
                  </a:cubicBezTo>
                  <a:close/>
                  <a:moveTo>
                    <a:pt x="32918" y="36672"/>
                  </a:moveTo>
                  <a:cubicBezTo>
                    <a:pt x="35077" y="33390"/>
                    <a:pt x="36115" y="29497"/>
                    <a:pt x="35872" y="25576"/>
                  </a:cubicBezTo>
                  <a:cubicBezTo>
                    <a:pt x="36123" y="21654"/>
                    <a:pt x="35086" y="17758"/>
                    <a:pt x="32918" y="14480"/>
                  </a:cubicBezTo>
                  <a:cubicBezTo>
                    <a:pt x="28893" y="9808"/>
                    <a:pt x="21844" y="9283"/>
                    <a:pt x="17172" y="13307"/>
                  </a:cubicBezTo>
                  <a:cubicBezTo>
                    <a:pt x="16753" y="13668"/>
                    <a:pt x="16360" y="14060"/>
                    <a:pt x="15999" y="14480"/>
                  </a:cubicBezTo>
                  <a:cubicBezTo>
                    <a:pt x="13826" y="17756"/>
                    <a:pt x="12782" y="21652"/>
                    <a:pt x="13027" y="25576"/>
                  </a:cubicBezTo>
                  <a:cubicBezTo>
                    <a:pt x="12782" y="29510"/>
                    <a:pt x="13824" y="33418"/>
                    <a:pt x="15999" y="36706"/>
                  </a:cubicBezTo>
                  <a:cubicBezTo>
                    <a:pt x="19994" y="41378"/>
                    <a:pt x="27020" y="41927"/>
                    <a:pt x="31692" y="37932"/>
                  </a:cubicBezTo>
                  <a:cubicBezTo>
                    <a:pt x="32131" y="37556"/>
                    <a:pt x="32542" y="37146"/>
                    <a:pt x="32918" y="36706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34" name="Google Shape;234;p30"/>
            <p:cNvSpPr/>
            <p:nvPr/>
          </p:nvSpPr>
          <p:spPr>
            <a:xfrm rot="-5400000">
              <a:off x="12005374" y="6370523"/>
              <a:ext cx="71791" cy="51205"/>
            </a:xfrm>
            <a:custGeom>
              <a:avLst/>
              <a:gdLst/>
              <a:ahLst/>
              <a:cxnLst/>
              <a:rect l="l" t="t" r="r" b="b"/>
              <a:pathLst>
                <a:path w="71791" h="51205" extrusionOk="0">
                  <a:moveTo>
                    <a:pt x="62643" y="1307"/>
                  </a:moveTo>
                  <a:cubicBezTo>
                    <a:pt x="64938" y="2282"/>
                    <a:pt x="66944" y="3832"/>
                    <a:pt x="68466" y="5808"/>
                  </a:cubicBezTo>
                  <a:cubicBezTo>
                    <a:pt x="69936" y="7685"/>
                    <a:pt x="70917" y="9898"/>
                    <a:pt x="71317" y="12249"/>
                  </a:cubicBezTo>
                  <a:cubicBezTo>
                    <a:pt x="71680" y="14693"/>
                    <a:pt x="71834" y="17164"/>
                    <a:pt x="71781" y="19635"/>
                  </a:cubicBezTo>
                  <a:lnTo>
                    <a:pt x="71781" y="51205"/>
                  </a:lnTo>
                  <a:lnTo>
                    <a:pt x="58349" y="51205"/>
                  </a:lnTo>
                  <a:lnTo>
                    <a:pt x="58349" y="19308"/>
                  </a:lnTo>
                  <a:cubicBezTo>
                    <a:pt x="58414" y="17701"/>
                    <a:pt x="58101" y="16101"/>
                    <a:pt x="57438" y="14636"/>
                  </a:cubicBezTo>
                  <a:cubicBezTo>
                    <a:pt x="56188" y="12289"/>
                    <a:pt x="53642" y="10931"/>
                    <a:pt x="50997" y="11201"/>
                  </a:cubicBezTo>
                  <a:cubicBezTo>
                    <a:pt x="47802" y="10957"/>
                    <a:pt x="44803" y="12763"/>
                    <a:pt x="43525" y="15701"/>
                  </a:cubicBezTo>
                  <a:cubicBezTo>
                    <a:pt x="42766" y="17522"/>
                    <a:pt x="42404" y="19483"/>
                    <a:pt x="42460" y="21455"/>
                  </a:cubicBezTo>
                  <a:lnTo>
                    <a:pt x="42460" y="51205"/>
                  </a:lnTo>
                  <a:lnTo>
                    <a:pt x="29269" y="51205"/>
                  </a:lnTo>
                  <a:lnTo>
                    <a:pt x="29269" y="21387"/>
                  </a:lnTo>
                  <a:cubicBezTo>
                    <a:pt x="29389" y="19189"/>
                    <a:pt x="29080" y="16990"/>
                    <a:pt x="28359" y="14911"/>
                  </a:cubicBezTo>
                  <a:cubicBezTo>
                    <a:pt x="27192" y="12446"/>
                    <a:pt x="24595" y="10986"/>
                    <a:pt x="21883" y="11270"/>
                  </a:cubicBezTo>
                  <a:cubicBezTo>
                    <a:pt x="18138" y="11270"/>
                    <a:pt x="15626" y="12484"/>
                    <a:pt x="14342" y="14911"/>
                  </a:cubicBezTo>
                  <a:cubicBezTo>
                    <a:pt x="13527" y="16854"/>
                    <a:pt x="13162" y="18956"/>
                    <a:pt x="13277" y="21060"/>
                  </a:cubicBezTo>
                  <a:lnTo>
                    <a:pt x="13277" y="51205"/>
                  </a:lnTo>
                  <a:lnTo>
                    <a:pt x="0" y="51205"/>
                  </a:lnTo>
                  <a:lnTo>
                    <a:pt x="0" y="1221"/>
                  </a:lnTo>
                  <a:lnTo>
                    <a:pt x="12728" y="1221"/>
                  </a:lnTo>
                  <a:lnTo>
                    <a:pt x="12728" y="8556"/>
                  </a:lnTo>
                  <a:cubicBezTo>
                    <a:pt x="13930" y="6449"/>
                    <a:pt x="15488" y="4567"/>
                    <a:pt x="17331" y="2991"/>
                  </a:cubicBezTo>
                  <a:cubicBezTo>
                    <a:pt x="23120" y="-769"/>
                    <a:pt x="30538" y="-929"/>
                    <a:pt x="36483" y="2578"/>
                  </a:cubicBezTo>
                  <a:cubicBezTo>
                    <a:pt x="38381" y="4179"/>
                    <a:pt x="39841" y="6236"/>
                    <a:pt x="40726" y="8556"/>
                  </a:cubicBezTo>
                  <a:cubicBezTo>
                    <a:pt x="42206" y="5843"/>
                    <a:pt x="44413" y="3595"/>
                    <a:pt x="47098" y="2063"/>
                  </a:cubicBezTo>
                  <a:cubicBezTo>
                    <a:pt x="49896" y="665"/>
                    <a:pt x="52988" y="-42"/>
                    <a:pt x="56116" y="2"/>
                  </a:cubicBezTo>
                  <a:cubicBezTo>
                    <a:pt x="58356" y="15"/>
                    <a:pt x="60571" y="458"/>
                    <a:pt x="62643" y="1307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35" name="Google Shape;235;p30"/>
            <p:cNvSpPr/>
            <p:nvPr/>
          </p:nvSpPr>
          <p:spPr>
            <a:xfrm rot="-5400000">
              <a:off x="12026199" y="6307354"/>
              <a:ext cx="13277" cy="68070"/>
            </a:xfrm>
            <a:custGeom>
              <a:avLst/>
              <a:gdLst/>
              <a:ahLst/>
              <a:cxnLst/>
              <a:rect l="l" t="t" r="r" b="b"/>
              <a:pathLst>
                <a:path w="13277" h="68070" extrusionOk="0">
                  <a:moveTo>
                    <a:pt x="13278" y="12024"/>
                  </a:moveTo>
                  <a:lnTo>
                    <a:pt x="0" y="12024"/>
                  </a:lnTo>
                  <a:lnTo>
                    <a:pt x="0" y="0"/>
                  </a:lnTo>
                  <a:lnTo>
                    <a:pt x="13278" y="0"/>
                  </a:lnTo>
                  <a:close/>
                  <a:moveTo>
                    <a:pt x="0" y="17984"/>
                  </a:moveTo>
                  <a:lnTo>
                    <a:pt x="13278" y="17984"/>
                  </a:lnTo>
                  <a:lnTo>
                    <a:pt x="13278" y="68070"/>
                  </a:lnTo>
                  <a:lnTo>
                    <a:pt x="0" y="6807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36" name="Google Shape;236;p30"/>
            <p:cNvSpPr/>
            <p:nvPr/>
          </p:nvSpPr>
          <p:spPr>
            <a:xfrm rot="-5400000">
              <a:off x="12018641" y="6273739"/>
              <a:ext cx="45208" cy="51255"/>
            </a:xfrm>
            <a:custGeom>
              <a:avLst/>
              <a:gdLst/>
              <a:ahLst/>
              <a:cxnLst/>
              <a:rect l="l" t="t" r="r" b="b"/>
              <a:pathLst>
                <a:path w="45208" h="51255" extrusionOk="0">
                  <a:moveTo>
                    <a:pt x="40296" y="4038"/>
                  </a:moveTo>
                  <a:cubicBezTo>
                    <a:pt x="43560" y="6752"/>
                    <a:pt x="45209" y="11252"/>
                    <a:pt x="45209" y="17521"/>
                  </a:cubicBezTo>
                  <a:lnTo>
                    <a:pt x="45209" y="51256"/>
                  </a:lnTo>
                  <a:lnTo>
                    <a:pt x="31794" y="51256"/>
                  </a:lnTo>
                  <a:lnTo>
                    <a:pt x="31794" y="20785"/>
                  </a:lnTo>
                  <a:cubicBezTo>
                    <a:pt x="31900" y="18711"/>
                    <a:pt x="31543" y="16639"/>
                    <a:pt x="30746" y="14722"/>
                  </a:cubicBezTo>
                  <a:cubicBezTo>
                    <a:pt x="29458" y="12162"/>
                    <a:pt x="27036" y="10874"/>
                    <a:pt x="23446" y="10874"/>
                  </a:cubicBezTo>
                  <a:cubicBezTo>
                    <a:pt x="19511" y="10565"/>
                    <a:pt x="15833" y="12857"/>
                    <a:pt x="14377" y="16525"/>
                  </a:cubicBezTo>
                  <a:cubicBezTo>
                    <a:pt x="13439" y="18955"/>
                    <a:pt x="13001" y="21549"/>
                    <a:pt x="13089" y="24151"/>
                  </a:cubicBezTo>
                  <a:lnTo>
                    <a:pt x="13089" y="51256"/>
                  </a:lnTo>
                  <a:lnTo>
                    <a:pt x="0" y="51256"/>
                  </a:lnTo>
                  <a:lnTo>
                    <a:pt x="0" y="1272"/>
                  </a:lnTo>
                  <a:lnTo>
                    <a:pt x="12676" y="1272"/>
                  </a:lnTo>
                  <a:lnTo>
                    <a:pt x="12676" y="8607"/>
                  </a:lnTo>
                  <a:cubicBezTo>
                    <a:pt x="13946" y="6502"/>
                    <a:pt x="15553" y="4622"/>
                    <a:pt x="17434" y="3042"/>
                  </a:cubicBezTo>
                  <a:cubicBezTo>
                    <a:pt x="20409" y="938"/>
                    <a:pt x="23996" y="-125"/>
                    <a:pt x="27637" y="18"/>
                  </a:cubicBezTo>
                  <a:cubicBezTo>
                    <a:pt x="32199" y="-181"/>
                    <a:pt x="36684" y="1243"/>
                    <a:pt x="40296" y="403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37" name="Google Shape;237;p30"/>
            <p:cNvSpPr/>
            <p:nvPr/>
          </p:nvSpPr>
          <p:spPr>
            <a:xfrm rot="-5400000">
              <a:off x="12017163" y="6218687"/>
              <a:ext cx="48082" cy="51510"/>
            </a:xfrm>
            <a:custGeom>
              <a:avLst/>
              <a:gdLst/>
              <a:ahLst/>
              <a:cxnLst/>
              <a:rect l="l" t="t" r="r" b="b"/>
              <a:pathLst>
                <a:path w="48082" h="51510" extrusionOk="0">
                  <a:moveTo>
                    <a:pt x="35384" y="2281"/>
                  </a:moveTo>
                  <a:cubicBezTo>
                    <a:pt x="38804" y="3821"/>
                    <a:pt x="41712" y="6306"/>
                    <a:pt x="43766" y="9444"/>
                  </a:cubicBezTo>
                  <a:cubicBezTo>
                    <a:pt x="45803" y="12448"/>
                    <a:pt x="47126" y="15880"/>
                    <a:pt x="47631" y="19475"/>
                  </a:cubicBezTo>
                  <a:cubicBezTo>
                    <a:pt x="48021" y="22665"/>
                    <a:pt x="48160" y="25881"/>
                    <a:pt x="48043" y="29094"/>
                  </a:cubicBezTo>
                  <a:lnTo>
                    <a:pt x="12711" y="29094"/>
                  </a:lnTo>
                  <a:cubicBezTo>
                    <a:pt x="12900" y="33955"/>
                    <a:pt x="14600" y="37373"/>
                    <a:pt x="17778" y="39400"/>
                  </a:cubicBezTo>
                  <a:cubicBezTo>
                    <a:pt x="19884" y="40669"/>
                    <a:pt x="22311" y="41306"/>
                    <a:pt x="24769" y="41237"/>
                  </a:cubicBezTo>
                  <a:cubicBezTo>
                    <a:pt x="27307" y="41354"/>
                    <a:pt x="29803" y="40563"/>
                    <a:pt x="31811" y="39004"/>
                  </a:cubicBezTo>
                  <a:cubicBezTo>
                    <a:pt x="32891" y="38080"/>
                    <a:pt x="33774" y="36947"/>
                    <a:pt x="34405" y="35672"/>
                  </a:cubicBezTo>
                  <a:lnTo>
                    <a:pt x="47407" y="35672"/>
                  </a:lnTo>
                  <a:cubicBezTo>
                    <a:pt x="46818" y="39021"/>
                    <a:pt x="45169" y="42092"/>
                    <a:pt x="42701" y="44432"/>
                  </a:cubicBezTo>
                  <a:cubicBezTo>
                    <a:pt x="38355" y="49156"/>
                    <a:pt x="32292" y="51509"/>
                    <a:pt x="24459" y="51509"/>
                  </a:cubicBezTo>
                  <a:cubicBezTo>
                    <a:pt x="18245" y="51584"/>
                    <a:pt x="12202" y="49474"/>
                    <a:pt x="7386" y="45549"/>
                  </a:cubicBezTo>
                  <a:cubicBezTo>
                    <a:pt x="2461" y="41564"/>
                    <a:pt x="0" y="35094"/>
                    <a:pt x="0" y="26139"/>
                  </a:cubicBezTo>
                  <a:cubicBezTo>
                    <a:pt x="0" y="17746"/>
                    <a:pt x="2228" y="11304"/>
                    <a:pt x="6682" y="6816"/>
                  </a:cubicBezTo>
                  <a:cubicBezTo>
                    <a:pt x="11252" y="2254"/>
                    <a:pt x="17508" y="-208"/>
                    <a:pt x="23961" y="14"/>
                  </a:cubicBezTo>
                  <a:cubicBezTo>
                    <a:pt x="27886" y="-52"/>
                    <a:pt x="31782" y="721"/>
                    <a:pt x="35384" y="2281"/>
                  </a:cubicBezTo>
                  <a:close/>
                  <a:moveTo>
                    <a:pt x="16490" y="13223"/>
                  </a:moveTo>
                  <a:cubicBezTo>
                    <a:pt x="14554" y="15309"/>
                    <a:pt x="13350" y="17967"/>
                    <a:pt x="13054" y="20797"/>
                  </a:cubicBezTo>
                  <a:lnTo>
                    <a:pt x="34886" y="20797"/>
                  </a:lnTo>
                  <a:cubicBezTo>
                    <a:pt x="34844" y="17880"/>
                    <a:pt x="33601" y="15108"/>
                    <a:pt x="31450" y="13137"/>
                  </a:cubicBezTo>
                  <a:cubicBezTo>
                    <a:pt x="29363" y="11367"/>
                    <a:pt x="26698" y="10426"/>
                    <a:pt x="23961" y="10491"/>
                  </a:cubicBezTo>
                  <a:cubicBezTo>
                    <a:pt x="21201" y="10337"/>
                    <a:pt x="18499" y="11325"/>
                    <a:pt x="16490" y="13223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238" name="Google Shape;238;p30"/>
          <p:cNvSpPr txBox="1"/>
          <p:nvPr/>
        </p:nvSpPr>
        <p:spPr>
          <a:xfrm rot="-5400000">
            <a:off x="11250971" y="5290633"/>
            <a:ext cx="1567737" cy="110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</a:pPr>
            <a:r>
              <a:rPr lang="en-US" sz="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Copyright © 2020. All rights reserved.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39" name="Google Shape;239;p30"/>
          <p:cNvSpPr txBox="1">
            <a:spLocks noGrp="1"/>
          </p:cNvSpPr>
          <p:nvPr>
            <p:ph type="sldNum" idx="12"/>
          </p:nvPr>
        </p:nvSpPr>
        <p:spPr>
          <a:xfrm>
            <a:off x="11490153" y="6465614"/>
            <a:ext cx="150682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marL="0" marR="0" lvl="0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240" name="Google Shape;240;p30"/>
          <p:cNvSpPr txBox="1">
            <a:spLocks noGrp="1"/>
          </p:cNvSpPr>
          <p:nvPr>
            <p:ph type="ftr" idx="11"/>
          </p:nvPr>
        </p:nvSpPr>
        <p:spPr>
          <a:xfrm>
            <a:off x="550863" y="6465614"/>
            <a:ext cx="5545138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000" b="0" i="0" u="none" strike="noStrike" cap="none">
                <a:solidFill>
                  <a:schemeClr val="lt2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/3 Blue on Right">
  <p:cSld name="1/3 Blue on Right">
    <p:spTree>
      <p:nvGrpSpPr>
        <p:cNvPr id="1" name="Shape 2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2" name="Google Shape;242;p31"/>
          <p:cNvSpPr/>
          <p:nvPr/>
        </p:nvSpPr>
        <p:spPr>
          <a:xfrm>
            <a:off x="8134763" y="-1"/>
            <a:ext cx="4059776" cy="6858001"/>
          </a:xfrm>
          <a:prstGeom prst="rect">
            <a:avLst/>
          </a:prstGeom>
          <a:gradFill>
            <a:gsLst>
              <a:gs pos="0">
                <a:srgbClr val="062379"/>
              </a:gs>
              <a:gs pos="16000">
                <a:srgbClr val="062379"/>
              </a:gs>
              <a:gs pos="45000">
                <a:srgbClr val="0934B6">
                  <a:alpha val="87450"/>
                </a:srgbClr>
              </a:gs>
              <a:gs pos="79000">
                <a:srgbClr val="036DFF">
                  <a:alpha val="80000"/>
                </a:srgbClr>
              </a:gs>
              <a:gs pos="100000">
                <a:srgbClr val="43E1D3"/>
              </a:gs>
            </a:gsLst>
            <a:lin ang="270000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43" name="Google Shape;243;p31"/>
          <p:cNvSpPr txBox="1">
            <a:spLocks noGrp="1"/>
          </p:cNvSpPr>
          <p:nvPr>
            <p:ph type="title"/>
          </p:nvPr>
        </p:nvSpPr>
        <p:spPr>
          <a:xfrm>
            <a:off x="539400" y="562841"/>
            <a:ext cx="7261122" cy="4185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200"/>
              <a:buFont typeface="Franklin Gothic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44" name="Google Shape;244;p31"/>
          <p:cNvSpPr txBox="1">
            <a:spLocks noGrp="1"/>
          </p:cNvSpPr>
          <p:nvPr>
            <p:ph type="sldNum" idx="12"/>
          </p:nvPr>
        </p:nvSpPr>
        <p:spPr>
          <a:xfrm>
            <a:off x="11490453" y="6445294"/>
            <a:ext cx="150683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marL="0" marR="0" lvl="0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45" name="Google Shape;245;p31"/>
          <p:cNvCxnSpPr/>
          <p:nvPr/>
        </p:nvCxnSpPr>
        <p:spPr>
          <a:xfrm>
            <a:off x="539400" y="484910"/>
            <a:ext cx="540000" cy="0"/>
          </a:xfrm>
          <a:prstGeom prst="straightConnector1">
            <a:avLst/>
          </a:prstGeom>
          <a:noFill/>
          <a:ln w="38100" cap="flat" cmpd="sng">
            <a:solidFill>
              <a:schemeClr val="dk2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246" name="Google Shape;246;p31"/>
          <p:cNvGrpSpPr/>
          <p:nvPr/>
        </p:nvGrpSpPr>
        <p:grpSpPr>
          <a:xfrm>
            <a:off x="11998459" y="6162188"/>
            <a:ext cx="68500" cy="441925"/>
            <a:chOff x="11998459" y="6162188"/>
            <a:chExt cx="68500" cy="441925"/>
          </a:xfrm>
        </p:grpSpPr>
        <p:sp>
          <p:nvSpPr>
            <p:cNvPr id="247" name="Google Shape;247;p31"/>
            <p:cNvSpPr/>
            <p:nvPr/>
          </p:nvSpPr>
          <p:spPr>
            <a:xfrm rot="-5400000">
              <a:off x="12063068" y="6476346"/>
              <a:ext cx="17" cy="1717"/>
            </a:xfrm>
            <a:custGeom>
              <a:avLst/>
              <a:gdLst/>
              <a:ahLst/>
              <a:cxnLst/>
              <a:rect l="l" t="t" r="r" b="b"/>
              <a:pathLst>
                <a:path w="17" h="1717" extrusionOk="0">
                  <a:moveTo>
                    <a:pt x="0" y="0"/>
                  </a:moveTo>
                  <a:lnTo>
                    <a:pt x="17" y="0"/>
                  </a:lnTo>
                  <a:lnTo>
                    <a:pt x="17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48" name="Google Shape;248;p31"/>
            <p:cNvSpPr/>
            <p:nvPr/>
          </p:nvSpPr>
          <p:spPr>
            <a:xfrm rot="-5400000">
              <a:off x="12023737" y="6455896"/>
              <a:ext cx="453" cy="271"/>
            </a:xfrm>
            <a:custGeom>
              <a:avLst/>
              <a:gdLst/>
              <a:ahLst/>
              <a:cxnLst/>
              <a:rect l="l" t="t" r="r" b="b"/>
              <a:pathLst>
                <a:path w="453" h="271" extrusionOk="0">
                  <a:moveTo>
                    <a:pt x="0" y="0"/>
                  </a:moveTo>
                  <a:cubicBezTo>
                    <a:pt x="258" y="172"/>
                    <a:pt x="498" y="344"/>
                    <a:pt x="447" y="240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49" name="Google Shape;249;p31"/>
            <p:cNvSpPr/>
            <p:nvPr/>
          </p:nvSpPr>
          <p:spPr>
            <a:xfrm rot="-5400000">
              <a:off x="12023907" y="6477766"/>
              <a:ext cx="15" cy="76"/>
            </a:xfrm>
            <a:custGeom>
              <a:avLst/>
              <a:gdLst/>
              <a:ahLst/>
              <a:cxnLst/>
              <a:rect l="l" t="t" r="r" b="b"/>
              <a:pathLst>
                <a:path w="15" h="76" extrusionOk="0">
                  <a:moveTo>
                    <a:pt x="15" y="38"/>
                  </a:moveTo>
                  <a:cubicBezTo>
                    <a:pt x="15" y="38"/>
                    <a:pt x="15" y="-48"/>
                    <a:pt x="15" y="38"/>
                  </a:cubicBezTo>
                  <a:cubicBezTo>
                    <a:pt x="15" y="124"/>
                    <a:pt x="-19" y="38"/>
                    <a:pt x="15" y="3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50" name="Google Shape;250;p31"/>
            <p:cNvSpPr/>
            <p:nvPr/>
          </p:nvSpPr>
          <p:spPr>
            <a:xfrm rot="-5400000">
              <a:off x="12021636" y="6473651"/>
              <a:ext cx="261" cy="103"/>
            </a:xfrm>
            <a:custGeom>
              <a:avLst/>
              <a:gdLst/>
              <a:ahLst/>
              <a:cxnLst/>
              <a:rect l="l" t="t" r="r" b="b"/>
              <a:pathLst>
                <a:path w="261" h="103" extrusionOk="0">
                  <a:moveTo>
                    <a:pt x="262" y="0"/>
                  </a:moveTo>
                  <a:lnTo>
                    <a:pt x="56" y="103"/>
                  </a:lnTo>
                  <a:cubicBezTo>
                    <a:pt x="176" y="103"/>
                    <a:pt x="-116" y="103"/>
                    <a:pt x="56" y="103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51" name="Google Shape;251;p31"/>
            <p:cNvSpPr/>
            <p:nvPr/>
          </p:nvSpPr>
          <p:spPr>
            <a:xfrm rot="-5400000">
              <a:off x="12015635" y="6442208"/>
              <a:ext cx="51323" cy="51323"/>
            </a:xfrm>
            <a:custGeom>
              <a:avLst/>
              <a:gdLst/>
              <a:ahLst/>
              <a:cxnLst/>
              <a:rect l="l" t="t" r="r" b="b"/>
              <a:pathLst>
                <a:path w="51323" h="51323" extrusionOk="0">
                  <a:moveTo>
                    <a:pt x="25662" y="0"/>
                  </a:moveTo>
                  <a:cubicBezTo>
                    <a:pt x="11489" y="0"/>
                    <a:pt x="0" y="11489"/>
                    <a:pt x="0" y="25662"/>
                  </a:cubicBezTo>
                  <a:cubicBezTo>
                    <a:pt x="0" y="39834"/>
                    <a:pt x="11489" y="51323"/>
                    <a:pt x="25662" y="51323"/>
                  </a:cubicBezTo>
                  <a:cubicBezTo>
                    <a:pt x="39835" y="51323"/>
                    <a:pt x="51324" y="39834"/>
                    <a:pt x="51324" y="25662"/>
                  </a:cubicBezTo>
                  <a:cubicBezTo>
                    <a:pt x="51324" y="25645"/>
                    <a:pt x="51324" y="25627"/>
                    <a:pt x="51324" y="25610"/>
                  </a:cubicBezTo>
                  <a:cubicBezTo>
                    <a:pt x="51314" y="11457"/>
                    <a:pt x="39833" y="-9"/>
                    <a:pt x="25679" y="0"/>
                  </a:cubicBezTo>
                  <a:cubicBezTo>
                    <a:pt x="25673" y="0"/>
                    <a:pt x="25667" y="0"/>
                    <a:pt x="25662" y="0"/>
                  </a:cubicBezTo>
                  <a:close/>
                  <a:moveTo>
                    <a:pt x="26967" y="15648"/>
                  </a:moveTo>
                  <a:cubicBezTo>
                    <a:pt x="26864" y="15648"/>
                    <a:pt x="26967" y="15785"/>
                    <a:pt x="26967" y="15837"/>
                  </a:cubicBezTo>
                  <a:cubicBezTo>
                    <a:pt x="26894" y="15820"/>
                    <a:pt x="26817" y="15820"/>
                    <a:pt x="26744" y="15837"/>
                  </a:cubicBezTo>
                  <a:cubicBezTo>
                    <a:pt x="26899" y="15837"/>
                    <a:pt x="27139" y="16043"/>
                    <a:pt x="26933" y="16163"/>
                  </a:cubicBezTo>
                  <a:cubicBezTo>
                    <a:pt x="26727" y="16283"/>
                    <a:pt x="27019" y="16163"/>
                    <a:pt x="27036" y="16163"/>
                  </a:cubicBezTo>
                  <a:cubicBezTo>
                    <a:pt x="27173" y="15854"/>
                    <a:pt x="27586" y="16283"/>
                    <a:pt x="27294" y="16489"/>
                  </a:cubicBezTo>
                  <a:lnTo>
                    <a:pt x="27294" y="16489"/>
                  </a:lnTo>
                  <a:cubicBezTo>
                    <a:pt x="27294" y="16489"/>
                    <a:pt x="27294" y="16489"/>
                    <a:pt x="27294" y="16489"/>
                  </a:cubicBezTo>
                  <a:lnTo>
                    <a:pt x="27294" y="16489"/>
                  </a:lnTo>
                  <a:cubicBezTo>
                    <a:pt x="27294" y="16489"/>
                    <a:pt x="27191" y="16489"/>
                    <a:pt x="27156" y="16489"/>
                  </a:cubicBezTo>
                  <a:cubicBezTo>
                    <a:pt x="27122" y="16489"/>
                    <a:pt x="27156" y="16489"/>
                    <a:pt x="27156" y="16593"/>
                  </a:cubicBezTo>
                  <a:cubicBezTo>
                    <a:pt x="27156" y="16696"/>
                    <a:pt x="27276" y="16593"/>
                    <a:pt x="27156" y="16593"/>
                  </a:cubicBezTo>
                  <a:cubicBezTo>
                    <a:pt x="27036" y="16593"/>
                    <a:pt x="27294" y="16593"/>
                    <a:pt x="27379" y="16593"/>
                  </a:cubicBezTo>
                  <a:cubicBezTo>
                    <a:pt x="27465" y="16593"/>
                    <a:pt x="27276" y="16713"/>
                    <a:pt x="27276" y="16799"/>
                  </a:cubicBezTo>
                  <a:cubicBezTo>
                    <a:pt x="27276" y="16885"/>
                    <a:pt x="26795" y="16936"/>
                    <a:pt x="26744" y="16799"/>
                  </a:cubicBezTo>
                  <a:cubicBezTo>
                    <a:pt x="26692" y="16661"/>
                    <a:pt x="26297" y="16799"/>
                    <a:pt x="26074" y="16902"/>
                  </a:cubicBezTo>
                  <a:cubicBezTo>
                    <a:pt x="25851" y="17005"/>
                    <a:pt x="26074" y="17125"/>
                    <a:pt x="25868" y="16988"/>
                  </a:cubicBezTo>
                  <a:cubicBezTo>
                    <a:pt x="25662" y="16850"/>
                    <a:pt x="25610" y="16988"/>
                    <a:pt x="25559" y="17142"/>
                  </a:cubicBezTo>
                  <a:cubicBezTo>
                    <a:pt x="25507" y="17297"/>
                    <a:pt x="25559" y="17142"/>
                    <a:pt x="25404" y="17142"/>
                  </a:cubicBezTo>
                  <a:cubicBezTo>
                    <a:pt x="25553" y="17029"/>
                    <a:pt x="25690" y="16902"/>
                    <a:pt x="25816" y="16764"/>
                  </a:cubicBezTo>
                  <a:cubicBezTo>
                    <a:pt x="25816" y="16593"/>
                    <a:pt x="26057" y="16764"/>
                    <a:pt x="26194" y="16764"/>
                  </a:cubicBezTo>
                  <a:cubicBezTo>
                    <a:pt x="26332" y="16764"/>
                    <a:pt x="26297" y="16610"/>
                    <a:pt x="26349" y="16541"/>
                  </a:cubicBezTo>
                  <a:cubicBezTo>
                    <a:pt x="26400" y="16472"/>
                    <a:pt x="26091" y="16764"/>
                    <a:pt x="26005" y="16627"/>
                  </a:cubicBezTo>
                  <a:cubicBezTo>
                    <a:pt x="25919" y="16489"/>
                    <a:pt x="25748" y="16627"/>
                    <a:pt x="25902" y="16627"/>
                  </a:cubicBezTo>
                  <a:cubicBezTo>
                    <a:pt x="26057" y="16627"/>
                    <a:pt x="25765" y="16627"/>
                    <a:pt x="25662" y="16627"/>
                  </a:cubicBezTo>
                  <a:lnTo>
                    <a:pt x="25662" y="16627"/>
                  </a:lnTo>
                  <a:cubicBezTo>
                    <a:pt x="25662" y="16627"/>
                    <a:pt x="25662" y="16627"/>
                    <a:pt x="25662" y="16627"/>
                  </a:cubicBezTo>
                  <a:cubicBezTo>
                    <a:pt x="25919" y="16541"/>
                    <a:pt x="26040" y="16472"/>
                    <a:pt x="26005" y="16215"/>
                  </a:cubicBezTo>
                  <a:lnTo>
                    <a:pt x="25834" y="16215"/>
                  </a:lnTo>
                  <a:cubicBezTo>
                    <a:pt x="25954" y="16094"/>
                    <a:pt x="26126" y="15940"/>
                    <a:pt x="26297" y="16060"/>
                  </a:cubicBezTo>
                  <a:cubicBezTo>
                    <a:pt x="26160" y="15888"/>
                    <a:pt x="26297" y="16060"/>
                    <a:pt x="26297" y="16060"/>
                  </a:cubicBezTo>
                  <a:cubicBezTo>
                    <a:pt x="26297" y="16060"/>
                    <a:pt x="26194" y="15837"/>
                    <a:pt x="26297" y="15785"/>
                  </a:cubicBezTo>
                  <a:cubicBezTo>
                    <a:pt x="26400" y="15734"/>
                    <a:pt x="26297" y="15648"/>
                    <a:pt x="26194" y="15785"/>
                  </a:cubicBezTo>
                  <a:lnTo>
                    <a:pt x="26194" y="15785"/>
                  </a:lnTo>
                  <a:cubicBezTo>
                    <a:pt x="26057" y="15785"/>
                    <a:pt x="26194" y="15476"/>
                    <a:pt x="26194" y="15493"/>
                  </a:cubicBezTo>
                  <a:cubicBezTo>
                    <a:pt x="26023" y="15493"/>
                    <a:pt x="25988" y="15613"/>
                    <a:pt x="25834" y="15493"/>
                  </a:cubicBezTo>
                  <a:cubicBezTo>
                    <a:pt x="25679" y="15373"/>
                    <a:pt x="25834" y="15493"/>
                    <a:pt x="25834" y="15596"/>
                  </a:cubicBezTo>
                  <a:cubicBezTo>
                    <a:pt x="25834" y="15699"/>
                    <a:pt x="25662" y="15459"/>
                    <a:pt x="25713" y="15596"/>
                  </a:cubicBezTo>
                  <a:cubicBezTo>
                    <a:pt x="25765" y="15734"/>
                    <a:pt x="25713" y="15493"/>
                    <a:pt x="25713" y="15459"/>
                  </a:cubicBezTo>
                  <a:lnTo>
                    <a:pt x="25713" y="15459"/>
                  </a:lnTo>
                  <a:cubicBezTo>
                    <a:pt x="25713" y="15459"/>
                    <a:pt x="25713" y="15287"/>
                    <a:pt x="25816" y="15236"/>
                  </a:cubicBezTo>
                  <a:cubicBezTo>
                    <a:pt x="25919" y="15184"/>
                    <a:pt x="25713" y="15029"/>
                    <a:pt x="25816" y="15064"/>
                  </a:cubicBezTo>
                  <a:cubicBezTo>
                    <a:pt x="25919" y="15098"/>
                    <a:pt x="25816" y="15064"/>
                    <a:pt x="25816" y="14961"/>
                  </a:cubicBezTo>
                  <a:cubicBezTo>
                    <a:pt x="25816" y="14858"/>
                    <a:pt x="25816" y="15047"/>
                    <a:pt x="25816" y="15081"/>
                  </a:cubicBezTo>
                  <a:lnTo>
                    <a:pt x="25816" y="15081"/>
                  </a:lnTo>
                  <a:cubicBezTo>
                    <a:pt x="25816" y="15081"/>
                    <a:pt x="25816" y="15081"/>
                    <a:pt x="25816" y="15081"/>
                  </a:cubicBezTo>
                  <a:cubicBezTo>
                    <a:pt x="25816" y="15081"/>
                    <a:pt x="25816" y="15081"/>
                    <a:pt x="25816" y="15081"/>
                  </a:cubicBezTo>
                  <a:cubicBezTo>
                    <a:pt x="25812" y="15173"/>
                    <a:pt x="25812" y="15264"/>
                    <a:pt x="25816" y="15356"/>
                  </a:cubicBezTo>
                  <a:cubicBezTo>
                    <a:pt x="25713" y="15356"/>
                    <a:pt x="25816" y="15218"/>
                    <a:pt x="25816" y="15167"/>
                  </a:cubicBezTo>
                  <a:cubicBezTo>
                    <a:pt x="25816" y="15115"/>
                    <a:pt x="25816" y="14858"/>
                    <a:pt x="25919" y="14823"/>
                  </a:cubicBezTo>
                  <a:cubicBezTo>
                    <a:pt x="26023" y="14789"/>
                    <a:pt x="25919" y="14823"/>
                    <a:pt x="25919" y="14823"/>
                  </a:cubicBezTo>
                  <a:cubicBezTo>
                    <a:pt x="25919" y="14823"/>
                    <a:pt x="25799" y="14978"/>
                    <a:pt x="25731" y="14823"/>
                  </a:cubicBezTo>
                  <a:cubicBezTo>
                    <a:pt x="25662" y="14669"/>
                    <a:pt x="25731" y="14823"/>
                    <a:pt x="25731" y="14823"/>
                  </a:cubicBezTo>
                  <a:cubicBezTo>
                    <a:pt x="25731" y="14823"/>
                    <a:pt x="25731" y="14686"/>
                    <a:pt x="25868" y="14737"/>
                  </a:cubicBezTo>
                  <a:cubicBezTo>
                    <a:pt x="26005" y="14789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lnTo>
                    <a:pt x="25868" y="14737"/>
                  </a:lnTo>
                  <a:lnTo>
                    <a:pt x="25868" y="14652"/>
                  </a:lnTo>
                  <a:cubicBezTo>
                    <a:pt x="25868" y="14652"/>
                    <a:pt x="25868" y="14652"/>
                    <a:pt x="25868" y="14652"/>
                  </a:cubicBezTo>
                  <a:cubicBezTo>
                    <a:pt x="25868" y="14652"/>
                    <a:pt x="25868" y="14566"/>
                    <a:pt x="25868" y="14514"/>
                  </a:cubicBezTo>
                  <a:lnTo>
                    <a:pt x="25868" y="14514"/>
                  </a:lnTo>
                  <a:cubicBezTo>
                    <a:pt x="25868" y="14514"/>
                    <a:pt x="25868" y="14514"/>
                    <a:pt x="25868" y="14514"/>
                  </a:cubicBezTo>
                  <a:cubicBezTo>
                    <a:pt x="25868" y="14514"/>
                    <a:pt x="25868" y="14514"/>
                    <a:pt x="25971" y="14514"/>
                  </a:cubicBezTo>
                  <a:cubicBezTo>
                    <a:pt x="25976" y="14486"/>
                    <a:pt x="25976" y="14457"/>
                    <a:pt x="25971" y="14428"/>
                  </a:cubicBezTo>
                  <a:cubicBezTo>
                    <a:pt x="25971" y="14428"/>
                    <a:pt x="26091" y="14085"/>
                    <a:pt x="26126" y="14291"/>
                  </a:cubicBezTo>
                  <a:cubicBezTo>
                    <a:pt x="26160" y="14497"/>
                    <a:pt x="26126" y="14291"/>
                    <a:pt x="26126" y="14291"/>
                  </a:cubicBezTo>
                  <a:cubicBezTo>
                    <a:pt x="26538" y="14136"/>
                    <a:pt x="26435" y="14291"/>
                    <a:pt x="26126" y="14531"/>
                  </a:cubicBezTo>
                  <a:lnTo>
                    <a:pt x="26126" y="14531"/>
                  </a:lnTo>
                  <a:cubicBezTo>
                    <a:pt x="25902" y="14737"/>
                    <a:pt x="26366" y="14531"/>
                    <a:pt x="26486" y="14531"/>
                  </a:cubicBezTo>
                  <a:cubicBezTo>
                    <a:pt x="26607" y="14531"/>
                    <a:pt x="26486" y="15029"/>
                    <a:pt x="26263" y="14995"/>
                  </a:cubicBezTo>
                  <a:cubicBezTo>
                    <a:pt x="26040" y="14961"/>
                    <a:pt x="26263" y="14995"/>
                    <a:pt x="26263" y="14995"/>
                  </a:cubicBezTo>
                  <a:cubicBezTo>
                    <a:pt x="26263" y="14995"/>
                    <a:pt x="26108" y="15133"/>
                    <a:pt x="26005" y="14995"/>
                  </a:cubicBezTo>
                  <a:cubicBezTo>
                    <a:pt x="26064" y="15057"/>
                    <a:pt x="26162" y="15059"/>
                    <a:pt x="26224" y="15000"/>
                  </a:cubicBezTo>
                  <a:cubicBezTo>
                    <a:pt x="26226" y="14998"/>
                    <a:pt x="26227" y="14997"/>
                    <a:pt x="26229" y="14995"/>
                  </a:cubicBezTo>
                  <a:cubicBezTo>
                    <a:pt x="26486" y="15098"/>
                    <a:pt x="26503" y="15373"/>
                    <a:pt x="26589" y="15579"/>
                  </a:cubicBezTo>
                  <a:cubicBezTo>
                    <a:pt x="26675" y="15785"/>
                    <a:pt x="26830" y="15545"/>
                    <a:pt x="26967" y="15613"/>
                  </a:cubicBezTo>
                  <a:close/>
                  <a:moveTo>
                    <a:pt x="18138" y="47476"/>
                  </a:moveTo>
                  <a:lnTo>
                    <a:pt x="18138" y="47476"/>
                  </a:lnTo>
                  <a:lnTo>
                    <a:pt x="18138" y="47476"/>
                  </a:lnTo>
                  <a:lnTo>
                    <a:pt x="18138" y="47476"/>
                  </a:lnTo>
                  <a:lnTo>
                    <a:pt x="18224" y="47476"/>
                  </a:lnTo>
                  <a:lnTo>
                    <a:pt x="18224" y="47476"/>
                  </a:lnTo>
                  <a:lnTo>
                    <a:pt x="17984" y="47338"/>
                  </a:lnTo>
                  <a:lnTo>
                    <a:pt x="17984" y="47338"/>
                  </a:lnTo>
                  <a:lnTo>
                    <a:pt x="17984" y="47338"/>
                  </a:lnTo>
                  <a:lnTo>
                    <a:pt x="18070" y="47338"/>
                  </a:lnTo>
                  <a:lnTo>
                    <a:pt x="18070" y="47338"/>
                  </a:lnTo>
                  <a:lnTo>
                    <a:pt x="18070" y="47338"/>
                  </a:lnTo>
                  <a:lnTo>
                    <a:pt x="17795" y="47218"/>
                  </a:lnTo>
                  <a:lnTo>
                    <a:pt x="17795" y="47218"/>
                  </a:lnTo>
                  <a:cubicBezTo>
                    <a:pt x="17795" y="47218"/>
                    <a:pt x="17795" y="47218"/>
                    <a:pt x="17795" y="47218"/>
                  </a:cubicBezTo>
                  <a:cubicBezTo>
                    <a:pt x="17762" y="47203"/>
                    <a:pt x="17725" y="47203"/>
                    <a:pt x="17692" y="47218"/>
                  </a:cubicBezTo>
                  <a:lnTo>
                    <a:pt x="17692" y="47218"/>
                  </a:lnTo>
                  <a:lnTo>
                    <a:pt x="17692" y="47218"/>
                  </a:lnTo>
                  <a:lnTo>
                    <a:pt x="17692" y="47218"/>
                  </a:lnTo>
                  <a:lnTo>
                    <a:pt x="17864" y="47218"/>
                  </a:lnTo>
                  <a:lnTo>
                    <a:pt x="17658" y="47218"/>
                  </a:lnTo>
                  <a:lnTo>
                    <a:pt x="17658" y="47218"/>
                  </a:lnTo>
                  <a:lnTo>
                    <a:pt x="17417" y="47115"/>
                  </a:lnTo>
                  <a:lnTo>
                    <a:pt x="17417" y="47115"/>
                  </a:lnTo>
                  <a:lnTo>
                    <a:pt x="17417" y="47115"/>
                  </a:lnTo>
                  <a:lnTo>
                    <a:pt x="17280" y="47115"/>
                  </a:lnTo>
                  <a:lnTo>
                    <a:pt x="17469" y="47218"/>
                  </a:lnTo>
                  <a:lnTo>
                    <a:pt x="17194" y="47081"/>
                  </a:lnTo>
                  <a:lnTo>
                    <a:pt x="17194" y="47081"/>
                  </a:lnTo>
                  <a:lnTo>
                    <a:pt x="17366" y="47081"/>
                  </a:lnTo>
                  <a:lnTo>
                    <a:pt x="17228" y="47081"/>
                  </a:lnTo>
                  <a:lnTo>
                    <a:pt x="17366" y="47081"/>
                  </a:lnTo>
                  <a:lnTo>
                    <a:pt x="17108" y="46961"/>
                  </a:lnTo>
                  <a:lnTo>
                    <a:pt x="17108" y="46961"/>
                  </a:lnTo>
                  <a:lnTo>
                    <a:pt x="17005" y="46961"/>
                  </a:lnTo>
                  <a:lnTo>
                    <a:pt x="17005" y="46961"/>
                  </a:lnTo>
                  <a:lnTo>
                    <a:pt x="16782" y="46858"/>
                  </a:lnTo>
                  <a:lnTo>
                    <a:pt x="16782" y="46858"/>
                  </a:lnTo>
                  <a:lnTo>
                    <a:pt x="16696" y="46858"/>
                  </a:lnTo>
                  <a:lnTo>
                    <a:pt x="16696" y="46858"/>
                  </a:lnTo>
                  <a:cubicBezTo>
                    <a:pt x="16557" y="46803"/>
                    <a:pt x="16425" y="46733"/>
                    <a:pt x="16301" y="46651"/>
                  </a:cubicBezTo>
                  <a:lnTo>
                    <a:pt x="16301" y="46651"/>
                  </a:lnTo>
                  <a:lnTo>
                    <a:pt x="16129" y="46548"/>
                  </a:lnTo>
                  <a:lnTo>
                    <a:pt x="16283" y="46651"/>
                  </a:lnTo>
                  <a:lnTo>
                    <a:pt x="15940" y="46462"/>
                  </a:lnTo>
                  <a:lnTo>
                    <a:pt x="15940" y="46462"/>
                  </a:lnTo>
                  <a:lnTo>
                    <a:pt x="15837" y="46462"/>
                  </a:lnTo>
                  <a:lnTo>
                    <a:pt x="15837" y="46462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510" y="46274"/>
                  </a:lnTo>
                  <a:lnTo>
                    <a:pt x="15510" y="46274"/>
                  </a:lnTo>
                  <a:lnTo>
                    <a:pt x="15339" y="46153"/>
                  </a:lnTo>
                  <a:lnTo>
                    <a:pt x="15339" y="46153"/>
                  </a:lnTo>
                  <a:lnTo>
                    <a:pt x="15201" y="46153"/>
                  </a:lnTo>
                  <a:lnTo>
                    <a:pt x="15201" y="46153"/>
                  </a:lnTo>
                  <a:cubicBezTo>
                    <a:pt x="15162" y="46164"/>
                    <a:pt x="15120" y="46164"/>
                    <a:pt x="15081" y="46153"/>
                  </a:cubicBezTo>
                  <a:lnTo>
                    <a:pt x="15081" y="46153"/>
                  </a:lnTo>
                  <a:lnTo>
                    <a:pt x="15218" y="46239"/>
                  </a:lnTo>
                  <a:lnTo>
                    <a:pt x="15081" y="46153"/>
                  </a:lnTo>
                  <a:lnTo>
                    <a:pt x="15081" y="46153"/>
                  </a:lnTo>
                  <a:lnTo>
                    <a:pt x="14961" y="46153"/>
                  </a:lnTo>
                  <a:lnTo>
                    <a:pt x="14961" y="46153"/>
                  </a:lnTo>
                  <a:lnTo>
                    <a:pt x="14823" y="46067"/>
                  </a:lnTo>
                  <a:cubicBezTo>
                    <a:pt x="14890" y="46095"/>
                    <a:pt x="14953" y="46130"/>
                    <a:pt x="15012" y="46170"/>
                  </a:cubicBezTo>
                  <a:cubicBezTo>
                    <a:pt x="15012" y="46170"/>
                    <a:pt x="15150" y="46274"/>
                    <a:pt x="15184" y="46274"/>
                  </a:cubicBezTo>
                  <a:lnTo>
                    <a:pt x="14720" y="45947"/>
                  </a:lnTo>
                  <a:lnTo>
                    <a:pt x="14720" y="45947"/>
                  </a:lnTo>
                  <a:cubicBezTo>
                    <a:pt x="14446" y="45724"/>
                    <a:pt x="14136" y="45535"/>
                    <a:pt x="13879" y="45312"/>
                  </a:cubicBezTo>
                  <a:lnTo>
                    <a:pt x="13982" y="45312"/>
                  </a:lnTo>
                  <a:lnTo>
                    <a:pt x="13827" y="45191"/>
                  </a:lnTo>
                  <a:lnTo>
                    <a:pt x="13827" y="45191"/>
                  </a:lnTo>
                  <a:cubicBezTo>
                    <a:pt x="13827" y="45191"/>
                    <a:pt x="13827" y="45191"/>
                    <a:pt x="13724" y="45191"/>
                  </a:cubicBezTo>
                  <a:lnTo>
                    <a:pt x="13724" y="45191"/>
                  </a:lnTo>
                  <a:lnTo>
                    <a:pt x="13724" y="45191"/>
                  </a:lnTo>
                  <a:lnTo>
                    <a:pt x="13724" y="45191"/>
                  </a:lnTo>
                  <a:cubicBezTo>
                    <a:pt x="13500" y="45056"/>
                    <a:pt x="13292" y="44895"/>
                    <a:pt x="13106" y="44710"/>
                  </a:cubicBezTo>
                  <a:lnTo>
                    <a:pt x="13106" y="44710"/>
                  </a:lnTo>
                  <a:cubicBezTo>
                    <a:pt x="12865" y="44453"/>
                    <a:pt x="12573" y="44264"/>
                    <a:pt x="12316" y="44023"/>
                  </a:cubicBezTo>
                  <a:cubicBezTo>
                    <a:pt x="12316" y="44023"/>
                    <a:pt x="12316" y="44023"/>
                    <a:pt x="12316" y="44023"/>
                  </a:cubicBezTo>
                  <a:cubicBezTo>
                    <a:pt x="11271" y="42931"/>
                    <a:pt x="10350" y="41727"/>
                    <a:pt x="9567" y="40434"/>
                  </a:cubicBezTo>
                  <a:lnTo>
                    <a:pt x="9567" y="40434"/>
                  </a:lnTo>
                  <a:cubicBezTo>
                    <a:pt x="9215" y="39466"/>
                    <a:pt x="8691" y="38570"/>
                    <a:pt x="8021" y="37788"/>
                  </a:cubicBezTo>
                  <a:lnTo>
                    <a:pt x="8021" y="37788"/>
                  </a:lnTo>
                  <a:cubicBezTo>
                    <a:pt x="6949" y="36560"/>
                    <a:pt x="6200" y="35084"/>
                    <a:pt x="5840" y="33494"/>
                  </a:cubicBezTo>
                  <a:cubicBezTo>
                    <a:pt x="5840" y="33494"/>
                    <a:pt x="5840" y="33494"/>
                    <a:pt x="5840" y="33580"/>
                  </a:cubicBezTo>
                  <a:cubicBezTo>
                    <a:pt x="5850" y="33546"/>
                    <a:pt x="5850" y="33511"/>
                    <a:pt x="5840" y="33477"/>
                  </a:cubicBezTo>
                  <a:cubicBezTo>
                    <a:pt x="5840" y="33477"/>
                    <a:pt x="5840" y="33580"/>
                    <a:pt x="5840" y="33614"/>
                  </a:cubicBezTo>
                  <a:cubicBezTo>
                    <a:pt x="5600" y="33202"/>
                    <a:pt x="5685" y="28461"/>
                    <a:pt x="5222" y="30299"/>
                  </a:cubicBezTo>
                  <a:cubicBezTo>
                    <a:pt x="5222" y="30299"/>
                    <a:pt x="5222" y="30093"/>
                    <a:pt x="5222" y="30042"/>
                  </a:cubicBezTo>
                  <a:cubicBezTo>
                    <a:pt x="5222" y="29990"/>
                    <a:pt x="5222" y="30042"/>
                    <a:pt x="5222" y="30128"/>
                  </a:cubicBezTo>
                  <a:cubicBezTo>
                    <a:pt x="5222" y="30213"/>
                    <a:pt x="5222" y="29887"/>
                    <a:pt x="5067" y="29784"/>
                  </a:cubicBezTo>
                  <a:cubicBezTo>
                    <a:pt x="4913" y="29681"/>
                    <a:pt x="5067" y="29784"/>
                    <a:pt x="5067" y="29784"/>
                  </a:cubicBezTo>
                  <a:lnTo>
                    <a:pt x="5067" y="29784"/>
                  </a:lnTo>
                  <a:cubicBezTo>
                    <a:pt x="5067" y="29784"/>
                    <a:pt x="5067" y="29612"/>
                    <a:pt x="5067" y="29544"/>
                  </a:cubicBezTo>
                  <a:cubicBezTo>
                    <a:pt x="5067" y="29475"/>
                    <a:pt x="5067" y="29664"/>
                    <a:pt x="5067" y="29715"/>
                  </a:cubicBezTo>
                  <a:cubicBezTo>
                    <a:pt x="5067" y="29458"/>
                    <a:pt x="4947" y="29166"/>
                    <a:pt x="4844" y="28908"/>
                  </a:cubicBezTo>
                  <a:cubicBezTo>
                    <a:pt x="4844" y="28994"/>
                    <a:pt x="4844" y="29080"/>
                    <a:pt x="4844" y="29183"/>
                  </a:cubicBezTo>
                  <a:cubicBezTo>
                    <a:pt x="4689" y="28753"/>
                    <a:pt x="4672" y="28290"/>
                    <a:pt x="4552" y="27843"/>
                  </a:cubicBezTo>
                  <a:cubicBezTo>
                    <a:pt x="4552" y="27929"/>
                    <a:pt x="4552" y="27843"/>
                    <a:pt x="4552" y="27740"/>
                  </a:cubicBezTo>
                  <a:cubicBezTo>
                    <a:pt x="4552" y="27637"/>
                    <a:pt x="4552" y="27740"/>
                    <a:pt x="4552" y="27740"/>
                  </a:cubicBezTo>
                  <a:cubicBezTo>
                    <a:pt x="4552" y="27740"/>
                    <a:pt x="4552" y="27740"/>
                    <a:pt x="4552" y="27740"/>
                  </a:cubicBezTo>
                  <a:cubicBezTo>
                    <a:pt x="4552" y="27740"/>
                    <a:pt x="4552" y="27740"/>
                    <a:pt x="4552" y="27740"/>
                  </a:cubicBezTo>
                  <a:cubicBezTo>
                    <a:pt x="4343" y="27287"/>
                    <a:pt x="4226" y="26796"/>
                    <a:pt x="4208" y="26297"/>
                  </a:cubicBezTo>
                  <a:cubicBezTo>
                    <a:pt x="4218" y="26366"/>
                    <a:pt x="4218" y="26435"/>
                    <a:pt x="4208" y="26503"/>
                  </a:cubicBezTo>
                  <a:cubicBezTo>
                    <a:pt x="4218" y="26435"/>
                    <a:pt x="4218" y="26366"/>
                    <a:pt x="4208" y="26297"/>
                  </a:cubicBezTo>
                  <a:lnTo>
                    <a:pt x="4208" y="26297"/>
                  </a:lnTo>
                  <a:cubicBezTo>
                    <a:pt x="4208" y="26297"/>
                    <a:pt x="4208" y="26297"/>
                    <a:pt x="4208" y="26297"/>
                  </a:cubicBezTo>
                  <a:lnTo>
                    <a:pt x="4208" y="26297"/>
                  </a:lnTo>
                  <a:lnTo>
                    <a:pt x="4208" y="26297"/>
                  </a:lnTo>
                  <a:cubicBezTo>
                    <a:pt x="4208" y="26297"/>
                    <a:pt x="4208" y="26297"/>
                    <a:pt x="4208" y="26400"/>
                  </a:cubicBezTo>
                  <a:cubicBezTo>
                    <a:pt x="4208" y="26503"/>
                    <a:pt x="4208" y="26400"/>
                    <a:pt x="4208" y="26400"/>
                  </a:cubicBezTo>
                  <a:lnTo>
                    <a:pt x="4208" y="26400"/>
                  </a:lnTo>
                  <a:lnTo>
                    <a:pt x="4208" y="26400"/>
                  </a:lnTo>
                  <a:cubicBezTo>
                    <a:pt x="4208" y="26314"/>
                    <a:pt x="4208" y="26194"/>
                    <a:pt x="4208" y="26091"/>
                  </a:cubicBezTo>
                  <a:lnTo>
                    <a:pt x="4208" y="26091"/>
                  </a:lnTo>
                  <a:cubicBezTo>
                    <a:pt x="4200" y="26034"/>
                    <a:pt x="4200" y="25976"/>
                    <a:pt x="4208" y="25919"/>
                  </a:cubicBezTo>
                  <a:lnTo>
                    <a:pt x="4208" y="25919"/>
                  </a:lnTo>
                  <a:cubicBezTo>
                    <a:pt x="4191" y="25679"/>
                    <a:pt x="4191" y="25438"/>
                    <a:pt x="4208" y="25198"/>
                  </a:cubicBezTo>
                  <a:lnTo>
                    <a:pt x="4208" y="25198"/>
                  </a:lnTo>
                  <a:cubicBezTo>
                    <a:pt x="4208" y="25198"/>
                    <a:pt x="4208" y="25112"/>
                    <a:pt x="4208" y="25078"/>
                  </a:cubicBezTo>
                  <a:lnTo>
                    <a:pt x="4208" y="25078"/>
                  </a:lnTo>
                  <a:cubicBezTo>
                    <a:pt x="4764" y="15747"/>
                    <a:pt x="10928" y="7687"/>
                    <a:pt x="19787" y="4706"/>
                  </a:cubicBezTo>
                  <a:lnTo>
                    <a:pt x="19787" y="4706"/>
                  </a:lnTo>
                  <a:lnTo>
                    <a:pt x="19994" y="4706"/>
                  </a:lnTo>
                  <a:lnTo>
                    <a:pt x="19994" y="4706"/>
                  </a:lnTo>
                  <a:lnTo>
                    <a:pt x="20217" y="4706"/>
                  </a:lnTo>
                  <a:lnTo>
                    <a:pt x="20062" y="4706"/>
                  </a:lnTo>
                  <a:lnTo>
                    <a:pt x="20337" y="4706"/>
                  </a:lnTo>
                  <a:lnTo>
                    <a:pt x="20234" y="4706"/>
                  </a:lnTo>
                  <a:lnTo>
                    <a:pt x="20234" y="4706"/>
                  </a:lnTo>
                  <a:lnTo>
                    <a:pt x="20423" y="4706"/>
                  </a:lnTo>
                  <a:lnTo>
                    <a:pt x="20423" y="4706"/>
                  </a:lnTo>
                  <a:lnTo>
                    <a:pt x="21711" y="4414"/>
                  </a:lnTo>
                  <a:lnTo>
                    <a:pt x="21711" y="4414"/>
                  </a:lnTo>
                  <a:lnTo>
                    <a:pt x="22038" y="4414"/>
                  </a:lnTo>
                  <a:lnTo>
                    <a:pt x="21814" y="4414"/>
                  </a:lnTo>
                  <a:lnTo>
                    <a:pt x="21814" y="4414"/>
                  </a:lnTo>
                  <a:lnTo>
                    <a:pt x="22415" y="4414"/>
                  </a:lnTo>
                  <a:lnTo>
                    <a:pt x="22415" y="4414"/>
                  </a:lnTo>
                  <a:lnTo>
                    <a:pt x="22106" y="4414"/>
                  </a:lnTo>
                  <a:lnTo>
                    <a:pt x="22398" y="4414"/>
                  </a:lnTo>
                  <a:lnTo>
                    <a:pt x="22398" y="4414"/>
                  </a:lnTo>
                  <a:lnTo>
                    <a:pt x="22690" y="4414"/>
                  </a:lnTo>
                  <a:lnTo>
                    <a:pt x="22587" y="4414"/>
                  </a:lnTo>
                  <a:lnTo>
                    <a:pt x="22484" y="4414"/>
                  </a:lnTo>
                  <a:lnTo>
                    <a:pt x="22725" y="4414"/>
                  </a:lnTo>
                  <a:lnTo>
                    <a:pt x="22347" y="4414"/>
                  </a:lnTo>
                  <a:lnTo>
                    <a:pt x="22244" y="4414"/>
                  </a:lnTo>
                  <a:lnTo>
                    <a:pt x="22055" y="4414"/>
                  </a:lnTo>
                  <a:lnTo>
                    <a:pt x="22415" y="4414"/>
                  </a:lnTo>
                  <a:lnTo>
                    <a:pt x="22020" y="4414"/>
                  </a:lnTo>
                  <a:lnTo>
                    <a:pt x="22020" y="4414"/>
                  </a:lnTo>
                  <a:lnTo>
                    <a:pt x="21608" y="4414"/>
                  </a:lnTo>
                  <a:lnTo>
                    <a:pt x="21608" y="4414"/>
                  </a:lnTo>
                  <a:lnTo>
                    <a:pt x="21213" y="4500"/>
                  </a:lnTo>
                  <a:lnTo>
                    <a:pt x="21385" y="4500"/>
                  </a:lnTo>
                  <a:lnTo>
                    <a:pt x="21385" y="4500"/>
                  </a:lnTo>
                  <a:cubicBezTo>
                    <a:pt x="21251" y="4544"/>
                    <a:pt x="21113" y="4572"/>
                    <a:pt x="20973" y="4586"/>
                  </a:cubicBezTo>
                  <a:lnTo>
                    <a:pt x="21144" y="4586"/>
                  </a:lnTo>
                  <a:lnTo>
                    <a:pt x="20955" y="4586"/>
                  </a:lnTo>
                  <a:lnTo>
                    <a:pt x="20955" y="4586"/>
                  </a:lnTo>
                  <a:lnTo>
                    <a:pt x="20835" y="4586"/>
                  </a:lnTo>
                  <a:lnTo>
                    <a:pt x="20835" y="4586"/>
                  </a:lnTo>
                  <a:lnTo>
                    <a:pt x="20835" y="4586"/>
                  </a:lnTo>
                  <a:cubicBezTo>
                    <a:pt x="20835" y="4586"/>
                    <a:pt x="20835" y="4586"/>
                    <a:pt x="20835" y="4586"/>
                  </a:cubicBezTo>
                  <a:lnTo>
                    <a:pt x="20835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560" y="4586"/>
                  </a:lnTo>
                  <a:lnTo>
                    <a:pt x="20560" y="4586"/>
                  </a:lnTo>
                  <a:lnTo>
                    <a:pt x="20114" y="4706"/>
                  </a:lnTo>
                  <a:lnTo>
                    <a:pt x="20114" y="4706"/>
                  </a:lnTo>
                  <a:lnTo>
                    <a:pt x="19787" y="4827"/>
                  </a:lnTo>
                  <a:lnTo>
                    <a:pt x="19787" y="4827"/>
                  </a:lnTo>
                  <a:lnTo>
                    <a:pt x="19392" y="4947"/>
                  </a:lnTo>
                  <a:lnTo>
                    <a:pt x="19392" y="4947"/>
                  </a:lnTo>
                  <a:lnTo>
                    <a:pt x="19100" y="5153"/>
                  </a:lnTo>
                  <a:lnTo>
                    <a:pt x="19100" y="5153"/>
                  </a:lnTo>
                  <a:lnTo>
                    <a:pt x="18997" y="5153"/>
                  </a:lnTo>
                  <a:lnTo>
                    <a:pt x="18997" y="5153"/>
                  </a:lnTo>
                  <a:lnTo>
                    <a:pt x="18430" y="5359"/>
                  </a:lnTo>
                  <a:lnTo>
                    <a:pt x="18568" y="5359"/>
                  </a:lnTo>
                  <a:lnTo>
                    <a:pt x="18568" y="5359"/>
                  </a:lnTo>
                  <a:cubicBezTo>
                    <a:pt x="18763" y="5286"/>
                    <a:pt x="18964" y="5229"/>
                    <a:pt x="19169" y="5187"/>
                  </a:cubicBezTo>
                  <a:lnTo>
                    <a:pt x="19169" y="5187"/>
                  </a:lnTo>
                  <a:lnTo>
                    <a:pt x="19341" y="5187"/>
                  </a:lnTo>
                  <a:lnTo>
                    <a:pt x="19461" y="5187"/>
                  </a:lnTo>
                  <a:lnTo>
                    <a:pt x="19186" y="5187"/>
                  </a:lnTo>
                  <a:lnTo>
                    <a:pt x="19186" y="5187"/>
                  </a:lnTo>
                  <a:lnTo>
                    <a:pt x="19032" y="5187"/>
                  </a:lnTo>
                  <a:lnTo>
                    <a:pt x="19032" y="5187"/>
                  </a:lnTo>
                  <a:lnTo>
                    <a:pt x="18911" y="5187"/>
                  </a:lnTo>
                  <a:lnTo>
                    <a:pt x="18911" y="5187"/>
                  </a:lnTo>
                  <a:lnTo>
                    <a:pt x="18740" y="5187"/>
                  </a:lnTo>
                  <a:lnTo>
                    <a:pt x="18740" y="5187"/>
                  </a:lnTo>
                  <a:lnTo>
                    <a:pt x="18894" y="5187"/>
                  </a:lnTo>
                  <a:lnTo>
                    <a:pt x="18894" y="5187"/>
                  </a:lnTo>
                  <a:lnTo>
                    <a:pt x="19049" y="5187"/>
                  </a:lnTo>
                  <a:lnTo>
                    <a:pt x="19049" y="5187"/>
                  </a:lnTo>
                  <a:lnTo>
                    <a:pt x="18860" y="5187"/>
                  </a:lnTo>
                  <a:cubicBezTo>
                    <a:pt x="18997" y="5187"/>
                    <a:pt x="19392" y="5067"/>
                    <a:pt x="19032" y="5187"/>
                  </a:cubicBezTo>
                  <a:lnTo>
                    <a:pt x="19186" y="5187"/>
                  </a:lnTo>
                  <a:lnTo>
                    <a:pt x="19289" y="5187"/>
                  </a:lnTo>
                  <a:lnTo>
                    <a:pt x="19650" y="5084"/>
                  </a:lnTo>
                  <a:cubicBezTo>
                    <a:pt x="19252" y="5196"/>
                    <a:pt x="18862" y="5334"/>
                    <a:pt x="18482" y="5497"/>
                  </a:cubicBezTo>
                  <a:lnTo>
                    <a:pt x="18654" y="5497"/>
                  </a:lnTo>
                  <a:lnTo>
                    <a:pt x="18654" y="5497"/>
                  </a:lnTo>
                  <a:cubicBezTo>
                    <a:pt x="18654" y="5497"/>
                    <a:pt x="18860" y="5497"/>
                    <a:pt x="18740" y="5497"/>
                  </a:cubicBezTo>
                  <a:lnTo>
                    <a:pt x="18894" y="5497"/>
                  </a:lnTo>
                  <a:lnTo>
                    <a:pt x="18894" y="5497"/>
                  </a:lnTo>
                  <a:lnTo>
                    <a:pt x="19032" y="5497"/>
                  </a:lnTo>
                  <a:cubicBezTo>
                    <a:pt x="18929" y="5497"/>
                    <a:pt x="18808" y="5497"/>
                    <a:pt x="18722" y="5617"/>
                  </a:cubicBezTo>
                  <a:lnTo>
                    <a:pt x="18722" y="5617"/>
                  </a:lnTo>
                  <a:lnTo>
                    <a:pt x="18585" y="5617"/>
                  </a:lnTo>
                  <a:lnTo>
                    <a:pt x="18585" y="5617"/>
                  </a:lnTo>
                  <a:lnTo>
                    <a:pt x="18413" y="5617"/>
                  </a:lnTo>
                  <a:cubicBezTo>
                    <a:pt x="18505" y="5624"/>
                    <a:pt x="18597" y="5624"/>
                    <a:pt x="18688" y="5617"/>
                  </a:cubicBezTo>
                  <a:cubicBezTo>
                    <a:pt x="18396" y="5771"/>
                    <a:pt x="18035" y="5909"/>
                    <a:pt x="17743" y="6098"/>
                  </a:cubicBezTo>
                  <a:lnTo>
                    <a:pt x="17743" y="6098"/>
                  </a:lnTo>
                  <a:lnTo>
                    <a:pt x="17554" y="6201"/>
                  </a:lnTo>
                  <a:lnTo>
                    <a:pt x="17743" y="6201"/>
                  </a:lnTo>
                  <a:lnTo>
                    <a:pt x="17743" y="6201"/>
                  </a:lnTo>
                  <a:cubicBezTo>
                    <a:pt x="17743" y="6201"/>
                    <a:pt x="17743" y="6201"/>
                    <a:pt x="17743" y="6201"/>
                  </a:cubicBezTo>
                  <a:cubicBezTo>
                    <a:pt x="17557" y="6309"/>
                    <a:pt x="17362" y="6402"/>
                    <a:pt x="17159" y="6476"/>
                  </a:cubicBezTo>
                  <a:cubicBezTo>
                    <a:pt x="17159" y="6476"/>
                    <a:pt x="17159" y="6476"/>
                    <a:pt x="17159" y="6476"/>
                  </a:cubicBezTo>
                  <a:cubicBezTo>
                    <a:pt x="17159" y="6476"/>
                    <a:pt x="17056" y="6476"/>
                    <a:pt x="17039" y="6476"/>
                  </a:cubicBezTo>
                  <a:lnTo>
                    <a:pt x="17039" y="6476"/>
                  </a:lnTo>
                  <a:cubicBezTo>
                    <a:pt x="16976" y="6499"/>
                    <a:pt x="16918" y="6534"/>
                    <a:pt x="16867" y="6579"/>
                  </a:cubicBezTo>
                  <a:lnTo>
                    <a:pt x="16867" y="6579"/>
                  </a:lnTo>
                  <a:cubicBezTo>
                    <a:pt x="16867" y="6579"/>
                    <a:pt x="16627" y="6750"/>
                    <a:pt x="16730" y="6716"/>
                  </a:cubicBezTo>
                  <a:lnTo>
                    <a:pt x="16730" y="6716"/>
                  </a:lnTo>
                  <a:lnTo>
                    <a:pt x="16730" y="6716"/>
                  </a:lnTo>
                  <a:lnTo>
                    <a:pt x="16730" y="6716"/>
                  </a:lnTo>
                  <a:cubicBezTo>
                    <a:pt x="16730" y="6716"/>
                    <a:pt x="16730" y="6716"/>
                    <a:pt x="16730" y="6716"/>
                  </a:cubicBezTo>
                  <a:lnTo>
                    <a:pt x="16885" y="6716"/>
                  </a:lnTo>
                  <a:lnTo>
                    <a:pt x="16627" y="6853"/>
                  </a:lnTo>
                  <a:lnTo>
                    <a:pt x="16627" y="6853"/>
                  </a:lnTo>
                  <a:cubicBezTo>
                    <a:pt x="16627" y="6853"/>
                    <a:pt x="16455" y="6853"/>
                    <a:pt x="16386" y="6991"/>
                  </a:cubicBezTo>
                  <a:cubicBezTo>
                    <a:pt x="16318" y="7128"/>
                    <a:pt x="16507" y="6991"/>
                    <a:pt x="16558" y="6991"/>
                  </a:cubicBezTo>
                  <a:cubicBezTo>
                    <a:pt x="16389" y="7066"/>
                    <a:pt x="16228" y="7158"/>
                    <a:pt x="16077" y="7266"/>
                  </a:cubicBezTo>
                  <a:lnTo>
                    <a:pt x="16077" y="7266"/>
                  </a:lnTo>
                  <a:lnTo>
                    <a:pt x="16077" y="7266"/>
                  </a:lnTo>
                  <a:cubicBezTo>
                    <a:pt x="16317" y="7116"/>
                    <a:pt x="16570" y="6989"/>
                    <a:pt x="16833" y="6888"/>
                  </a:cubicBezTo>
                  <a:lnTo>
                    <a:pt x="16833" y="6888"/>
                  </a:lnTo>
                  <a:cubicBezTo>
                    <a:pt x="16833" y="6888"/>
                    <a:pt x="16833" y="6888"/>
                    <a:pt x="16833" y="6888"/>
                  </a:cubicBezTo>
                  <a:lnTo>
                    <a:pt x="16833" y="6888"/>
                  </a:lnTo>
                  <a:lnTo>
                    <a:pt x="16936" y="6888"/>
                  </a:lnTo>
                  <a:lnTo>
                    <a:pt x="16833" y="6888"/>
                  </a:lnTo>
                  <a:cubicBezTo>
                    <a:pt x="16833" y="6888"/>
                    <a:pt x="16988" y="6785"/>
                    <a:pt x="17056" y="6785"/>
                  </a:cubicBezTo>
                  <a:lnTo>
                    <a:pt x="17056" y="6785"/>
                  </a:lnTo>
                  <a:cubicBezTo>
                    <a:pt x="17056" y="6785"/>
                    <a:pt x="17314" y="6682"/>
                    <a:pt x="17159" y="6785"/>
                  </a:cubicBezTo>
                  <a:lnTo>
                    <a:pt x="17039" y="6785"/>
                  </a:lnTo>
                  <a:cubicBezTo>
                    <a:pt x="17073" y="6775"/>
                    <a:pt x="17109" y="6775"/>
                    <a:pt x="17142" y="6785"/>
                  </a:cubicBezTo>
                  <a:lnTo>
                    <a:pt x="17022" y="6785"/>
                  </a:lnTo>
                  <a:lnTo>
                    <a:pt x="17022" y="6785"/>
                  </a:lnTo>
                  <a:cubicBezTo>
                    <a:pt x="17022" y="6785"/>
                    <a:pt x="17022" y="6785"/>
                    <a:pt x="16885" y="6785"/>
                  </a:cubicBezTo>
                  <a:cubicBezTo>
                    <a:pt x="16747" y="6785"/>
                    <a:pt x="17074" y="6785"/>
                    <a:pt x="17005" y="6785"/>
                  </a:cubicBezTo>
                  <a:cubicBezTo>
                    <a:pt x="17104" y="6745"/>
                    <a:pt x="17215" y="6745"/>
                    <a:pt x="17314" y="6785"/>
                  </a:cubicBezTo>
                  <a:lnTo>
                    <a:pt x="17314" y="6785"/>
                  </a:lnTo>
                  <a:cubicBezTo>
                    <a:pt x="17125" y="6922"/>
                    <a:pt x="16902" y="7025"/>
                    <a:pt x="16696" y="7145"/>
                  </a:cubicBezTo>
                  <a:lnTo>
                    <a:pt x="16696" y="7145"/>
                  </a:lnTo>
                  <a:lnTo>
                    <a:pt x="16696" y="7145"/>
                  </a:lnTo>
                  <a:lnTo>
                    <a:pt x="16696" y="7145"/>
                  </a:lnTo>
                  <a:cubicBezTo>
                    <a:pt x="16696" y="7145"/>
                    <a:pt x="16696" y="7145"/>
                    <a:pt x="16696" y="7145"/>
                  </a:cubicBezTo>
                  <a:lnTo>
                    <a:pt x="16696" y="7145"/>
                  </a:lnTo>
                  <a:lnTo>
                    <a:pt x="16696" y="7145"/>
                  </a:lnTo>
                  <a:lnTo>
                    <a:pt x="16455" y="7300"/>
                  </a:lnTo>
                  <a:lnTo>
                    <a:pt x="16455" y="7300"/>
                  </a:lnTo>
                  <a:cubicBezTo>
                    <a:pt x="16455" y="7300"/>
                    <a:pt x="16455" y="7300"/>
                    <a:pt x="16455" y="7386"/>
                  </a:cubicBezTo>
                  <a:lnTo>
                    <a:pt x="16610" y="7386"/>
                  </a:lnTo>
                  <a:lnTo>
                    <a:pt x="16610" y="7386"/>
                  </a:lnTo>
                  <a:lnTo>
                    <a:pt x="16610" y="7489"/>
                  </a:lnTo>
                  <a:cubicBezTo>
                    <a:pt x="16610" y="7489"/>
                    <a:pt x="16610" y="7489"/>
                    <a:pt x="16610" y="7489"/>
                  </a:cubicBezTo>
                  <a:lnTo>
                    <a:pt x="16610" y="7489"/>
                  </a:lnTo>
                  <a:cubicBezTo>
                    <a:pt x="16953" y="7266"/>
                    <a:pt x="16713" y="7489"/>
                    <a:pt x="16610" y="7592"/>
                  </a:cubicBezTo>
                  <a:cubicBezTo>
                    <a:pt x="16730" y="7592"/>
                    <a:pt x="16833" y="7386"/>
                    <a:pt x="16970" y="7334"/>
                  </a:cubicBezTo>
                  <a:lnTo>
                    <a:pt x="16970" y="7334"/>
                  </a:lnTo>
                  <a:cubicBezTo>
                    <a:pt x="16970" y="7334"/>
                    <a:pt x="17280" y="7145"/>
                    <a:pt x="17108" y="7334"/>
                  </a:cubicBezTo>
                  <a:lnTo>
                    <a:pt x="17245" y="7334"/>
                  </a:lnTo>
                  <a:lnTo>
                    <a:pt x="17142" y="7334"/>
                  </a:lnTo>
                  <a:cubicBezTo>
                    <a:pt x="17142" y="7334"/>
                    <a:pt x="17142" y="7334"/>
                    <a:pt x="17142" y="7334"/>
                  </a:cubicBezTo>
                  <a:cubicBezTo>
                    <a:pt x="17142" y="7334"/>
                    <a:pt x="17022" y="7334"/>
                    <a:pt x="16988" y="7437"/>
                  </a:cubicBezTo>
                  <a:lnTo>
                    <a:pt x="16988" y="7437"/>
                  </a:lnTo>
                  <a:cubicBezTo>
                    <a:pt x="16988" y="7437"/>
                    <a:pt x="16885" y="7437"/>
                    <a:pt x="16867" y="7437"/>
                  </a:cubicBezTo>
                  <a:cubicBezTo>
                    <a:pt x="17211" y="7317"/>
                    <a:pt x="16747" y="7437"/>
                    <a:pt x="16610" y="7575"/>
                  </a:cubicBezTo>
                  <a:lnTo>
                    <a:pt x="16610" y="7575"/>
                  </a:lnTo>
                  <a:lnTo>
                    <a:pt x="16421" y="7678"/>
                  </a:lnTo>
                  <a:lnTo>
                    <a:pt x="16421" y="7678"/>
                  </a:lnTo>
                  <a:lnTo>
                    <a:pt x="16283" y="7678"/>
                  </a:lnTo>
                  <a:cubicBezTo>
                    <a:pt x="16438" y="7678"/>
                    <a:pt x="16283" y="7678"/>
                    <a:pt x="16283" y="7678"/>
                  </a:cubicBezTo>
                  <a:lnTo>
                    <a:pt x="16283" y="7678"/>
                  </a:lnTo>
                  <a:lnTo>
                    <a:pt x="16129" y="7678"/>
                  </a:lnTo>
                  <a:lnTo>
                    <a:pt x="16129" y="7678"/>
                  </a:lnTo>
                  <a:lnTo>
                    <a:pt x="16129" y="7678"/>
                  </a:lnTo>
                  <a:lnTo>
                    <a:pt x="16129" y="7678"/>
                  </a:lnTo>
                  <a:cubicBezTo>
                    <a:pt x="16026" y="7678"/>
                    <a:pt x="15923" y="7833"/>
                    <a:pt x="15820" y="7867"/>
                  </a:cubicBezTo>
                  <a:cubicBezTo>
                    <a:pt x="15717" y="7901"/>
                    <a:pt x="15974" y="7764"/>
                    <a:pt x="16043" y="7747"/>
                  </a:cubicBezTo>
                  <a:cubicBezTo>
                    <a:pt x="16112" y="7729"/>
                    <a:pt x="16043" y="7747"/>
                    <a:pt x="16043" y="7747"/>
                  </a:cubicBezTo>
                  <a:cubicBezTo>
                    <a:pt x="16131" y="7705"/>
                    <a:pt x="16223" y="7670"/>
                    <a:pt x="16318" y="7644"/>
                  </a:cubicBezTo>
                  <a:lnTo>
                    <a:pt x="16198" y="7644"/>
                  </a:lnTo>
                  <a:cubicBezTo>
                    <a:pt x="16386" y="7558"/>
                    <a:pt x="16558" y="7420"/>
                    <a:pt x="16747" y="7352"/>
                  </a:cubicBezTo>
                  <a:lnTo>
                    <a:pt x="16747" y="7352"/>
                  </a:lnTo>
                  <a:lnTo>
                    <a:pt x="16747" y="7352"/>
                  </a:lnTo>
                  <a:cubicBezTo>
                    <a:pt x="16976" y="7288"/>
                    <a:pt x="17195" y="7196"/>
                    <a:pt x="17400" y="7077"/>
                  </a:cubicBezTo>
                  <a:cubicBezTo>
                    <a:pt x="17400" y="7077"/>
                    <a:pt x="17400" y="7077"/>
                    <a:pt x="17262" y="7077"/>
                  </a:cubicBezTo>
                  <a:lnTo>
                    <a:pt x="17262" y="7077"/>
                  </a:lnTo>
                  <a:cubicBezTo>
                    <a:pt x="17366" y="7077"/>
                    <a:pt x="17761" y="6836"/>
                    <a:pt x="17520" y="6991"/>
                  </a:cubicBezTo>
                  <a:cubicBezTo>
                    <a:pt x="17692" y="6991"/>
                    <a:pt x="17692" y="6819"/>
                    <a:pt x="17846" y="6768"/>
                  </a:cubicBezTo>
                  <a:cubicBezTo>
                    <a:pt x="17692" y="6768"/>
                    <a:pt x="17846" y="6768"/>
                    <a:pt x="17846" y="6768"/>
                  </a:cubicBezTo>
                  <a:lnTo>
                    <a:pt x="17846" y="6768"/>
                  </a:lnTo>
                  <a:cubicBezTo>
                    <a:pt x="18036" y="6628"/>
                    <a:pt x="18252" y="6528"/>
                    <a:pt x="18482" y="6476"/>
                  </a:cubicBezTo>
                  <a:lnTo>
                    <a:pt x="18482" y="6476"/>
                  </a:lnTo>
                  <a:cubicBezTo>
                    <a:pt x="18662" y="6364"/>
                    <a:pt x="18859" y="6282"/>
                    <a:pt x="19066" y="6235"/>
                  </a:cubicBezTo>
                  <a:lnTo>
                    <a:pt x="18911" y="6321"/>
                  </a:lnTo>
                  <a:cubicBezTo>
                    <a:pt x="19100" y="6321"/>
                    <a:pt x="19238" y="6149"/>
                    <a:pt x="19427" y="6115"/>
                  </a:cubicBezTo>
                  <a:lnTo>
                    <a:pt x="19238" y="6252"/>
                  </a:lnTo>
                  <a:cubicBezTo>
                    <a:pt x="20286" y="5617"/>
                    <a:pt x="22038" y="4998"/>
                    <a:pt x="20303" y="5909"/>
                  </a:cubicBezTo>
                  <a:cubicBezTo>
                    <a:pt x="20578" y="5823"/>
                    <a:pt x="21230" y="5411"/>
                    <a:pt x="21024" y="5651"/>
                  </a:cubicBezTo>
                  <a:cubicBezTo>
                    <a:pt x="21780" y="5393"/>
                    <a:pt x="20629" y="6012"/>
                    <a:pt x="20303" y="6149"/>
                  </a:cubicBezTo>
                  <a:cubicBezTo>
                    <a:pt x="20698" y="6012"/>
                    <a:pt x="20303" y="6149"/>
                    <a:pt x="20303" y="6149"/>
                  </a:cubicBezTo>
                  <a:cubicBezTo>
                    <a:pt x="20303" y="6149"/>
                    <a:pt x="20560" y="5977"/>
                    <a:pt x="20406" y="6149"/>
                  </a:cubicBezTo>
                  <a:cubicBezTo>
                    <a:pt x="20663" y="5857"/>
                    <a:pt x="20921" y="6149"/>
                    <a:pt x="20492" y="6235"/>
                  </a:cubicBezTo>
                  <a:cubicBezTo>
                    <a:pt x="20448" y="6218"/>
                    <a:pt x="20398" y="6218"/>
                    <a:pt x="20354" y="6235"/>
                  </a:cubicBezTo>
                  <a:cubicBezTo>
                    <a:pt x="20612" y="6235"/>
                    <a:pt x="20251" y="6321"/>
                    <a:pt x="20165" y="6355"/>
                  </a:cubicBezTo>
                  <a:cubicBezTo>
                    <a:pt x="20818" y="6149"/>
                    <a:pt x="19616" y="6647"/>
                    <a:pt x="20337" y="6355"/>
                  </a:cubicBezTo>
                  <a:cubicBezTo>
                    <a:pt x="19427" y="6750"/>
                    <a:pt x="20749" y="6355"/>
                    <a:pt x="19856" y="6716"/>
                  </a:cubicBezTo>
                  <a:cubicBezTo>
                    <a:pt x="19856" y="6819"/>
                    <a:pt x="19856" y="6716"/>
                    <a:pt x="20097" y="6716"/>
                  </a:cubicBezTo>
                  <a:cubicBezTo>
                    <a:pt x="19967" y="6814"/>
                    <a:pt x="19822" y="6889"/>
                    <a:pt x="19667" y="6939"/>
                  </a:cubicBezTo>
                  <a:cubicBezTo>
                    <a:pt x="19564" y="6939"/>
                    <a:pt x="20423" y="6939"/>
                    <a:pt x="19495" y="7145"/>
                  </a:cubicBezTo>
                  <a:cubicBezTo>
                    <a:pt x="19392" y="7145"/>
                    <a:pt x="19959" y="7145"/>
                    <a:pt x="19358" y="7266"/>
                  </a:cubicBezTo>
                  <a:cubicBezTo>
                    <a:pt x="19856" y="7094"/>
                    <a:pt x="19925" y="7266"/>
                    <a:pt x="19358" y="7352"/>
                  </a:cubicBezTo>
                  <a:cubicBezTo>
                    <a:pt x="19581" y="7541"/>
                    <a:pt x="19255" y="7592"/>
                    <a:pt x="19358" y="7523"/>
                  </a:cubicBezTo>
                  <a:cubicBezTo>
                    <a:pt x="19083" y="7523"/>
                    <a:pt x="19358" y="7747"/>
                    <a:pt x="19049" y="7626"/>
                  </a:cubicBezTo>
                  <a:cubicBezTo>
                    <a:pt x="18860" y="7953"/>
                    <a:pt x="19186" y="7764"/>
                    <a:pt x="18860" y="7918"/>
                  </a:cubicBezTo>
                  <a:cubicBezTo>
                    <a:pt x="19118" y="7833"/>
                    <a:pt x="18654" y="8193"/>
                    <a:pt x="18860" y="8039"/>
                  </a:cubicBezTo>
                  <a:cubicBezTo>
                    <a:pt x="18534" y="8365"/>
                    <a:pt x="19152" y="7850"/>
                    <a:pt x="18705" y="8399"/>
                  </a:cubicBezTo>
                  <a:cubicBezTo>
                    <a:pt x="18482" y="8520"/>
                    <a:pt x="19066" y="8399"/>
                    <a:pt x="18551" y="8588"/>
                  </a:cubicBezTo>
                  <a:cubicBezTo>
                    <a:pt x="18929" y="8434"/>
                    <a:pt x="18637" y="8966"/>
                    <a:pt x="18396" y="8829"/>
                  </a:cubicBezTo>
                  <a:cubicBezTo>
                    <a:pt x="18396" y="8966"/>
                    <a:pt x="18242" y="9069"/>
                    <a:pt x="18190" y="8966"/>
                  </a:cubicBezTo>
                  <a:cubicBezTo>
                    <a:pt x="18138" y="8863"/>
                    <a:pt x="18018" y="9155"/>
                    <a:pt x="18190" y="8966"/>
                  </a:cubicBezTo>
                  <a:cubicBezTo>
                    <a:pt x="18362" y="8777"/>
                    <a:pt x="17692" y="9447"/>
                    <a:pt x="17846" y="9155"/>
                  </a:cubicBezTo>
                  <a:cubicBezTo>
                    <a:pt x="17709" y="8966"/>
                    <a:pt x="18173" y="8709"/>
                    <a:pt x="18224" y="8605"/>
                  </a:cubicBezTo>
                  <a:cubicBezTo>
                    <a:pt x="17915" y="8777"/>
                    <a:pt x="18104" y="8605"/>
                    <a:pt x="18224" y="8434"/>
                  </a:cubicBezTo>
                  <a:cubicBezTo>
                    <a:pt x="18345" y="8262"/>
                    <a:pt x="17967" y="8640"/>
                    <a:pt x="18053" y="8434"/>
                  </a:cubicBezTo>
                  <a:cubicBezTo>
                    <a:pt x="17761" y="8709"/>
                    <a:pt x="17589" y="8743"/>
                    <a:pt x="17486" y="9155"/>
                  </a:cubicBezTo>
                  <a:cubicBezTo>
                    <a:pt x="17383" y="9567"/>
                    <a:pt x="16816" y="10065"/>
                    <a:pt x="16747" y="9842"/>
                  </a:cubicBezTo>
                  <a:cubicBezTo>
                    <a:pt x="16678" y="9619"/>
                    <a:pt x="16867" y="9722"/>
                    <a:pt x="16747" y="9396"/>
                  </a:cubicBezTo>
                  <a:cubicBezTo>
                    <a:pt x="16524" y="9791"/>
                    <a:pt x="16524" y="10306"/>
                    <a:pt x="16524" y="10306"/>
                  </a:cubicBezTo>
                  <a:cubicBezTo>
                    <a:pt x="15820" y="10461"/>
                    <a:pt x="16644" y="9104"/>
                    <a:pt x="16799" y="9069"/>
                  </a:cubicBezTo>
                  <a:cubicBezTo>
                    <a:pt x="16524" y="9172"/>
                    <a:pt x="16799" y="9069"/>
                    <a:pt x="16558" y="9069"/>
                  </a:cubicBezTo>
                  <a:cubicBezTo>
                    <a:pt x="16678" y="8897"/>
                    <a:pt x="16386" y="9155"/>
                    <a:pt x="16301" y="9069"/>
                  </a:cubicBezTo>
                  <a:cubicBezTo>
                    <a:pt x="16215" y="8983"/>
                    <a:pt x="17005" y="8382"/>
                    <a:pt x="16850" y="8794"/>
                  </a:cubicBezTo>
                  <a:cubicBezTo>
                    <a:pt x="18310" y="8485"/>
                    <a:pt x="19203" y="7077"/>
                    <a:pt x="19530" y="6733"/>
                  </a:cubicBezTo>
                  <a:cubicBezTo>
                    <a:pt x="19032" y="7145"/>
                    <a:pt x="19169" y="6733"/>
                    <a:pt x="18980" y="6733"/>
                  </a:cubicBezTo>
                  <a:cubicBezTo>
                    <a:pt x="18791" y="6733"/>
                    <a:pt x="19238" y="6579"/>
                    <a:pt x="18980" y="6561"/>
                  </a:cubicBezTo>
                  <a:cubicBezTo>
                    <a:pt x="19203" y="6321"/>
                    <a:pt x="18980" y="6561"/>
                    <a:pt x="18980" y="6373"/>
                  </a:cubicBezTo>
                  <a:lnTo>
                    <a:pt x="19083" y="6373"/>
                  </a:lnTo>
                  <a:lnTo>
                    <a:pt x="18929" y="6458"/>
                  </a:lnTo>
                  <a:cubicBezTo>
                    <a:pt x="18671" y="6579"/>
                    <a:pt x="18430" y="6733"/>
                    <a:pt x="18173" y="6871"/>
                  </a:cubicBezTo>
                  <a:lnTo>
                    <a:pt x="18173" y="6871"/>
                  </a:lnTo>
                  <a:lnTo>
                    <a:pt x="18293" y="6871"/>
                  </a:lnTo>
                  <a:lnTo>
                    <a:pt x="18242" y="6871"/>
                  </a:lnTo>
                  <a:lnTo>
                    <a:pt x="18242" y="6871"/>
                  </a:lnTo>
                  <a:cubicBezTo>
                    <a:pt x="18242" y="6957"/>
                    <a:pt x="17984" y="6871"/>
                    <a:pt x="17898" y="7025"/>
                  </a:cubicBezTo>
                  <a:lnTo>
                    <a:pt x="17898" y="7025"/>
                  </a:lnTo>
                  <a:lnTo>
                    <a:pt x="17898" y="7025"/>
                  </a:lnTo>
                  <a:lnTo>
                    <a:pt x="18001" y="7025"/>
                  </a:lnTo>
                  <a:cubicBezTo>
                    <a:pt x="18001" y="7025"/>
                    <a:pt x="18001" y="7025"/>
                    <a:pt x="18001" y="7025"/>
                  </a:cubicBezTo>
                  <a:lnTo>
                    <a:pt x="18001" y="7025"/>
                  </a:lnTo>
                  <a:cubicBezTo>
                    <a:pt x="18001" y="7025"/>
                    <a:pt x="17881" y="7025"/>
                    <a:pt x="17829" y="7025"/>
                  </a:cubicBezTo>
                  <a:lnTo>
                    <a:pt x="17829" y="7025"/>
                  </a:lnTo>
                  <a:lnTo>
                    <a:pt x="17829" y="7025"/>
                  </a:lnTo>
                  <a:cubicBezTo>
                    <a:pt x="17623" y="7180"/>
                    <a:pt x="17400" y="7300"/>
                    <a:pt x="17177" y="7437"/>
                  </a:cubicBezTo>
                  <a:lnTo>
                    <a:pt x="17434" y="7334"/>
                  </a:lnTo>
                  <a:lnTo>
                    <a:pt x="17434" y="7334"/>
                  </a:lnTo>
                  <a:lnTo>
                    <a:pt x="17864" y="7111"/>
                  </a:lnTo>
                  <a:cubicBezTo>
                    <a:pt x="17702" y="7258"/>
                    <a:pt x="17523" y="7385"/>
                    <a:pt x="17331" y="7489"/>
                  </a:cubicBezTo>
                  <a:lnTo>
                    <a:pt x="17331" y="7489"/>
                  </a:lnTo>
                  <a:cubicBezTo>
                    <a:pt x="17075" y="7607"/>
                    <a:pt x="16843" y="7770"/>
                    <a:pt x="16644" y="7970"/>
                  </a:cubicBezTo>
                  <a:cubicBezTo>
                    <a:pt x="16644" y="7970"/>
                    <a:pt x="16747" y="7884"/>
                    <a:pt x="16799" y="7884"/>
                  </a:cubicBezTo>
                  <a:lnTo>
                    <a:pt x="16799" y="7884"/>
                  </a:lnTo>
                  <a:lnTo>
                    <a:pt x="17675" y="7437"/>
                  </a:lnTo>
                  <a:lnTo>
                    <a:pt x="17675" y="7437"/>
                  </a:lnTo>
                  <a:lnTo>
                    <a:pt x="17675" y="7437"/>
                  </a:lnTo>
                  <a:cubicBezTo>
                    <a:pt x="17675" y="7437"/>
                    <a:pt x="17675" y="7334"/>
                    <a:pt x="17812" y="7352"/>
                  </a:cubicBezTo>
                  <a:lnTo>
                    <a:pt x="17812" y="7352"/>
                  </a:lnTo>
                  <a:cubicBezTo>
                    <a:pt x="17812" y="7352"/>
                    <a:pt x="17812" y="7352"/>
                    <a:pt x="17932" y="7352"/>
                  </a:cubicBezTo>
                  <a:lnTo>
                    <a:pt x="17932" y="7352"/>
                  </a:lnTo>
                  <a:lnTo>
                    <a:pt x="18362" y="7111"/>
                  </a:lnTo>
                  <a:cubicBezTo>
                    <a:pt x="18362" y="7111"/>
                    <a:pt x="18362" y="7111"/>
                    <a:pt x="18362" y="7266"/>
                  </a:cubicBezTo>
                  <a:lnTo>
                    <a:pt x="18362" y="7266"/>
                  </a:lnTo>
                  <a:cubicBezTo>
                    <a:pt x="18341" y="7321"/>
                    <a:pt x="18297" y="7365"/>
                    <a:pt x="18242" y="7386"/>
                  </a:cubicBezTo>
                  <a:cubicBezTo>
                    <a:pt x="18242" y="7300"/>
                    <a:pt x="18242" y="7472"/>
                    <a:pt x="18104" y="7489"/>
                  </a:cubicBezTo>
                  <a:cubicBezTo>
                    <a:pt x="17967" y="7506"/>
                    <a:pt x="17967" y="7626"/>
                    <a:pt x="17898" y="7626"/>
                  </a:cubicBezTo>
                  <a:cubicBezTo>
                    <a:pt x="17829" y="7626"/>
                    <a:pt x="17898" y="7626"/>
                    <a:pt x="17898" y="7626"/>
                  </a:cubicBezTo>
                  <a:lnTo>
                    <a:pt x="17898" y="7626"/>
                  </a:lnTo>
                  <a:cubicBezTo>
                    <a:pt x="17898" y="7626"/>
                    <a:pt x="17606" y="7764"/>
                    <a:pt x="17692" y="7626"/>
                  </a:cubicBezTo>
                  <a:lnTo>
                    <a:pt x="17692" y="7626"/>
                  </a:lnTo>
                  <a:cubicBezTo>
                    <a:pt x="17692" y="7626"/>
                    <a:pt x="17692" y="7712"/>
                    <a:pt x="17537" y="7729"/>
                  </a:cubicBezTo>
                  <a:lnTo>
                    <a:pt x="17537" y="7729"/>
                  </a:lnTo>
                  <a:cubicBezTo>
                    <a:pt x="17537" y="7729"/>
                    <a:pt x="17417" y="7729"/>
                    <a:pt x="17537" y="7729"/>
                  </a:cubicBezTo>
                  <a:cubicBezTo>
                    <a:pt x="17222" y="8004"/>
                    <a:pt x="16845" y="8199"/>
                    <a:pt x="16438" y="8296"/>
                  </a:cubicBezTo>
                  <a:cubicBezTo>
                    <a:pt x="16466" y="8278"/>
                    <a:pt x="16495" y="8261"/>
                    <a:pt x="16524" y="8245"/>
                  </a:cubicBezTo>
                  <a:lnTo>
                    <a:pt x="16524" y="8245"/>
                  </a:lnTo>
                  <a:lnTo>
                    <a:pt x="16661" y="8125"/>
                  </a:lnTo>
                  <a:lnTo>
                    <a:pt x="16661" y="8125"/>
                  </a:lnTo>
                  <a:cubicBezTo>
                    <a:pt x="16661" y="8125"/>
                    <a:pt x="16490" y="8210"/>
                    <a:pt x="16661" y="8125"/>
                  </a:cubicBezTo>
                  <a:cubicBezTo>
                    <a:pt x="16557" y="8250"/>
                    <a:pt x="16436" y="8360"/>
                    <a:pt x="16301" y="8451"/>
                  </a:cubicBezTo>
                  <a:lnTo>
                    <a:pt x="16404" y="8296"/>
                  </a:lnTo>
                  <a:cubicBezTo>
                    <a:pt x="16404" y="8296"/>
                    <a:pt x="16404" y="8382"/>
                    <a:pt x="16283" y="8399"/>
                  </a:cubicBezTo>
                  <a:cubicBezTo>
                    <a:pt x="16163" y="8417"/>
                    <a:pt x="16283" y="8399"/>
                    <a:pt x="16283" y="8399"/>
                  </a:cubicBezTo>
                  <a:lnTo>
                    <a:pt x="16283" y="8399"/>
                  </a:lnTo>
                  <a:lnTo>
                    <a:pt x="16438" y="8279"/>
                  </a:lnTo>
                  <a:cubicBezTo>
                    <a:pt x="16438" y="8279"/>
                    <a:pt x="16335" y="8279"/>
                    <a:pt x="16438" y="8279"/>
                  </a:cubicBezTo>
                  <a:lnTo>
                    <a:pt x="16438" y="8279"/>
                  </a:lnTo>
                  <a:lnTo>
                    <a:pt x="16438" y="8279"/>
                  </a:lnTo>
                  <a:cubicBezTo>
                    <a:pt x="16260" y="8438"/>
                    <a:pt x="16057" y="8566"/>
                    <a:pt x="15837" y="8657"/>
                  </a:cubicBezTo>
                  <a:lnTo>
                    <a:pt x="15837" y="8657"/>
                  </a:lnTo>
                  <a:cubicBezTo>
                    <a:pt x="15510" y="8846"/>
                    <a:pt x="15837" y="8520"/>
                    <a:pt x="15837" y="8365"/>
                  </a:cubicBezTo>
                  <a:cubicBezTo>
                    <a:pt x="15545" y="8537"/>
                    <a:pt x="15614" y="8846"/>
                    <a:pt x="15287" y="8932"/>
                  </a:cubicBezTo>
                  <a:lnTo>
                    <a:pt x="15287" y="8932"/>
                  </a:lnTo>
                  <a:lnTo>
                    <a:pt x="14841" y="9138"/>
                  </a:lnTo>
                  <a:cubicBezTo>
                    <a:pt x="14841" y="9138"/>
                    <a:pt x="14841" y="9138"/>
                    <a:pt x="14841" y="9138"/>
                  </a:cubicBezTo>
                  <a:lnTo>
                    <a:pt x="14841" y="9138"/>
                  </a:lnTo>
                  <a:lnTo>
                    <a:pt x="14841" y="9138"/>
                  </a:lnTo>
                  <a:cubicBezTo>
                    <a:pt x="14841" y="9138"/>
                    <a:pt x="14841" y="9138"/>
                    <a:pt x="14961" y="9035"/>
                  </a:cubicBezTo>
                  <a:cubicBezTo>
                    <a:pt x="15081" y="8932"/>
                    <a:pt x="14841" y="9035"/>
                    <a:pt x="14806" y="9121"/>
                  </a:cubicBezTo>
                  <a:cubicBezTo>
                    <a:pt x="14849" y="9096"/>
                    <a:pt x="14884" y="9060"/>
                    <a:pt x="14909" y="9018"/>
                  </a:cubicBezTo>
                  <a:cubicBezTo>
                    <a:pt x="14909" y="9018"/>
                    <a:pt x="14514" y="9344"/>
                    <a:pt x="14686" y="9138"/>
                  </a:cubicBezTo>
                  <a:lnTo>
                    <a:pt x="14531" y="9258"/>
                  </a:lnTo>
                  <a:cubicBezTo>
                    <a:pt x="14601" y="9111"/>
                    <a:pt x="14687" y="8973"/>
                    <a:pt x="14789" y="8846"/>
                  </a:cubicBezTo>
                  <a:lnTo>
                    <a:pt x="14789" y="8846"/>
                  </a:lnTo>
                  <a:lnTo>
                    <a:pt x="14789" y="8846"/>
                  </a:lnTo>
                  <a:lnTo>
                    <a:pt x="14703" y="8949"/>
                  </a:lnTo>
                  <a:cubicBezTo>
                    <a:pt x="14909" y="8794"/>
                    <a:pt x="14600" y="9138"/>
                    <a:pt x="14549" y="9121"/>
                  </a:cubicBezTo>
                  <a:lnTo>
                    <a:pt x="14686" y="9121"/>
                  </a:lnTo>
                  <a:cubicBezTo>
                    <a:pt x="14549" y="9361"/>
                    <a:pt x="13999" y="9653"/>
                    <a:pt x="14411" y="9121"/>
                  </a:cubicBezTo>
                  <a:cubicBezTo>
                    <a:pt x="14274" y="9207"/>
                    <a:pt x="14205" y="9361"/>
                    <a:pt x="14085" y="9447"/>
                  </a:cubicBezTo>
                  <a:lnTo>
                    <a:pt x="14085" y="9447"/>
                  </a:lnTo>
                  <a:lnTo>
                    <a:pt x="14085" y="9447"/>
                  </a:lnTo>
                  <a:lnTo>
                    <a:pt x="14085" y="9447"/>
                  </a:lnTo>
                  <a:lnTo>
                    <a:pt x="13930" y="9585"/>
                  </a:lnTo>
                  <a:cubicBezTo>
                    <a:pt x="13930" y="9585"/>
                    <a:pt x="13930" y="9585"/>
                    <a:pt x="13930" y="9585"/>
                  </a:cubicBezTo>
                  <a:cubicBezTo>
                    <a:pt x="13930" y="9585"/>
                    <a:pt x="13810" y="9585"/>
                    <a:pt x="13776" y="9585"/>
                  </a:cubicBezTo>
                  <a:cubicBezTo>
                    <a:pt x="13741" y="9585"/>
                    <a:pt x="13260" y="9911"/>
                    <a:pt x="13123" y="9945"/>
                  </a:cubicBezTo>
                  <a:lnTo>
                    <a:pt x="13123" y="9945"/>
                  </a:lnTo>
                  <a:cubicBezTo>
                    <a:pt x="12737" y="10291"/>
                    <a:pt x="12330" y="10612"/>
                    <a:pt x="11903" y="10907"/>
                  </a:cubicBezTo>
                  <a:cubicBezTo>
                    <a:pt x="12900" y="10254"/>
                    <a:pt x="11749" y="11405"/>
                    <a:pt x="11525" y="11405"/>
                  </a:cubicBezTo>
                  <a:cubicBezTo>
                    <a:pt x="11972" y="11405"/>
                    <a:pt x="11732" y="11783"/>
                    <a:pt x="11525" y="12092"/>
                  </a:cubicBezTo>
                  <a:lnTo>
                    <a:pt x="11525" y="12092"/>
                  </a:lnTo>
                  <a:cubicBezTo>
                    <a:pt x="11512" y="12253"/>
                    <a:pt x="11471" y="12409"/>
                    <a:pt x="11405" y="12556"/>
                  </a:cubicBezTo>
                  <a:cubicBezTo>
                    <a:pt x="11525" y="12556"/>
                    <a:pt x="11508" y="12693"/>
                    <a:pt x="11629" y="12693"/>
                  </a:cubicBezTo>
                  <a:lnTo>
                    <a:pt x="11629" y="12693"/>
                  </a:lnTo>
                  <a:cubicBezTo>
                    <a:pt x="11143" y="13178"/>
                    <a:pt x="10727" y="13727"/>
                    <a:pt x="10392" y="14325"/>
                  </a:cubicBezTo>
                  <a:cubicBezTo>
                    <a:pt x="10598" y="14325"/>
                    <a:pt x="10546" y="14325"/>
                    <a:pt x="10753" y="14188"/>
                  </a:cubicBezTo>
                  <a:cubicBezTo>
                    <a:pt x="10753" y="14274"/>
                    <a:pt x="10546" y="14445"/>
                    <a:pt x="10649" y="14514"/>
                  </a:cubicBezTo>
                  <a:cubicBezTo>
                    <a:pt x="11067" y="13670"/>
                    <a:pt x="11757" y="12992"/>
                    <a:pt x="12608" y="12590"/>
                  </a:cubicBezTo>
                  <a:cubicBezTo>
                    <a:pt x="13106" y="12024"/>
                    <a:pt x="13484" y="11337"/>
                    <a:pt x="13999" y="11148"/>
                  </a:cubicBezTo>
                  <a:lnTo>
                    <a:pt x="13999" y="11148"/>
                  </a:lnTo>
                  <a:cubicBezTo>
                    <a:pt x="14085" y="11148"/>
                    <a:pt x="14119" y="10976"/>
                    <a:pt x="14205" y="10976"/>
                  </a:cubicBezTo>
                  <a:cubicBezTo>
                    <a:pt x="14291" y="10976"/>
                    <a:pt x="14205" y="10873"/>
                    <a:pt x="14325" y="10856"/>
                  </a:cubicBezTo>
                  <a:cubicBezTo>
                    <a:pt x="14446" y="10838"/>
                    <a:pt x="15493" y="9808"/>
                    <a:pt x="15081" y="10409"/>
                  </a:cubicBezTo>
                  <a:cubicBezTo>
                    <a:pt x="15081" y="10409"/>
                    <a:pt x="15253" y="10409"/>
                    <a:pt x="15201" y="10409"/>
                  </a:cubicBezTo>
                  <a:lnTo>
                    <a:pt x="15201" y="10409"/>
                  </a:lnTo>
                  <a:cubicBezTo>
                    <a:pt x="15510" y="10409"/>
                    <a:pt x="15201" y="10409"/>
                    <a:pt x="15304" y="10564"/>
                  </a:cubicBezTo>
                  <a:cubicBezTo>
                    <a:pt x="15407" y="10718"/>
                    <a:pt x="15201" y="10649"/>
                    <a:pt x="15167" y="10701"/>
                  </a:cubicBezTo>
                  <a:lnTo>
                    <a:pt x="15167" y="10701"/>
                  </a:lnTo>
                  <a:cubicBezTo>
                    <a:pt x="15167" y="10701"/>
                    <a:pt x="15167" y="10804"/>
                    <a:pt x="15167" y="10856"/>
                  </a:cubicBezTo>
                  <a:lnTo>
                    <a:pt x="15167" y="10856"/>
                  </a:lnTo>
                  <a:cubicBezTo>
                    <a:pt x="15167" y="10856"/>
                    <a:pt x="15167" y="10941"/>
                    <a:pt x="15167" y="10941"/>
                  </a:cubicBezTo>
                  <a:lnTo>
                    <a:pt x="15167" y="10941"/>
                  </a:lnTo>
                  <a:cubicBezTo>
                    <a:pt x="15167" y="10941"/>
                    <a:pt x="15167" y="11027"/>
                    <a:pt x="15047" y="11079"/>
                  </a:cubicBez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cubicBezTo>
                    <a:pt x="15201" y="11079"/>
                    <a:pt x="15047" y="11165"/>
                    <a:pt x="15047" y="11216"/>
                  </a:cubicBezTo>
                  <a:cubicBezTo>
                    <a:pt x="15047" y="11268"/>
                    <a:pt x="15150" y="11113"/>
                    <a:pt x="15201" y="11130"/>
                  </a:cubicBezTo>
                  <a:cubicBezTo>
                    <a:pt x="15253" y="11148"/>
                    <a:pt x="14909" y="11337"/>
                    <a:pt x="14789" y="11508"/>
                  </a:cubicBezTo>
                  <a:lnTo>
                    <a:pt x="14789" y="11508"/>
                  </a:lnTo>
                  <a:cubicBezTo>
                    <a:pt x="14789" y="11508"/>
                    <a:pt x="14652" y="11629"/>
                    <a:pt x="14583" y="11508"/>
                  </a:cubicBezTo>
                  <a:cubicBezTo>
                    <a:pt x="14772" y="11680"/>
                    <a:pt x="14308" y="12041"/>
                    <a:pt x="14325" y="11989"/>
                  </a:cubicBezTo>
                  <a:cubicBezTo>
                    <a:pt x="14342" y="11938"/>
                    <a:pt x="14325" y="12144"/>
                    <a:pt x="14325" y="11989"/>
                  </a:cubicBezTo>
                  <a:cubicBezTo>
                    <a:pt x="14325" y="11835"/>
                    <a:pt x="14119" y="12264"/>
                    <a:pt x="14016" y="12367"/>
                  </a:cubicBezTo>
                  <a:cubicBezTo>
                    <a:pt x="14291" y="12178"/>
                    <a:pt x="14360" y="12144"/>
                    <a:pt x="14016" y="12367"/>
                  </a:cubicBezTo>
                  <a:cubicBezTo>
                    <a:pt x="14016" y="12367"/>
                    <a:pt x="14308" y="12127"/>
                    <a:pt x="14308" y="12230"/>
                  </a:cubicBezTo>
                  <a:cubicBezTo>
                    <a:pt x="14308" y="12333"/>
                    <a:pt x="14463" y="12109"/>
                    <a:pt x="14549" y="12075"/>
                  </a:cubicBezTo>
                  <a:cubicBezTo>
                    <a:pt x="14564" y="12131"/>
                    <a:pt x="14564" y="12191"/>
                    <a:pt x="14549" y="12247"/>
                  </a:cubicBezTo>
                  <a:cubicBezTo>
                    <a:pt x="14549" y="12161"/>
                    <a:pt x="14961" y="11800"/>
                    <a:pt x="14995" y="11921"/>
                  </a:cubicBezTo>
                  <a:cubicBezTo>
                    <a:pt x="15030" y="12041"/>
                    <a:pt x="14995" y="11921"/>
                    <a:pt x="14995" y="11921"/>
                  </a:cubicBezTo>
                  <a:cubicBezTo>
                    <a:pt x="14995" y="11921"/>
                    <a:pt x="14995" y="11817"/>
                    <a:pt x="15133" y="11817"/>
                  </a:cubicBezTo>
                  <a:lnTo>
                    <a:pt x="15133" y="11817"/>
                  </a:lnTo>
                  <a:cubicBezTo>
                    <a:pt x="15133" y="11732"/>
                    <a:pt x="15579" y="11457"/>
                    <a:pt x="15442" y="11577"/>
                  </a:cubicBezTo>
                  <a:lnTo>
                    <a:pt x="15442" y="11577"/>
                  </a:lnTo>
                  <a:cubicBezTo>
                    <a:pt x="15442" y="11577"/>
                    <a:pt x="15442" y="11697"/>
                    <a:pt x="15322" y="11697"/>
                  </a:cubicBezTo>
                  <a:cubicBezTo>
                    <a:pt x="15201" y="11697"/>
                    <a:pt x="15322" y="11697"/>
                    <a:pt x="15322" y="11783"/>
                  </a:cubicBezTo>
                  <a:lnTo>
                    <a:pt x="15322" y="11783"/>
                  </a:lnTo>
                  <a:cubicBezTo>
                    <a:pt x="15218" y="11783"/>
                    <a:pt x="15322" y="11955"/>
                    <a:pt x="15150" y="12006"/>
                  </a:cubicBezTo>
                  <a:cubicBezTo>
                    <a:pt x="14978" y="12058"/>
                    <a:pt x="15150" y="12127"/>
                    <a:pt x="15150" y="12006"/>
                  </a:cubicBezTo>
                  <a:cubicBezTo>
                    <a:pt x="15150" y="11886"/>
                    <a:pt x="14789" y="12161"/>
                    <a:pt x="15150" y="12144"/>
                  </a:cubicBezTo>
                  <a:cubicBezTo>
                    <a:pt x="15510" y="12127"/>
                    <a:pt x="14961" y="12298"/>
                    <a:pt x="15150" y="12247"/>
                  </a:cubicBezTo>
                  <a:cubicBezTo>
                    <a:pt x="15339" y="12195"/>
                    <a:pt x="14995" y="12419"/>
                    <a:pt x="14978" y="12247"/>
                  </a:cubicBezTo>
                  <a:cubicBezTo>
                    <a:pt x="14961" y="12075"/>
                    <a:pt x="14978" y="12333"/>
                    <a:pt x="14978" y="12350"/>
                  </a:cubicBezTo>
                  <a:cubicBezTo>
                    <a:pt x="14978" y="12367"/>
                    <a:pt x="15098" y="12350"/>
                    <a:pt x="15150" y="12350"/>
                  </a:cubicBezTo>
                  <a:cubicBezTo>
                    <a:pt x="15201" y="12350"/>
                    <a:pt x="14961" y="12350"/>
                    <a:pt x="14892" y="12505"/>
                  </a:cubicBezTo>
                  <a:cubicBezTo>
                    <a:pt x="15133" y="12505"/>
                    <a:pt x="15047" y="12505"/>
                    <a:pt x="14892" y="12608"/>
                  </a:cubicBezTo>
                  <a:cubicBezTo>
                    <a:pt x="14738" y="12711"/>
                    <a:pt x="14892" y="12608"/>
                    <a:pt x="14995" y="12608"/>
                  </a:cubicBezTo>
                  <a:cubicBezTo>
                    <a:pt x="15011" y="12682"/>
                    <a:pt x="14963" y="12755"/>
                    <a:pt x="14889" y="12770"/>
                  </a:cubicBezTo>
                  <a:cubicBezTo>
                    <a:pt x="14861" y="12776"/>
                    <a:pt x="14832" y="12773"/>
                    <a:pt x="14806" y="12762"/>
                  </a:cubicBezTo>
                  <a:cubicBezTo>
                    <a:pt x="14806" y="12762"/>
                    <a:pt x="14961" y="12848"/>
                    <a:pt x="14806" y="12917"/>
                  </a:cubicBezTo>
                  <a:cubicBezTo>
                    <a:pt x="14995" y="13020"/>
                    <a:pt x="14600" y="13157"/>
                    <a:pt x="14566" y="13089"/>
                  </a:cubicBezTo>
                  <a:cubicBezTo>
                    <a:pt x="14531" y="13020"/>
                    <a:pt x="14566" y="13363"/>
                    <a:pt x="14411" y="13312"/>
                  </a:cubicBezTo>
                  <a:cubicBezTo>
                    <a:pt x="14257" y="13260"/>
                    <a:pt x="14669" y="13312"/>
                    <a:pt x="14531" y="13415"/>
                  </a:cubicBezTo>
                  <a:cubicBezTo>
                    <a:pt x="14394" y="13518"/>
                    <a:pt x="14531" y="13415"/>
                    <a:pt x="14531" y="13501"/>
                  </a:cubicBezTo>
                  <a:cubicBezTo>
                    <a:pt x="14531" y="13587"/>
                    <a:pt x="14531" y="13501"/>
                    <a:pt x="14531" y="13621"/>
                  </a:cubicBezTo>
                  <a:lnTo>
                    <a:pt x="14634" y="13621"/>
                  </a:lnTo>
                  <a:cubicBezTo>
                    <a:pt x="14634" y="13707"/>
                    <a:pt x="14428" y="13879"/>
                    <a:pt x="14325" y="13844"/>
                  </a:cubicBezTo>
                  <a:cubicBezTo>
                    <a:pt x="14222" y="13810"/>
                    <a:pt x="14480" y="13844"/>
                    <a:pt x="14549" y="13844"/>
                  </a:cubicBezTo>
                  <a:cubicBezTo>
                    <a:pt x="14325" y="14050"/>
                    <a:pt x="14549" y="13844"/>
                    <a:pt x="14549" y="13844"/>
                  </a:cubicBezTo>
                  <a:cubicBezTo>
                    <a:pt x="14549" y="13844"/>
                    <a:pt x="14549" y="13844"/>
                    <a:pt x="14394" y="13999"/>
                  </a:cubicBezTo>
                  <a:cubicBezTo>
                    <a:pt x="14394" y="13999"/>
                    <a:pt x="14686" y="13810"/>
                    <a:pt x="14549" y="13999"/>
                  </a:cubicBezTo>
                  <a:lnTo>
                    <a:pt x="14549" y="13999"/>
                  </a:lnTo>
                  <a:cubicBezTo>
                    <a:pt x="14549" y="13999"/>
                    <a:pt x="14463" y="14102"/>
                    <a:pt x="14446" y="14153"/>
                  </a:cubicBezTo>
                  <a:cubicBezTo>
                    <a:pt x="14428" y="14205"/>
                    <a:pt x="14755" y="14153"/>
                    <a:pt x="14549" y="14153"/>
                  </a:cubicBezTo>
                  <a:cubicBezTo>
                    <a:pt x="14806" y="14342"/>
                    <a:pt x="14205" y="14239"/>
                    <a:pt x="14119" y="14360"/>
                  </a:cubicBezTo>
                  <a:cubicBezTo>
                    <a:pt x="14566" y="14360"/>
                    <a:pt x="13982" y="14360"/>
                    <a:pt x="13896" y="14497"/>
                  </a:cubicBezTo>
                  <a:cubicBezTo>
                    <a:pt x="13870" y="14437"/>
                    <a:pt x="13870" y="14368"/>
                    <a:pt x="13896" y="14308"/>
                  </a:cubicBezTo>
                  <a:cubicBezTo>
                    <a:pt x="13896" y="14445"/>
                    <a:pt x="13896" y="14531"/>
                    <a:pt x="13793" y="14634"/>
                  </a:cubicBezTo>
                  <a:cubicBezTo>
                    <a:pt x="13982" y="14634"/>
                    <a:pt x="14188" y="14342"/>
                    <a:pt x="14428" y="14411"/>
                  </a:cubicBezTo>
                  <a:cubicBezTo>
                    <a:pt x="14308" y="14257"/>
                    <a:pt x="14806" y="14411"/>
                    <a:pt x="14428" y="14617"/>
                  </a:cubicBezTo>
                  <a:cubicBezTo>
                    <a:pt x="14428" y="14617"/>
                    <a:pt x="14428" y="14617"/>
                    <a:pt x="14428" y="14617"/>
                  </a:cubicBezTo>
                  <a:cubicBezTo>
                    <a:pt x="14428" y="14617"/>
                    <a:pt x="14703" y="14463"/>
                    <a:pt x="14566" y="14617"/>
                  </a:cubicBezTo>
                  <a:cubicBezTo>
                    <a:pt x="14428" y="14772"/>
                    <a:pt x="14669" y="14617"/>
                    <a:pt x="14652" y="14617"/>
                  </a:cubicBezTo>
                  <a:cubicBezTo>
                    <a:pt x="14634" y="14617"/>
                    <a:pt x="14652" y="14789"/>
                    <a:pt x="14497" y="14772"/>
                  </a:cubicBezTo>
                  <a:cubicBezTo>
                    <a:pt x="14600" y="14772"/>
                    <a:pt x="14360" y="14995"/>
                    <a:pt x="14360" y="14875"/>
                  </a:cubicBezTo>
                  <a:cubicBezTo>
                    <a:pt x="14360" y="14755"/>
                    <a:pt x="14549" y="15047"/>
                    <a:pt x="14360" y="15012"/>
                  </a:cubicBezTo>
                  <a:cubicBezTo>
                    <a:pt x="14583" y="15115"/>
                    <a:pt x="13879" y="15407"/>
                    <a:pt x="13844" y="15287"/>
                  </a:cubicBezTo>
                  <a:cubicBezTo>
                    <a:pt x="13810" y="15167"/>
                    <a:pt x="13724" y="15287"/>
                    <a:pt x="13844" y="15287"/>
                  </a:cubicBezTo>
                  <a:cubicBezTo>
                    <a:pt x="13381" y="15682"/>
                    <a:pt x="13003" y="15734"/>
                    <a:pt x="12590" y="15407"/>
                  </a:cubicBezTo>
                  <a:cubicBezTo>
                    <a:pt x="12590" y="15407"/>
                    <a:pt x="12213" y="15407"/>
                    <a:pt x="12247" y="15253"/>
                  </a:cubicBezTo>
                  <a:cubicBezTo>
                    <a:pt x="11629" y="15631"/>
                    <a:pt x="11062" y="16026"/>
                    <a:pt x="10426" y="16369"/>
                  </a:cubicBezTo>
                  <a:cubicBezTo>
                    <a:pt x="10849" y="16193"/>
                    <a:pt x="11326" y="16193"/>
                    <a:pt x="11749" y="16369"/>
                  </a:cubicBezTo>
                  <a:cubicBezTo>
                    <a:pt x="11704" y="16429"/>
                    <a:pt x="11645" y="16477"/>
                    <a:pt x="11577" y="16507"/>
                  </a:cubicBezTo>
                  <a:cubicBezTo>
                    <a:pt x="11749" y="16507"/>
                    <a:pt x="11354" y="16885"/>
                    <a:pt x="11577" y="16936"/>
                  </a:cubicBezTo>
                  <a:cubicBezTo>
                    <a:pt x="11405" y="17022"/>
                    <a:pt x="11732" y="17262"/>
                    <a:pt x="11835" y="17125"/>
                  </a:cubicBezTo>
                  <a:cubicBezTo>
                    <a:pt x="11835" y="17125"/>
                    <a:pt x="11972" y="17262"/>
                    <a:pt x="11835" y="17245"/>
                  </a:cubicBezTo>
                  <a:cubicBezTo>
                    <a:pt x="12075" y="17245"/>
                    <a:pt x="11182" y="17520"/>
                    <a:pt x="11251" y="17365"/>
                  </a:cubicBezTo>
                  <a:cubicBezTo>
                    <a:pt x="11101" y="17505"/>
                    <a:pt x="10940" y="17631"/>
                    <a:pt x="10770" y="17743"/>
                  </a:cubicBezTo>
                  <a:lnTo>
                    <a:pt x="10770" y="17743"/>
                  </a:lnTo>
                  <a:cubicBezTo>
                    <a:pt x="10667" y="17743"/>
                    <a:pt x="10770" y="17589"/>
                    <a:pt x="10770" y="17640"/>
                  </a:cubicBezTo>
                  <a:cubicBezTo>
                    <a:pt x="10770" y="17417"/>
                    <a:pt x="11371" y="16988"/>
                    <a:pt x="11371" y="17280"/>
                  </a:cubicBezTo>
                  <a:cubicBezTo>
                    <a:pt x="11371" y="17177"/>
                    <a:pt x="11491" y="17280"/>
                    <a:pt x="11543" y="17194"/>
                  </a:cubicBezTo>
                  <a:cubicBezTo>
                    <a:pt x="11233" y="17073"/>
                    <a:pt x="11233" y="17194"/>
                    <a:pt x="11543" y="16970"/>
                  </a:cubicBezTo>
                  <a:lnTo>
                    <a:pt x="11543" y="16970"/>
                  </a:lnTo>
                  <a:lnTo>
                    <a:pt x="11543" y="16970"/>
                  </a:lnTo>
                  <a:cubicBezTo>
                    <a:pt x="11543" y="17073"/>
                    <a:pt x="11045" y="17245"/>
                    <a:pt x="11233" y="16970"/>
                  </a:cubicBezTo>
                  <a:cubicBezTo>
                    <a:pt x="11096" y="17125"/>
                    <a:pt x="11045" y="17073"/>
                    <a:pt x="10924" y="16970"/>
                  </a:cubicBezTo>
                  <a:cubicBezTo>
                    <a:pt x="10804" y="16867"/>
                    <a:pt x="10924" y="17091"/>
                    <a:pt x="10924" y="17159"/>
                  </a:cubicBezTo>
                  <a:cubicBezTo>
                    <a:pt x="10924" y="17228"/>
                    <a:pt x="10924" y="17331"/>
                    <a:pt x="10924" y="17159"/>
                  </a:cubicBezTo>
                  <a:cubicBezTo>
                    <a:pt x="10924" y="16988"/>
                    <a:pt x="10598" y="17314"/>
                    <a:pt x="10667" y="17159"/>
                  </a:cubicBezTo>
                  <a:cubicBezTo>
                    <a:pt x="10735" y="17005"/>
                    <a:pt x="10478" y="17245"/>
                    <a:pt x="10667" y="17159"/>
                  </a:cubicBezTo>
                  <a:cubicBezTo>
                    <a:pt x="10856" y="17073"/>
                    <a:pt x="10546" y="17297"/>
                    <a:pt x="10478" y="17331"/>
                  </a:cubicBezTo>
                  <a:lnTo>
                    <a:pt x="10478" y="17331"/>
                  </a:lnTo>
                  <a:cubicBezTo>
                    <a:pt x="10478" y="17331"/>
                    <a:pt x="10478" y="17417"/>
                    <a:pt x="10478" y="17331"/>
                  </a:cubicBezTo>
                  <a:cubicBezTo>
                    <a:pt x="10478" y="17245"/>
                    <a:pt x="10357" y="17469"/>
                    <a:pt x="10478" y="17331"/>
                  </a:cubicBezTo>
                  <a:cubicBezTo>
                    <a:pt x="10254" y="17331"/>
                    <a:pt x="9722" y="18345"/>
                    <a:pt x="10083" y="18001"/>
                  </a:cubicBezTo>
                  <a:cubicBezTo>
                    <a:pt x="10083" y="18138"/>
                    <a:pt x="9842" y="18327"/>
                    <a:pt x="9911" y="18087"/>
                  </a:cubicBezTo>
                  <a:cubicBezTo>
                    <a:pt x="9773" y="18259"/>
                    <a:pt x="9791" y="18241"/>
                    <a:pt x="9808" y="18087"/>
                  </a:cubicBezTo>
                  <a:cubicBezTo>
                    <a:pt x="9360" y="18252"/>
                    <a:pt x="8984" y="18568"/>
                    <a:pt x="8743" y="18980"/>
                  </a:cubicBezTo>
                  <a:lnTo>
                    <a:pt x="8743" y="18980"/>
                  </a:lnTo>
                  <a:lnTo>
                    <a:pt x="8743" y="18980"/>
                  </a:lnTo>
                  <a:cubicBezTo>
                    <a:pt x="8743" y="18980"/>
                    <a:pt x="8743" y="18825"/>
                    <a:pt x="8743" y="18740"/>
                  </a:cubicBezTo>
                  <a:cubicBezTo>
                    <a:pt x="8605" y="18980"/>
                    <a:pt x="8588" y="19289"/>
                    <a:pt x="8365" y="19495"/>
                  </a:cubicBezTo>
                  <a:lnTo>
                    <a:pt x="8365" y="19495"/>
                  </a:lnTo>
                  <a:lnTo>
                    <a:pt x="8262" y="19650"/>
                  </a:lnTo>
                  <a:cubicBezTo>
                    <a:pt x="8298" y="19536"/>
                    <a:pt x="8356" y="19431"/>
                    <a:pt x="8434" y="19341"/>
                  </a:cubicBezTo>
                  <a:cubicBezTo>
                    <a:pt x="8434" y="19341"/>
                    <a:pt x="8434" y="19255"/>
                    <a:pt x="8434" y="19221"/>
                  </a:cubicBezTo>
                  <a:lnTo>
                    <a:pt x="8434" y="19221"/>
                  </a:lnTo>
                  <a:cubicBezTo>
                    <a:pt x="8434" y="19014"/>
                    <a:pt x="8605" y="18860"/>
                    <a:pt x="8674" y="18671"/>
                  </a:cubicBezTo>
                  <a:cubicBezTo>
                    <a:pt x="8545" y="18838"/>
                    <a:pt x="8441" y="19023"/>
                    <a:pt x="8365" y="19221"/>
                  </a:cubicBezTo>
                  <a:cubicBezTo>
                    <a:pt x="8365" y="19117"/>
                    <a:pt x="8365" y="19032"/>
                    <a:pt x="8365" y="18929"/>
                  </a:cubicBezTo>
                  <a:cubicBezTo>
                    <a:pt x="8365" y="18825"/>
                    <a:pt x="8365" y="19581"/>
                    <a:pt x="8365" y="19324"/>
                  </a:cubicBezTo>
                  <a:cubicBezTo>
                    <a:pt x="8365" y="19324"/>
                    <a:pt x="8365" y="19598"/>
                    <a:pt x="8365" y="19530"/>
                  </a:cubicBezTo>
                  <a:cubicBezTo>
                    <a:pt x="8365" y="19461"/>
                    <a:pt x="8365" y="19616"/>
                    <a:pt x="8365" y="19650"/>
                  </a:cubicBezTo>
                  <a:cubicBezTo>
                    <a:pt x="8374" y="19605"/>
                    <a:pt x="8374" y="19558"/>
                    <a:pt x="8365" y="19513"/>
                  </a:cubicBezTo>
                  <a:cubicBezTo>
                    <a:pt x="8365" y="19650"/>
                    <a:pt x="8502" y="19719"/>
                    <a:pt x="8365" y="19856"/>
                  </a:cubicBezTo>
                  <a:lnTo>
                    <a:pt x="8365" y="19856"/>
                  </a:lnTo>
                  <a:cubicBezTo>
                    <a:pt x="8365" y="19993"/>
                    <a:pt x="8176" y="20148"/>
                    <a:pt x="8210" y="19976"/>
                  </a:cubicBezTo>
                  <a:cubicBezTo>
                    <a:pt x="8245" y="19805"/>
                    <a:pt x="8210" y="20079"/>
                    <a:pt x="8210" y="20097"/>
                  </a:cubicBezTo>
                  <a:cubicBezTo>
                    <a:pt x="8210" y="20114"/>
                    <a:pt x="8296" y="20097"/>
                    <a:pt x="8313" y="20234"/>
                  </a:cubicBezTo>
                  <a:cubicBezTo>
                    <a:pt x="8304" y="20200"/>
                    <a:pt x="8304" y="20165"/>
                    <a:pt x="8313" y="20131"/>
                  </a:cubicBezTo>
                  <a:cubicBezTo>
                    <a:pt x="8313" y="20234"/>
                    <a:pt x="8313" y="20285"/>
                    <a:pt x="8176" y="20354"/>
                  </a:cubicBezTo>
                  <a:cubicBezTo>
                    <a:pt x="8039" y="20423"/>
                    <a:pt x="8176" y="20354"/>
                    <a:pt x="8176" y="20251"/>
                  </a:cubicBezTo>
                  <a:cubicBezTo>
                    <a:pt x="8176" y="20148"/>
                    <a:pt x="8176" y="20251"/>
                    <a:pt x="8176" y="20251"/>
                  </a:cubicBezTo>
                  <a:cubicBezTo>
                    <a:pt x="8176" y="20251"/>
                    <a:pt x="8176" y="20474"/>
                    <a:pt x="8176" y="20389"/>
                  </a:cubicBezTo>
                  <a:lnTo>
                    <a:pt x="8176" y="20389"/>
                  </a:lnTo>
                  <a:lnTo>
                    <a:pt x="8176" y="20389"/>
                  </a:lnTo>
                  <a:lnTo>
                    <a:pt x="8176" y="20389"/>
                  </a:lnTo>
                  <a:cubicBezTo>
                    <a:pt x="6991" y="20389"/>
                    <a:pt x="6458" y="24992"/>
                    <a:pt x="6579" y="22982"/>
                  </a:cubicBezTo>
                  <a:cubicBezTo>
                    <a:pt x="6579" y="22982"/>
                    <a:pt x="6579" y="22982"/>
                    <a:pt x="6579" y="22982"/>
                  </a:cubicBezTo>
                  <a:cubicBezTo>
                    <a:pt x="6579" y="22982"/>
                    <a:pt x="6579" y="22982"/>
                    <a:pt x="6579" y="22982"/>
                  </a:cubicBezTo>
                  <a:lnTo>
                    <a:pt x="6579" y="22982"/>
                  </a:lnTo>
                  <a:cubicBezTo>
                    <a:pt x="6579" y="22879"/>
                    <a:pt x="6579" y="22707"/>
                    <a:pt x="6579" y="22604"/>
                  </a:cubicBezTo>
                  <a:cubicBezTo>
                    <a:pt x="6579" y="22501"/>
                    <a:pt x="6579" y="22604"/>
                    <a:pt x="6579" y="22707"/>
                  </a:cubicBezTo>
                  <a:cubicBezTo>
                    <a:pt x="6579" y="22810"/>
                    <a:pt x="6853" y="21780"/>
                    <a:pt x="6579" y="21745"/>
                  </a:cubicBezTo>
                  <a:cubicBezTo>
                    <a:pt x="6304" y="21711"/>
                    <a:pt x="6476" y="21849"/>
                    <a:pt x="6579" y="21745"/>
                  </a:cubicBezTo>
                  <a:lnTo>
                    <a:pt x="6579" y="21745"/>
                  </a:lnTo>
                  <a:lnTo>
                    <a:pt x="6579" y="21745"/>
                  </a:lnTo>
                  <a:cubicBezTo>
                    <a:pt x="6579" y="21745"/>
                    <a:pt x="6579" y="21574"/>
                    <a:pt x="6579" y="21642"/>
                  </a:cubicBezTo>
                  <a:cubicBezTo>
                    <a:pt x="6587" y="21603"/>
                    <a:pt x="6587" y="21562"/>
                    <a:pt x="6579" y="21522"/>
                  </a:cubicBezTo>
                  <a:lnTo>
                    <a:pt x="6579" y="21522"/>
                  </a:lnTo>
                  <a:cubicBezTo>
                    <a:pt x="6579" y="21522"/>
                    <a:pt x="6579" y="21436"/>
                    <a:pt x="6579" y="21385"/>
                  </a:cubicBezTo>
                  <a:lnTo>
                    <a:pt x="6579" y="21385"/>
                  </a:lnTo>
                  <a:cubicBezTo>
                    <a:pt x="6579" y="21385"/>
                    <a:pt x="6579" y="21385"/>
                    <a:pt x="6579" y="21385"/>
                  </a:cubicBezTo>
                  <a:cubicBezTo>
                    <a:pt x="6579" y="21385"/>
                    <a:pt x="6579" y="21385"/>
                    <a:pt x="6579" y="21385"/>
                  </a:cubicBezTo>
                  <a:cubicBezTo>
                    <a:pt x="6579" y="21385"/>
                    <a:pt x="6579" y="21282"/>
                    <a:pt x="6579" y="21230"/>
                  </a:cubicBezTo>
                  <a:lnTo>
                    <a:pt x="6579" y="21333"/>
                  </a:lnTo>
                  <a:cubicBezTo>
                    <a:pt x="6579" y="21230"/>
                    <a:pt x="6390" y="21333"/>
                    <a:pt x="6373" y="21453"/>
                  </a:cubicBezTo>
                  <a:lnTo>
                    <a:pt x="6373" y="21453"/>
                  </a:lnTo>
                  <a:cubicBezTo>
                    <a:pt x="6373" y="21642"/>
                    <a:pt x="6373" y="21763"/>
                    <a:pt x="6373" y="21849"/>
                  </a:cubicBezTo>
                  <a:cubicBezTo>
                    <a:pt x="6373" y="21934"/>
                    <a:pt x="6373" y="21471"/>
                    <a:pt x="6373" y="21763"/>
                  </a:cubicBezTo>
                  <a:lnTo>
                    <a:pt x="6373" y="21660"/>
                  </a:lnTo>
                  <a:cubicBezTo>
                    <a:pt x="6373" y="21539"/>
                    <a:pt x="6373" y="21471"/>
                    <a:pt x="6373" y="21350"/>
                  </a:cubicBezTo>
                  <a:cubicBezTo>
                    <a:pt x="6373" y="21230"/>
                    <a:pt x="6373" y="21350"/>
                    <a:pt x="6373" y="21350"/>
                  </a:cubicBezTo>
                  <a:cubicBezTo>
                    <a:pt x="6373" y="21591"/>
                    <a:pt x="6373" y="21076"/>
                    <a:pt x="6184" y="21350"/>
                  </a:cubicBezTo>
                  <a:cubicBezTo>
                    <a:pt x="6184" y="21350"/>
                    <a:pt x="6184" y="21196"/>
                    <a:pt x="6184" y="21127"/>
                  </a:cubicBezTo>
                  <a:cubicBezTo>
                    <a:pt x="6184" y="21058"/>
                    <a:pt x="6184" y="21247"/>
                    <a:pt x="6184" y="21127"/>
                  </a:cubicBezTo>
                  <a:cubicBezTo>
                    <a:pt x="6193" y="21213"/>
                    <a:pt x="6193" y="21299"/>
                    <a:pt x="6184" y="21385"/>
                  </a:cubicBezTo>
                  <a:lnTo>
                    <a:pt x="6184" y="21385"/>
                  </a:lnTo>
                  <a:lnTo>
                    <a:pt x="6184" y="21505"/>
                  </a:lnTo>
                  <a:lnTo>
                    <a:pt x="6184" y="21505"/>
                  </a:lnTo>
                  <a:cubicBezTo>
                    <a:pt x="6184" y="21591"/>
                    <a:pt x="6184" y="21505"/>
                    <a:pt x="6184" y="21505"/>
                  </a:cubicBezTo>
                  <a:lnTo>
                    <a:pt x="6184" y="21505"/>
                  </a:lnTo>
                  <a:cubicBezTo>
                    <a:pt x="6184" y="21505"/>
                    <a:pt x="6184" y="21505"/>
                    <a:pt x="6184" y="21505"/>
                  </a:cubicBezTo>
                  <a:lnTo>
                    <a:pt x="6184" y="21505"/>
                  </a:lnTo>
                  <a:cubicBezTo>
                    <a:pt x="6184" y="21505"/>
                    <a:pt x="6184" y="21608"/>
                    <a:pt x="6184" y="21608"/>
                  </a:cubicBezTo>
                  <a:lnTo>
                    <a:pt x="6184" y="21608"/>
                  </a:lnTo>
                  <a:cubicBezTo>
                    <a:pt x="6085" y="21918"/>
                    <a:pt x="6005" y="22233"/>
                    <a:pt x="5943" y="22553"/>
                  </a:cubicBezTo>
                  <a:cubicBezTo>
                    <a:pt x="5943" y="22553"/>
                    <a:pt x="5943" y="22433"/>
                    <a:pt x="5943" y="22398"/>
                  </a:cubicBezTo>
                  <a:cubicBezTo>
                    <a:pt x="5943" y="22364"/>
                    <a:pt x="5840" y="22862"/>
                    <a:pt x="5943" y="22621"/>
                  </a:cubicBezTo>
                  <a:cubicBezTo>
                    <a:pt x="5838" y="23115"/>
                    <a:pt x="5758" y="23614"/>
                    <a:pt x="5703" y="24116"/>
                  </a:cubicBezTo>
                  <a:cubicBezTo>
                    <a:pt x="5668" y="24579"/>
                    <a:pt x="5668" y="25044"/>
                    <a:pt x="5703" y="25507"/>
                  </a:cubicBezTo>
                  <a:cubicBezTo>
                    <a:pt x="5703" y="25507"/>
                    <a:pt x="5703" y="25507"/>
                    <a:pt x="5703" y="25507"/>
                  </a:cubicBezTo>
                  <a:cubicBezTo>
                    <a:pt x="5709" y="25479"/>
                    <a:pt x="5709" y="25449"/>
                    <a:pt x="5703" y="25421"/>
                  </a:cubicBezTo>
                  <a:lnTo>
                    <a:pt x="5703" y="25421"/>
                  </a:lnTo>
                  <a:cubicBezTo>
                    <a:pt x="5703" y="25421"/>
                    <a:pt x="5703" y="25421"/>
                    <a:pt x="5703" y="25421"/>
                  </a:cubicBezTo>
                  <a:lnTo>
                    <a:pt x="5703" y="25421"/>
                  </a:lnTo>
                  <a:cubicBezTo>
                    <a:pt x="5703" y="25421"/>
                    <a:pt x="5703" y="25559"/>
                    <a:pt x="5703" y="25627"/>
                  </a:cubicBezTo>
                  <a:lnTo>
                    <a:pt x="5703" y="25627"/>
                  </a:lnTo>
                  <a:lnTo>
                    <a:pt x="5703" y="25627"/>
                  </a:lnTo>
                  <a:cubicBezTo>
                    <a:pt x="5711" y="25553"/>
                    <a:pt x="5711" y="25478"/>
                    <a:pt x="5703" y="25404"/>
                  </a:cubicBezTo>
                  <a:lnTo>
                    <a:pt x="5703" y="25404"/>
                  </a:lnTo>
                  <a:cubicBezTo>
                    <a:pt x="5857" y="25249"/>
                    <a:pt x="5703" y="24511"/>
                    <a:pt x="5995" y="24665"/>
                  </a:cubicBezTo>
                  <a:cubicBezTo>
                    <a:pt x="5995" y="24665"/>
                    <a:pt x="5995" y="24562"/>
                    <a:pt x="5995" y="24665"/>
                  </a:cubicBezTo>
                  <a:cubicBezTo>
                    <a:pt x="5995" y="24769"/>
                    <a:pt x="5995" y="24665"/>
                    <a:pt x="5995" y="24665"/>
                  </a:cubicBezTo>
                  <a:cubicBezTo>
                    <a:pt x="5995" y="24665"/>
                    <a:pt x="5995" y="24820"/>
                    <a:pt x="5995" y="24665"/>
                  </a:cubicBezTo>
                  <a:cubicBezTo>
                    <a:pt x="6098" y="24957"/>
                    <a:pt x="5806" y="25284"/>
                    <a:pt x="5857" y="25593"/>
                  </a:cubicBezTo>
                  <a:cubicBezTo>
                    <a:pt x="5857" y="25593"/>
                    <a:pt x="5857" y="25868"/>
                    <a:pt x="5857" y="25919"/>
                  </a:cubicBezTo>
                  <a:cubicBezTo>
                    <a:pt x="5814" y="26294"/>
                    <a:pt x="5476" y="26563"/>
                    <a:pt x="5101" y="26521"/>
                  </a:cubicBezTo>
                  <a:cubicBezTo>
                    <a:pt x="4727" y="26478"/>
                    <a:pt x="4457" y="26140"/>
                    <a:pt x="4500" y="25765"/>
                  </a:cubicBezTo>
                  <a:cubicBezTo>
                    <a:pt x="4500" y="25954"/>
                    <a:pt x="4500" y="26349"/>
                    <a:pt x="4397" y="26658"/>
                  </a:cubicBezTo>
                  <a:lnTo>
                    <a:pt x="4397" y="26658"/>
                  </a:lnTo>
                  <a:cubicBezTo>
                    <a:pt x="4380" y="26726"/>
                    <a:pt x="4380" y="26796"/>
                    <a:pt x="4397" y="26864"/>
                  </a:cubicBezTo>
                  <a:lnTo>
                    <a:pt x="4397" y="26864"/>
                  </a:lnTo>
                  <a:cubicBezTo>
                    <a:pt x="4397" y="26864"/>
                    <a:pt x="4397" y="26864"/>
                    <a:pt x="4397" y="26950"/>
                  </a:cubicBezTo>
                  <a:cubicBezTo>
                    <a:pt x="4397" y="27036"/>
                    <a:pt x="4603" y="27139"/>
                    <a:pt x="4586" y="26950"/>
                  </a:cubicBezTo>
                  <a:cubicBezTo>
                    <a:pt x="4586" y="27053"/>
                    <a:pt x="4586" y="27105"/>
                    <a:pt x="4724" y="27190"/>
                  </a:cubicBezTo>
                  <a:lnTo>
                    <a:pt x="4724" y="27190"/>
                  </a:lnTo>
                  <a:cubicBezTo>
                    <a:pt x="4738" y="27241"/>
                    <a:pt x="4738" y="27295"/>
                    <a:pt x="4724" y="27345"/>
                  </a:cubicBezTo>
                  <a:cubicBezTo>
                    <a:pt x="4724" y="27208"/>
                    <a:pt x="4724" y="27345"/>
                    <a:pt x="4724" y="27448"/>
                  </a:cubicBezTo>
                  <a:lnTo>
                    <a:pt x="4724" y="27448"/>
                  </a:lnTo>
                  <a:cubicBezTo>
                    <a:pt x="4767" y="27681"/>
                    <a:pt x="4767" y="27920"/>
                    <a:pt x="4724" y="28152"/>
                  </a:cubicBezTo>
                  <a:lnTo>
                    <a:pt x="4724" y="28152"/>
                  </a:lnTo>
                  <a:cubicBezTo>
                    <a:pt x="4732" y="28307"/>
                    <a:pt x="4732" y="28462"/>
                    <a:pt x="4724" y="28616"/>
                  </a:cubicBezTo>
                  <a:cubicBezTo>
                    <a:pt x="4724" y="28616"/>
                    <a:pt x="4724" y="28513"/>
                    <a:pt x="4724" y="28444"/>
                  </a:cubicBezTo>
                  <a:cubicBezTo>
                    <a:pt x="4715" y="28564"/>
                    <a:pt x="4715" y="28685"/>
                    <a:pt x="4724" y="28805"/>
                  </a:cubicBezTo>
                  <a:cubicBezTo>
                    <a:pt x="4734" y="28777"/>
                    <a:pt x="4734" y="28747"/>
                    <a:pt x="4724" y="28719"/>
                  </a:cubicBezTo>
                  <a:cubicBezTo>
                    <a:pt x="4697" y="28861"/>
                    <a:pt x="4697" y="29007"/>
                    <a:pt x="4724" y="29149"/>
                  </a:cubicBezTo>
                  <a:cubicBezTo>
                    <a:pt x="4724" y="29063"/>
                    <a:pt x="4947" y="30042"/>
                    <a:pt x="4930" y="29733"/>
                  </a:cubicBezTo>
                  <a:cubicBezTo>
                    <a:pt x="5136" y="30265"/>
                    <a:pt x="5170" y="29131"/>
                    <a:pt x="5634" y="30471"/>
                  </a:cubicBezTo>
                  <a:cubicBezTo>
                    <a:pt x="5634" y="30368"/>
                    <a:pt x="5634" y="29337"/>
                    <a:pt x="5960" y="29595"/>
                  </a:cubicBezTo>
                  <a:cubicBezTo>
                    <a:pt x="5960" y="29818"/>
                    <a:pt x="5960" y="29595"/>
                    <a:pt x="5960" y="29475"/>
                  </a:cubicBezTo>
                  <a:cubicBezTo>
                    <a:pt x="5960" y="29355"/>
                    <a:pt x="6252" y="29303"/>
                    <a:pt x="6355" y="29234"/>
                  </a:cubicBezTo>
                  <a:cubicBezTo>
                    <a:pt x="6476" y="29458"/>
                    <a:pt x="6355" y="29836"/>
                    <a:pt x="6355" y="30145"/>
                  </a:cubicBezTo>
                  <a:cubicBezTo>
                    <a:pt x="6630" y="30901"/>
                    <a:pt x="6355" y="29681"/>
                    <a:pt x="6665" y="29664"/>
                  </a:cubicBezTo>
                  <a:cubicBezTo>
                    <a:pt x="6974" y="29647"/>
                    <a:pt x="6527" y="29544"/>
                    <a:pt x="6665" y="29441"/>
                  </a:cubicBezTo>
                  <a:cubicBezTo>
                    <a:pt x="6802" y="29337"/>
                    <a:pt x="6665" y="29664"/>
                    <a:pt x="6785" y="29733"/>
                  </a:cubicBezTo>
                  <a:cubicBezTo>
                    <a:pt x="6933" y="29741"/>
                    <a:pt x="7051" y="29859"/>
                    <a:pt x="7060" y="30007"/>
                  </a:cubicBezTo>
                  <a:cubicBezTo>
                    <a:pt x="6939" y="30213"/>
                    <a:pt x="7352" y="30145"/>
                    <a:pt x="7472" y="30196"/>
                  </a:cubicBezTo>
                  <a:cubicBezTo>
                    <a:pt x="7558" y="30660"/>
                    <a:pt x="8090" y="30042"/>
                    <a:pt x="8262" y="30402"/>
                  </a:cubicBezTo>
                  <a:cubicBezTo>
                    <a:pt x="8004" y="30402"/>
                    <a:pt x="8073" y="30402"/>
                    <a:pt x="8262" y="30643"/>
                  </a:cubicBezTo>
                  <a:cubicBezTo>
                    <a:pt x="8262" y="30471"/>
                    <a:pt x="8863" y="31107"/>
                    <a:pt x="8434" y="31107"/>
                  </a:cubicBezTo>
                  <a:cubicBezTo>
                    <a:pt x="8885" y="31152"/>
                    <a:pt x="9220" y="31547"/>
                    <a:pt x="9189" y="32000"/>
                  </a:cubicBezTo>
                  <a:cubicBezTo>
                    <a:pt x="9189" y="31673"/>
                    <a:pt x="9550" y="32154"/>
                    <a:pt x="9550" y="32309"/>
                  </a:cubicBezTo>
                  <a:cubicBezTo>
                    <a:pt x="9464" y="32103"/>
                    <a:pt x="10461" y="32309"/>
                    <a:pt x="10220" y="32532"/>
                  </a:cubicBezTo>
                  <a:cubicBezTo>
                    <a:pt x="10443" y="32361"/>
                    <a:pt x="10976" y="33030"/>
                    <a:pt x="10856" y="33151"/>
                  </a:cubicBezTo>
                  <a:cubicBezTo>
                    <a:pt x="11010" y="32893"/>
                    <a:pt x="11130" y="33735"/>
                    <a:pt x="11302" y="33924"/>
                  </a:cubicBezTo>
                  <a:cubicBezTo>
                    <a:pt x="11474" y="34113"/>
                    <a:pt x="10976" y="34559"/>
                    <a:pt x="11045" y="34868"/>
                  </a:cubicBezTo>
                  <a:cubicBezTo>
                    <a:pt x="11045" y="34611"/>
                    <a:pt x="11233" y="34628"/>
                    <a:pt x="11148" y="34868"/>
                  </a:cubicBezTo>
                  <a:cubicBezTo>
                    <a:pt x="11148" y="34868"/>
                    <a:pt x="11268" y="34559"/>
                    <a:pt x="11337" y="34731"/>
                  </a:cubicBezTo>
                  <a:cubicBezTo>
                    <a:pt x="11405" y="34903"/>
                    <a:pt x="11337" y="34731"/>
                    <a:pt x="11337" y="34731"/>
                  </a:cubicBezTo>
                  <a:cubicBezTo>
                    <a:pt x="11337" y="34216"/>
                    <a:pt x="12401" y="35143"/>
                    <a:pt x="11337" y="35092"/>
                  </a:cubicBezTo>
                  <a:cubicBezTo>
                    <a:pt x="11749" y="35092"/>
                    <a:pt x="11543" y="35315"/>
                    <a:pt x="11680" y="35624"/>
                  </a:cubicBezTo>
                  <a:cubicBezTo>
                    <a:pt x="11543" y="35074"/>
                    <a:pt x="12075" y="34576"/>
                    <a:pt x="12419" y="35074"/>
                  </a:cubicBezTo>
                  <a:cubicBezTo>
                    <a:pt x="12419" y="35074"/>
                    <a:pt x="12608" y="35177"/>
                    <a:pt x="12642" y="35263"/>
                  </a:cubicBezTo>
                  <a:cubicBezTo>
                    <a:pt x="12676" y="35349"/>
                    <a:pt x="12986" y="35366"/>
                    <a:pt x="12882" y="35469"/>
                  </a:cubicBezTo>
                  <a:cubicBezTo>
                    <a:pt x="12779" y="35573"/>
                    <a:pt x="12882" y="35727"/>
                    <a:pt x="12968" y="35830"/>
                  </a:cubicBezTo>
                  <a:cubicBezTo>
                    <a:pt x="13054" y="35933"/>
                    <a:pt x="12968" y="35487"/>
                    <a:pt x="12968" y="35710"/>
                  </a:cubicBezTo>
                  <a:cubicBezTo>
                    <a:pt x="12968" y="35555"/>
                    <a:pt x="13106" y="35607"/>
                    <a:pt x="12968" y="35504"/>
                  </a:cubicBezTo>
                  <a:cubicBezTo>
                    <a:pt x="12831" y="35401"/>
                    <a:pt x="13363" y="35761"/>
                    <a:pt x="13363" y="35641"/>
                  </a:cubicBezTo>
                  <a:cubicBezTo>
                    <a:pt x="13363" y="35521"/>
                    <a:pt x="13363" y="35641"/>
                    <a:pt x="13466" y="35744"/>
                  </a:cubicBezTo>
                  <a:cubicBezTo>
                    <a:pt x="13569" y="35847"/>
                    <a:pt x="13466" y="35744"/>
                    <a:pt x="13466" y="35744"/>
                  </a:cubicBezTo>
                  <a:lnTo>
                    <a:pt x="13466" y="35744"/>
                  </a:lnTo>
                  <a:lnTo>
                    <a:pt x="13466" y="35744"/>
                  </a:lnTo>
                  <a:cubicBezTo>
                    <a:pt x="14841" y="36157"/>
                    <a:pt x="16438" y="37462"/>
                    <a:pt x="14926" y="38922"/>
                  </a:cubicBezTo>
                  <a:cubicBezTo>
                    <a:pt x="14926" y="38836"/>
                    <a:pt x="14926" y="38682"/>
                    <a:pt x="14926" y="38819"/>
                  </a:cubicBezTo>
                  <a:cubicBezTo>
                    <a:pt x="14926" y="38956"/>
                    <a:pt x="14823" y="38819"/>
                    <a:pt x="14806" y="38819"/>
                  </a:cubicBezTo>
                  <a:lnTo>
                    <a:pt x="14806" y="38819"/>
                  </a:lnTo>
                  <a:cubicBezTo>
                    <a:pt x="15133" y="39386"/>
                    <a:pt x="15717" y="41619"/>
                    <a:pt x="14806" y="41447"/>
                  </a:cubicBezTo>
                  <a:cubicBezTo>
                    <a:pt x="14806" y="41447"/>
                    <a:pt x="14514" y="41447"/>
                    <a:pt x="14806" y="41447"/>
                  </a:cubicBezTo>
                  <a:cubicBezTo>
                    <a:pt x="15098" y="41447"/>
                    <a:pt x="14652" y="41447"/>
                    <a:pt x="14600" y="41447"/>
                  </a:cubicBezTo>
                  <a:cubicBezTo>
                    <a:pt x="14549" y="41447"/>
                    <a:pt x="14600" y="41533"/>
                    <a:pt x="14600" y="41687"/>
                  </a:cubicBezTo>
                  <a:cubicBezTo>
                    <a:pt x="14360" y="41498"/>
                    <a:pt x="14257" y="41997"/>
                    <a:pt x="14154" y="41962"/>
                  </a:cubicBezTo>
                  <a:cubicBezTo>
                    <a:pt x="14050" y="41928"/>
                    <a:pt x="14154" y="41962"/>
                    <a:pt x="14154" y="41962"/>
                  </a:cubicBezTo>
                  <a:cubicBezTo>
                    <a:pt x="14154" y="41962"/>
                    <a:pt x="14291" y="42048"/>
                    <a:pt x="14154" y="42048"/>
                  </a:cubicBezTo>
                  <a:cubicBezTo>
                    <a:pt x="14016" y="42048"/>
                    <a:pt x="14154" y="42048"/>
                    <a:pt x="14154" y="42048"/>
                  </a:cubicBezTo>
                  <a:cubicBezTo>
                    <a:pt x="14154" y="42048"/>
                    <a:pt x="14446" y="42426"/>
                    <a:pt x="14411" y="42529"/>
                  </a:cubicBezTo>
                  <a:cubicBezTo>
                    <a:pt x="14377" y="42632"/>
                    <a:pt x="14411" y="43697"/>
                    <a:pt x="14411" y="43336"/>
                  </a:cubicBezTo>
                  <a:cubicBezTo>
                    <a:pt x="14411" y="43336"/>
                    <a:pt x="14411" y="43336"/>
                    <a:pt x="14411" y="43250"/>
                  </a:cubicBezTo>
                  <a:cubicBezTo>
                    <a:pt x="14411" y="43165"/>
                    <a:pt x="14411" y="43113"/>
                    <a:pt x="14411" y="43113"/>
                  </a:cubicBezTo>
                  <a:cubicBezTo>
                    <a:pt x="14338" y="43042"/>
                    <a:pt x="14257" y="42979"/>
                    <a:pt x="14171" y="42924"/>
                  </a:cubicBezTo>
                  <a:cubicBezTo>
                    <a:pt x="14231" y="42979"/>
                    <a:pt x="14283" y="43043"/>
                    <a:pt x="14325" y="43113"/>
                  </a:cubicBezTo>
                  <a:cubicBezTo>
                    <a:pt x="14325" y="43113"/>
                    <a:pt x="14446" y="43354"/>
                    <a:pt x="14325" y="43250"/>
                  </a:cubicBezTo>
                  <a:cubicBezTo>
                    <a:pt x="14858" y="44041"/>
                    <a:pt x="14325" y="44264"/>
                    <a:pt x="13844" y="43817"/>
                  </a:cubicBezTo>
                  <a:lnTo>
                    <a:pt x="14549" y="44418"/>
                  </a:lnTo>
                  <a:lnTo>
                    <a:pt x="14549" y="44418"/>
                  </a:lnTo>
                  <a:cubicBezTo>
                    <a:pt x="14637" y="44494"/>
                    <a:pt x="14707" y="44587"/>
                    <a:pt x="14755" y="44693"/>
                  </a:cubicBezTo>
                  <a:lnTo>
                    <a:pt x="14755" y="44693"/>
                  </a:lnTo>
                  <a:cubicBezTo>
                    <a:pt x="14755" y="44693"/>
                    <a:pt x="14944" y="44951"/>
                    <a:pt x="14755" y="44882"/>
                  </a:cubicBezTo>
                  <a:cubicBezTo>
                    <a:pt x="14566" y="44814"/>
                    <a:pt x="14394" y="44882"/>
                    <a:pt x="14291" y="44882"/>
                  </a:cubicBezTo>
                  <a:cubicBezTo>
                    <a:pt x="14188" y="44882"/>
                    <a:pt x="14480" y="45037"/>
                    <a:pt x="14566" y="45123"/>
                  </a:cubicBezTo>
                  <a:lnTo>
                    <a:pt x="14566" y="45123"/>
                  </a:lnTo>
                  <a:cubicBezTo>
                    <a:pt x="14909" y="45466"/>
                    <a:pt x="14995" y="45569"/>
                    <a:pt x="14463" y="45294"/>
                  </a:cubicBezTo>
                  <a:cubicBezTo>
                    <a:pt x="14621" y="45462"/>
                    <a:pt x="14807" y="45602"/>
                    <a:pt x="15012" y="45707"/>
                  </a:cubicBezTo>
                  <a:cubicBezTo>
                    <a:pt x="15012" y="45707"/>
                    <a:pt x="15012" y="45707"/>
                    <a:pt x="15012" y="45707"/>
                  </a:cubicBezTo>
                  <a:lnTo>
                    <a:pt x="15012" y="45707"/>
                  </a:lnTo>
                  <a:cubicBezTo>
                    <a:pt x="15304" y="45930"/>
                    <a:pt x="15133" y="45947"/>
                    <a:pt x="15717" y="46359"/>
                  </a:cubicBezTo>
                  <a:lnTo>
                    <a:pt x="15717" y="46359"/>
                  </a:lnTo>
                  <a:lnTo>
                    <a:pt x="15717" y="46359"/>
                  </a:lnTo>
                  <a:lnTo>
                    <a:pt x="15717" y="46359"/>
                  </a:lnTo>
                  <a:cubicBezTo>
                    <a:pt x="15991" y="46669"/>
                    <a:pt x="16438" y="46737"/>
                    <a:pt x="16730" y="47012"/>
                  </a:cubicBezTo>
                  <a:lnTo>
                    <a:pt x="16730" y="47012"/>
                  </a:lnTo>
                  <a:lnTo>
                    <a:pt x="16730" y="47012"/>
                  </a:lnTo>
                  <a:lnTo>
                    <a:pt x="16730" y="47012"/>
                  </a:lnTo>
                  <a:lnTo>
                    <a:pt x="16885" y="47132"/>
                  </a:lnTo>
                  <a:lnTo>
                    <a:pt x="16885" y="47132"/>
                  </a:lnTo>
                  <a:lnTo>
                    <a:pt x="17091" y="47270"/>
                  </a:lnTo>
                  <a:cubicBezTo>
                    <a:pt x="17091" y="47270"/>
                    <a:pt x="17091" y="47270"/>
                    <a:pt x="16988" y="47270"/>
                  </a:cubicBezTo>
                  <a:cubicBezTo>
                    <a:pt x="17278" y="47454"/>
                    <a:pt x="17582" y="47614"/>
                    <a:pt x="17898" y="47751"/>
                  </a:cubicBezTo>
                  <a:lnTo>
                    <a:pt x="17898" y="47751"/>
                  </a:lnTo>
                  <a:cubicBezTo>
                    <a:pt x="17795" y="47751"/>
                    <a:pt x="17898" y="47751"/>
                    <a:pt x="17898" y="47751"/>
                  </a:cubicBezTo>
                  <a:lnTo>
                    <a:pt x="17898" y="47751"/>
                  </a:lnTo>
                  <a:cubicBezTo>
                    <a:pt x="18059" y="47847"/>
                    <a:pt x="18225" y="47933"/>
                    <a:pt x="18396" y="48008"/>
                  </a:cubicBezTo>
                  <a:lnTo>
                    <a:pt x="18173" y="48008"/>
                  </a:lnTo>
                  <a:close/>
                  <a:moveTo>
                    <a:pt x="20560" y="10117"/>
                  </a:moveTo>
                  <a:cubicBezTo>
                    <a:pt x="20286" y="10409"/>
                    <a:pt x="20560" y="10014"/>
                    <a:pt x="20560" y="9980"/>
                  </a:cubicBezTo>
                  <a:cubicBezTo>
                    <a:pt x="20560" y="9945"/>
                    <a:pt x="20423" y="10134"/>
                    <a:pt x="20286" y="10323"/>
                  </a:cubicBezTo>
                  <a:cubicBezTo>
                    <a:pt x="19822" y="10083"/>
                    <a:pt x="19581" y="10976"/>
                    <a:pt x="19289" y="10907"/>
                  </a:cubicBezTo>
                  <a:cubicBezTo>
                    <a:pt x="19530" y="11165"/>
                    <a:pt x="19100" y="10907"/>
                    <a:pt x="19152" y="11165"/>
                  </a:cubicBezTo>
                  <a:cubicBezTo>
                    <a:pt x="19014" y="10959"/>
                    <a:pt x="19152" y="11165"/>
                    <a:pt x="19152" y="11165"/>
                  </a:cubicBezTo>
                  <a:cubicBezTo>
                    <a:pt x="19152" y="10907"/>
                    <a:pt x="19152" y="11457"/>
                    <a:pt x="18997" y="11165"/>
                  </a:cubicBezTo>
                  <a:cubicBezTo>
                    <a:pt x="18688" y="11165"/>
                    <a:pt x="18997" y="11577"/>
                    <a:pt x="18585" y="11577"/>
                  </a:cubicBezTo>
                  <a:cubicBezTo>
                    <a:pt x="18585" y="11577"/>
                    <a:pt x="18327" y="12024"/>
                    <a:pt x="18259" y="11903"/>
                  </a:cubicBezTo>
                  <a:cubicBezTo>
                    <a:pt x="18190" y="11783"/>
                    <a:pt x="17846" y="12453"/>
                    <a:pt x="18001" y="12109"/>
                  </a:cubicBezTo>
                  <a:cubicBezTo>
                    <a:pt x="17537" y="12401"/>
                    <a:pt x="18104" y="11938"/>
                    <a:pt x="17743" y="12006"/>
                  </a:cubicBezTo>
                  <a:cubicBezTo>
                    <a:pt x="18173" y="11680"/>
                    <a:pt x="18070" y="11749"/>
                    <a:pt x="17503" y="11783"/>
                  </a:cubicBezTo>
                  <a:cubicBezTo>
                    <a:pt x="17588" y="11313"/>
                    <a:pt x="17763" y="10864"/>
                    <a:pt x="18018" y="10461"/>
                  </a:cubicBezTo>
                  <a:cubicBezTo>
                    <a:pt x="18018" y="10220"/>
                    <a:pt x="18224" y="10461"/>
                    <a:pt x="18448" y="10134"/>
                  </a:cubicBezTo>
                  <a:cubicBezTo>
                    <a:pt x="17984" y="10306"/>
                    <a:pt x="17984" y="10134"/>
                    <a:pt x="18448" y="9739"/>
                  </a:cubicBezTo>
                  <a:cubicBezTo>
                    <a:pt x="18345" y="9739"/>
                    <a:pt x="18207" y="9739"/>
                    <a:pt x="18345" y="9739"/>
                  </a:cubicBezTo>
                  <a:cubicBezTo>
                    <a:pt x="18482" y="9739"/>
                    <a:pt x="18345" y="9636"/>
                    <a:pt x="18963" y="9344"/>
                  </a:cubicBezTo>
                  <a:cubicBezTo>
                    <a:pt x="17709" y="9808"/>
                    <a:pt x="19392" y="8966"/>
                    <a:pt x="18774" y="9104"/>
                  </a:cubicBezTo>
                  <a:cubicBezTo>
                    <a:pt x="19272" y="8657"/>
                    <a:pt x="19152" y="9293"/>
                    <a:pt x="19324" y="9104"/>
                  </a:cubicBezTo>
                  <a:cubicBezTo>
                    <a:pt x="18997" y="9104"/>
                    <a:pt x="19667" y="8863"/>
                    <a:pt x="19324" y="8966"/>
                  </a:cubicBezTo>
                  <a:cubicBezTo>
                    <a:pt x="19444" y="8846"/>
                    <a:pt x="19169" y="8966"/>
                    <a:pt x="18946" y="8966"/>
                  </a:cubicBezTo>
                  <a:cubicBezTo>
                    <a:pt x="19427" y="8537"/>
                    <a:pt x="19238" y="9086"/>
                    <a:pt x="19598" y="8674"/>
                  </a:cubicBezTo>
                  <a:cubicBezTo>
                    <a:pt x="19289" y="8846"/>
                    <a:pt x="19341" y="8554"/>
                    <a:pt x="19598" y="8674"/>
                  </a:cubicBezTo>
                  <a:cubicBezTo>
                    <a:pt x="19808" y="8533"/>
                    <a:pt x="20004" y="8372"/>
                    <a:pt x="20182" y="8193"/>
                  </a:cubicBezTo>
                  <a:cubicBezTo>
                    <a:pt x="19994" y="8193"/>
                    <a:pt x="20182" y="7266"/>
                    <a:pt x="20354" y="7953"/>
                  </a:cubicBezTo>
                  <a:cubicBezTo>
                    <a:pt x="20354" y="7953"/>
                    <a:pt x="20509" y="7712"/>
                    <a:pt x="20560" y="7764"/>
                  </a:cubicBezTo>
                  <a:cubicBezTo>
                    <a:pt x="20612" y="7815"/>
                    <a:pt x="21144" y="6991"/>
                    <a:pt x="20681" y="7386"/>
                  </a:cubicBezTo>
                  <a:cubicBezTo>
                    <a:pt x="20217" y="7781"/>
                    <a:pt x="21162" y="6922"/>
                    <a:pt x="21746" y="6338"/>
                  </a:cubicBezTo>
                  <a:cubicBezTo>
                    <a:pt x="23154" y="5256"/>
                    <a:pt x="21746" y="5497"/>
                    <a:pt x="22914" y="4981"/>
                  </a:cubicBezTo>
                  <a:cubicBezTo>
                    <a:pt x="23085" y="4981"/>
                    <a:pt x="23206" y="5067"/>
                    <a:pt x="23326" y="4844"/>
                  </a:cubicBezTo>
                  <a:cubicBezTo>
                    <a:pt x="26332" y="3556"/>
                    <a:pt x="25576" y="4260"/>
                    <a:pt x="26761" y="3693"/>
                  </a:cubicBezTo>
                  <a:cubicBezTo>
                    <a:pt x="26418" y="3882"/>
                    <a:pt x="26761" y="3693"/>
                    <a:pt x="26881" y="3693"/>
                  </a:cubicBezTo>
                  <a:cubicBezTo>
                    <a:pt x="26503" y="3951"/>
                    <a:pt x="26710" y="3693"/>
                    <a:pt x="26607" y="3951"/>
                  </a:cubicBezTo>
                  <a:cubicBezTo>
                    <a:pt x="26761" y="4140"/>
                    <a:pt x="25765" y="4243"/>
                    <a:pt x="26211" y="4208"/>
                  </a:cubicBezTo>
                  <a:cubicBezTo>
                    <a:pt x="26658" y="4174"/>
                    <a:pt x="26057" y="4346"/>
                    <a:pt x="26211" y="4329"/>
                  </a:cubicBezTo>
                  <a:cubicBezTo>
                    <a:pt x="26555" y="4054"/>
                    <a:pt x="26211" y="4483"/>
                    <a:pt x="26074" y="4500"/>
                  </a:cubicBezTo>
                  <a:cubicBezTo>
                    <a:pt x="25284" y="5119"/>
                    <a:pt x="27036" y="3744"/>
                    <a:pt x="26383" y="4621"/>
                  </a:cubicBezTo>
                  <a:cubicBezTo>
                    <a:pt x="26108" y="4844"/>
                    <a:pt x="25816" y="4861"/>
                    <a:pt x="26057" y="4947"/>
                  </a:cubicBezTo>
                  <a:cubicBezTo>
                    <a:pt x="25672" y="5283"/>
                    <a:pt x="25406" y="5735"/>
                    <a:pt x="25301" y="6235"/>
                  </a:cubicBezTo>
                  <a:cubicBezTo>
                    <a:pt x="25198" y="5874"/>
                    <a:pt x="24751" y="6424"/>
                    <a:pt x="25112" y="6373"/>
                  </a:cubicBezTo>
                  <a:cubicBezTo>
                    <a:pt x="24837" y="6596"/>
                    <a:pt x="25112" y="6373"/>
                    <a:pt x="25009" y="6596"/>
                  </a:cubicBezTo>
                  <a:cubicBezTo>
                    <a:pt x="24906" y="6819"/>
                    <a:pt x="24837" y="6596"/>
                    <a:pt x="24751" y="6596"/>
                  </a:cubicBezTo>
                  <a:cubicBezTo>
                    <a:pt x="24666" y="6596"/>
                    <a:pt x="24751" y="6957"/>
                    <a:pt x="24751" y="6768"/>
                  </a:cubicBezTo>
                  <a:cubicBezTo>
                    <a:pt x="24751" y="6871"/>
                    <a:pt x="25061" y="7128"/>
                    <a:pt x="24751" y="7180"/>
                  </a:cubicBezTo>
                  <a:cubicBezTo>
                    <a:pt x="24271" y="6750"/>
                    <a:pt x="24751" y="7575"/>
                    <a:pt x="24442" y="7489"/>
                  </a:cubicBezTo>
                  <a:cubicBezTo>
                    <a:pt x="23961" y="7729"/>
                    <a:pt x="24442" y="7060"/>
                    <a:pt x="24133" y="7489"/>
                  </a:cubicBezTo>
                  <a:cubicBezTo>
                    <a:pt x="24133" y="7283"/>
                    <a:pt x="23807" y="7609"/>
                    <a:pt x="23738" y="7626"/>
                  </a:cubicBezTo>
                  <a:cubicBezTo>
                    <a:pt x="24150" y="7626"/>
                    <a:pt x="23738" y="7764"/>
                    <a:pt x="23738" y="7781"/>
                  </a:cubicBezTo>
                  <a:cubicBezTo>
                    <a:pt x="24236" y="7781"/>
                    <a:pt x="23738" y="7918"/>
                    <a:pt x="23824" y="7987"/>
                  </a:cubicBezTo>
                  <a:cubicBezTo>
                    <a:pt x="24442" y="8090"/>
                    <a:pt x="23515" y="9705"/>
                    <a:pt x="23583" y="8262"/>
                  </a:cubicBezTo>
                  <a:cubicBezTo>
                    <a:pt x="23034" y="7901"/>
                    <a:pt x="23978" y="8657"/>
                    <a:pt x="23137" y="8520"/>
                  </a:cubicBezTo>
                  <a:cubicBezTo>
                    <a:pt x="23291" y="8640"/>
                    <a:pt x="22673" y="8777"/>
                    <a:pt x="22931" y="8726"/>
                  </a:cubicBezTo>
                  <a:cubicBezTo>
                    <a:pt x="23188" y="8674"/>
                    <a:pt x="23326" y="8915"/>
                    <a:pt x="22931" y="8846"/>
                  </a:cubicBezTo>
                  <a:cubicBezTo>
                    <a:pt x="22536" y="8777"/>
                    <a:pt x="24082" y="8846"/>
                    <a:pt x="23446" y="9121"/>
                  </a:cubicBezTo>
                  <a:cubicBezTo>
                    <a:pt x="23446" y="9121"/>
                    <a:pt x="23171" y="9327"/>
                    <a:pt x="23137" y="9275"/>
                  </a:cubicBezTo>
                  <a:cubicBezTo>
                    <a:pt x="23103" y="9224"/>
                    <a:pt x="21866" y="9859"/>
                    <a:pt x="21952" y="9396"/>
                  </a:cubicBezTo>
                  <a:cubicBezTo>
                    <a:pt x="22038" y="8932"/>
                    <a:pt x="21952" y="9636"/>
                    <a:pt x="21831" y="9653"/>
                  </a:cubicBezTo>
                  <a:cubicBezTo>
                    <a:pt x="21385" y="9688"/>
                    <a:pt x="20612" y="10529"/>
                    <a:pt x="20560" y="10117"/>
                  </a:cubicBezTo>
                  <a:close/>
                  <a:moveTo>
                    <a:pt x="23669" y="11440"/>
                  </a:moveTo>
                  <a:cubicBezTo>
                    <a:pt x="23669" y="11577"/>
                    <a:pt x="23463" y="11543"/>
                    <a:pt x="23412" y="11440"/>
                  </a:cubicBezTo>
                  <a:cubicBezTo>
                    <a:pt x="23360" y="11337"/>
                    <a:pt x="23223" y="11440"/>
                    <a:pt x="23274" y="11319"/>
                  </a:cubicBezTo>
                  <a:cubicBezTo>
                    <a:pt x="23326" y="11199"/>
                    <a:pt x="23188" y="11319"/>
                    <a:pt x="23274" y="11319"/>
                  </a:cubicBezTo>
                  <a:cubicBezTo>
                    <a:pt x="23173" y="11345"/>
                    <a:pt x="23067" y="11345"/>
                    <a:pt x="22965" y="11319"/>
                  </a:cubicBezTo>
                  <a:cubicBezTo>
                    <a:pt x="22965" y="11319"/>
                    <a:pt x="22965" y="11319"/>
                    <a:pt x="22965" y="11319"/>
                  </a:cubicBezTo>
                  <a:cubicBezTo>
                    <a:pt x="22965" y="11319"/>
                    <a:pt x="22965" y="11319"/>
                    <a:pt x="22965" y="11233"/>
                  </a:cubicBezTo>
                  <a:cubicBezTo>
                    <a:pt x="22965" y="11148"/>
                    <a:pt x="22965" y="11233"/>
                    <a:pt x="22965" y="11233"/>
                  </a:cubicBezTo>
                  <a:cubicBezTo>
                    <a:pt x="22965" y="11233"/>
                    <a:pt x="23120" y="11096"/>
                    <a:pt x="23206" y="11148"/>
                  </a:cubicBezTo>
                  <a:cubicBezTo>
                    <a:pt x="23291" y="11199"/>
                    <a:pt x="22948" y="11251"/>
                    <a:pt x="23206" y="11027"/>
                  </a:cubicBezTo>
                  <a:cubicBezTo>
                    <a:pt x="23206" y="11113"/>
                    <a:pt x="23051" y="11027"/>
                    <a:pt x="23206" y="10941"/>
                  </a:cubicBezTo>
                  <a:cubicBezTo>
                    <a:pt x="23360" y="10856"/>
                    <a:pt x="22948" y="10941"/>
                    <a:pt x="22948" y="10821"/>
                  </a:cubicBezTo>
                  <a:cubicBezTo>
                    <a:pt x="22948" y="10701"/>
                    <a:pt x="23206" y="10735"/>
                    <a:pt x="23223" y="10821"/>
                  </a:cubicBezTo>
                  <a:cubicBezTo>
                    <a:pt x="23240" y="10907"/>
                    <a:pt x="23395" y="10821"/>
                    <a:pt x="23412" y="10718"/>
                  </a:cubicBezTo>
                  <a:cubicBezTo>
                    <a:pt x="23429" y="10615"/>
                    <a:pt x="23291" y="10718"/>
                    <a:pt x="23412" y="10718"/>
                  </a:cubicBezTo>
                  <a:cubicBezTo>
                    <a:pt x="23532" y="10718"/>
                    <a:pt x="23291" y="10718"/>
                    <a:pt x="23412" y="10632"/>
                  </a:cubicBezTo>
                  <a:cubicBezTo>
                    <a:pt x="23532" y="10546"/>
                    <a:pt x="23412" y="10632"/>
                    <a:pt x="23412" y="10632"/>
                  </a:cubicBezTo>
                  <a:cubicBezTo>
                    <a:pt x="23412" y="10632"/>
                    <a:pt x="23412" y="10718"/>
                    <a:pt x="23412" y="10632"/>
                  </a:cubicBezTo>
                  <a:cubicBezTo>
                    <a:pt x="23412" y="10546"/>
                    <a:pt x="23412" y="10632"/>
                    <a:pt x="23412" y="10632"/>
                  </a:cubicBezTo>
                  <a:cubicBezTo>
                    <a:pt x="23223" y="10873"/>
                    <a:pt x="23120" y="10478"/>
                    <a:pt x="23291" y="10632"/>
                  </a:cubicBezTo>
                  <a:cubicBezTo>
                    <a:pt x="23463" y="10787"/>
                    <a:pt x="23291" y="10478"/>
                    <a:pt x="23291" y="10632"/>
                  </a:cubicBezTo>
                  <a:cubicBezTo>
                    <a:pt x="23291" y="10787"/>
                    <a:pt x="23291" y="10632"/>
                    <a:pt x="23291" y="10632"/>
                  </a:cubicBezTo>
                  <a:cubicBezTo>
                    <a:pt x="23291" y="10632"/>
                    <a:pt x="23291" y="10529"/>
                    <a:pt x="23291" y="10632"/>
                  </a:cubicBezTo>
                  <a:cubicBezTo>
                    <a:pt x="23291" y="10735"/>
                    <a:pt x="23291" y="10478"/>
                    <a:pt x="23291" y="10632"/>
                  </a:cubicBezTo>
                  <a:cubicBezTo>
                    <a:pt x="23291" y="10787"/>
                    <a:pt x="23412" y="10632"/>
                    <a:pt x="23291" y="10632"/>
                  </a:cubicBezTo>
                  <a:cubicBezTo>
                    <a:pt x="23171" y="10632"/>
                    <a:pt x="23395" y="10632"/>
                    <a:pt x="23291" y="10632"/>
                  </a:cubicBezTo>
                  <a:cubicBezTo>
                    <a:pt x="23188" y="10632"/>
                    <a:pt x="23120" y="10478"/>
                    <a:pt x="23291" y="10478"/>
                  </a:cubicBezTo>
                  <a:cubicBezTo>
                    <a:pt x="22999" y="10375"/>
                    <a:pt x="23395" y="10375"/>
                    <a:pt x="23291" y="10581"/>
                  </a:cubicBezTo>
                  <a:cubicBezTo>
                    <a:pt x="23291" y="10581"/>
                    <a:pt x="23291" y="10581"/>
                    <a:pt x="23291" y="10581"/>
                  </a:cubicBezTo>
                  <a:cubicBezTo>
                    <a:pt x="23291" y="10581"/>
                    <a:pt x="23291" y="10701"/>
                    <a:pt x="23291" y="10581"/>
                  </a:cubicBezTo>
                  <a:cubicBezTo>
                    <a:pt x="23302" y="10608"/>
                    <a:pt x="23302" y="10639"/>
                    <a:pt x="23291" y="10667"/>
                  </a:cubicBezTo>
                  <a:cubicBezTo>
                    <a:pt x="23291" y="10667"/>
                    <a:pt x="23291" y="10753"/>
                    <a:pt x="23291" y="10787"/>
                  </a:cubicBezTo>
                  <a:cubicBezTo>
                    <a:pt x="23291" y="10821"/>
                    <a:pt x="23291" y="10787"/>
                    <a:pt x="23291" y="10873"/>
                  </a:cubicBezTo>
                  <a:cubicBezTo>
                    <a:pt x="23311" y="10799"/>
                    <a:pt x="23361" y="10737"/>
                    <a:pt x="23429" y="10701"/>
                  </a:cubicBezTo>
                  <a:cubicBezTo>
                    <a:pt x="23429" y="10907"/>
                    <a:pt x="23429" y="10478"/>
                    <a:pt x="23601" y="10461"/>
                  </a:cubicBezTo>
                  <a:cubicBezTo>
                    <a:pt x="23772" y="10443"/>
                    <a:pt x="23601" y="10581"/>
                    <a:pt x="23601" y="10598"/>
                  </a:cubicBezTo>
                  <a:cubicBezTo>
                    <a:pt x="23601" y="10615"/>
                    <a:pt x="23687" y="10461"/>
                    <a:pt x="23790" y="10478"/>
                  </a:cubicBezTo>
                  <a:cubicBezTo>
                    <a:pt x="23832" y="10576"/>
                    <a:pt x="23832" y="10688"/>
                    <a:pt x="23790" y="10787"/>
                  </a:cubicBezTo>
                  <a:cubicBezTo>
                    <a:pt x="23893" y="10701"/>
                    <a:pt x="23790" y="10461"/>
                    <a:pt x="23961" y="10512"/>
                  </a:cubicBezTo>
                  <a:cubicBezTo>
                    <a:pt x="24133" y="10564"/>
                    <a:pt x="24116" y="10375"/>
                    <a:pt x="24099" y="10512"/>
                  </a:cubicBezTo>
                  <a:cubicBezTo>
                    <a:pt x="24082" y="10649"/>
                    <a:pt x="24356" y="10220"/>
                    <a:pt x="24322" y="10512"/>
                  </a:cubicBezTo>
                  <a:cubicBezTo>
                    <a:pt x="24288" y="10804"/>
                    <a:pt x="24442" y="10357"/>
                    <a:pt x="24528" y="10512"/>
                  </a:cubicBezTo>
                  <a:cubicBezTo>
                    <a:pt x="24614" y="10667"/>
                    <a:pt x="24356" y="10667"/>
                    <a:pt x="24528" y="10632"/>
                  </a:cubicBezTo>
                  <a:cubicBezTo>
                    <a:pt x="24700" y="10598"/>
                    <a:pt x="24425" y="10632"/>
                    <a:pt x="24528" y="10804"/>
                  </a:cubicBezTo>
                  <a:cubicBezTo>
                    <a:pt x="24631" y="10976"/>
                    <a:pt x="24528" y="10804"/>
                    <a:pt x="24528" y="10804"/>
                  </a:cubicBezTo>
                  <a:cubicBezTo>
                    <a:pt x="24751" y="10804"/>
                    <a:pt x="24614" y="10804"/>
                    <a:pt x="24528" y="10924"/>
                  </a:cubicBezTo>
                  <a:cubicBezTo>
                    <a:pt x="24442" y="11045"/>
                    <a:pt x="24528" y="11079"/>
                    <a:pt x="24528" y="11148"/>
                  </a:cubicBezTo>
                  <a:cubicBezTo>
                    <a:pt x="24374" y="10924"/>
                    <a:pt x="24528" y="11440"/>
                    <a:pt x="24288" y="11148"/>
                  </a:cubicBezTo>
                  <a:cubicBezTo>
                    <a:pt x="24288" y="11268"/>
                    <a:pt x="24064" y="11268"/>
                    <a:pt x="23978" y="11388"/>
                  </a:cubicBezTo>
                  <a:lnTo>
                    <a:pt x="23978" y="11388"/>
                  </a:lnTo>
                  <a:cubicBezTo>
                    <a:pt x="23978" y="11388"/>
                    <a:pt x="23841" y="11388"/>
                    <a:pt x="23790" y="11388"/>
                  </a:cubicBezTo>
                  <a:cubicBezTo>
                    <a:pt x="23738" y="11388"/>
                    <a:pt x="23790" y="11388"/>
                    <a:pt x="23790" y="11388"/>
                  </a:cubicBezTo>
                  <a:cubicBezTo>
                    <a:pt x="23790" y="11388"/>
                    <a:pt x="23738" y="11594"/>
                    <a:pt x="23669" y="11440"/>
                  </a:cubicBezTo>
                  <a:close/>
                  <a:moveTo>
                    <a:pt x="38184" y="41533"/>
                  </a:moveTo>
                  <a:cubicBezTo>
                    <a:pt x="38063" y="41224"/>
                    <a:pt x="38579" y="40880"/>
                    <a:pt x="38802" y="40640"/>
                  </a:cubicBezTo>
                  <a:cubicBezTo>
                    <a:pt x="39025" y="40399"/>
                    <a:pt x="39025" y="39729"/>
                    <a:pt x="39540" y="39523"/>
                  </a:cubicBezTo>
                  <a:lnTo>
                    <a:pt x="39540" y="39523"/>
                  </a:lnTo>
                  <a:cubicBezTo>
                    <a:pt x="39540" y="39523"/>
                    <a:pt x="39540" y="39523"/>
                    <a:pt x="39540" y="39523"/>
                  </a:cubicBezTo>
                  <a:cubicBezTo>
                    <a:pt x="39540" y="39523"/>
                    <a:pt x="39644" y="39523"/>
                    <a:pt x="39781" y="39386"/>
                  </a:cubicBezTo>
                  <a:cubicBezTo>
                    <a:pt x="39661" y="39678"/>
                    <a:pt x="40073" y="39077"/>
                    <a:pt x="39953" y="39386"/>
                  </a:cubicBezTo>
                  <a:cubicBezTo>
                    <a:pt x="39832" y="39695"/>
                    <a:pt x="39953" y="39386"/>
                    <a:pt x="39953" y="39386"/>
                  </a:cubicBezTo>
                  <a:cubicBezTo>
                    <a:pt x="39953" y="39386"/>
                    <a:pt x="39953" y="39386"/>
                    <a:pt x="39953" y="39248"/>
                  </a:cubicBezTo>
                  <a:cubicBezTo>
                    <a:pt x="39953" y="39111"/>
                    <a:pt x="40073" y="39248"/>
                    <a:pt x="39953" y="39248"/>
                  </a:cubicBezTo>
                  <a:lnTo>
                    <a:pt x="39953" y="39248"/>
                  </a:lnTo>
                  <a:cubicBezTo>
                    <a:pt x="39953" y="39248"/>
                    <a:pt x="39953" y="39248"/>
                    <a:pt x="39953" y="39369"/>
                  </a:cubicBezTo>
                  <a:cubicBezTo>
                    <a:pt x="39953" y="39489"/>
                    <a:pt x="40090" y="39197"/>
                    <a:pt x="40107" y="39266"/>
                  </a:cubicBezTo>
                  <a:cubicBezTo>
                    <a:pt x="40124" y="39334"/>
                    <a:pt x="40107" y="39266"/>
                    <a:pt x="40107" y="39145"/>
                  </a:cubicBezTo>
                  <a:cubicBezTo>
                    <a:pt x="40107" y="39025"/>
                    <a:pt x="40262" y="39145"/>
                    <a:pt x="40107" y="39042"/>
                  </a:cubicBezTo>
                  <a:cubicBezTo>
                    <a:pt x="39953" y="38939"/>
                    <a:pt x="40107" y="39145"/>
                    <a:pt x="40262" y="38939"/>
                  </a:cubicBezTo>
                  <a:cubicBezTo>
                    <a:pt x="40416" y="38733"/>
                    <a:pt x="40537" y="38733"/>
                    <a:pt x="40485" y="38561"/>
                  </a:cubicBezTo>
                  <a:cubicBezTo>
                    <a:pt x="40434" y="38389"/>
                    <a:pt x="40588" y="38561"/>
                    <a:pt x="40674" y="38441"/>
                  </a:cubicBezTo>
                  <a:cubicBezTo>
                    <a:pt x="40760" y="38321"/>
                    <a:pt x="40674" y="38664"/>
                    <a:pt x="40674" y="38664"/>
                  </a:cubicBezTo>
                  <a:cubicBezTo>
                    <a:pt x="41344" y="38922"/>
                    <a:pt x="37514" y="43560"/>
                    <a:pt x="38184" y="41533"/>
                  </a:cubicBezTo>
                  <a:close/>
                  <a:moveTo>
                    <a:pt x="49159" y="26589"/>
                  </a:moveTo>
                  <a:cubicBezTo>
                    <a:pt x="49159" y="26589"/>
                    <a:pt x="49159" y="26589"/>
                    <a:pt x="49159" y="26589"/>
                  </a:cubicBezTo>
                  <a:cubicBezTo>
                    <a:pt x="48810" y="27921"/>
                    <a:pt x="48552" y="29276"/>
                    <a:pt x="48386" y="30643"/>
                  </a:cubicBezTo>
                  <a:cubicBezTo>
                    <a:pt x="48386" y="30540"/>
                    <a:pt x="48215" y="30780"/>
                    <a:pt x="48215" y="30849"/>
                  </a:cubicBezTo>
                  <a:cubicBezTo>
                    <a:pt x="48026" y="31570"/>
                    <a:pt x="47579" y="26864"/>
                    <a:pt x="47613" y="26452"/>
                  </a:cubicBezTo>
                  <a:cubicBezTo>
                    <a:pt x="47459" y="26452"/>
                    <a:pt x="47613" y="26263"/>
                    <a:pt x="47613" y="26160"/>
                  </a:cubicBezTo>
                  <a:cubicBezTo>
                    <a:pt x="47613" y="26057"/>
                    <a:pt x="47528" y="26160"/>
                    <a:pt x="47528" y="26160"/>
                  </a:cubicBezTo>
                  <a:cubicBezTo>
                    <a:pt x="47528" y="26555"/>
                    <a:pt x="47373" y="27362"/>
                    <a:pt x="47098" y="26606"/>
                  </a:cubicBezTo>
                  <a:cubicBezTo>
                    <a:pt x="47098" y="26606"/>
                    <a:pt x="46909" y="26332"/>
                    <a:pt x="46995" y="26383"/>
                  </a:cubicBezTo>
                  <a:lnTo>
                    <a:pt x="46995" y="26383"/>
                  </a:lnTo>
                  <a:cubicBezTo>
                    <a:pt x="46995" y="26538"/>
                    <a:pt x="46995" y="26383"/>
                    <a:pt x="46995" y="26383"/>
                  </a:cubicBezTo>
                  <a:cubicBezTo>
                    <a:pt x="46995" y="26383"/>
                    <a:pt x="47201" y="26074"/>
                    <a:pt x="47081" y="26040"/>
                  </a:cubicBezTo>
                  <a:cubicBezTo>
                    <a:pt x="47081" y="26383"/>
                    <a:pt x="46583" y="26040"/>
                    <a:pt x="46806" y="25833"/>
                  </a:cubicBezTo>
                  <a:cubicBezTo>
                    <a:pt x="46806" y="25833"/>
                    <a:pt x="46806" y="25937"/>
                    <a:pt x="46686" y="25971"/>
                  </a:cubicBezTo>
                  <a:cubicBezTo>
                    <a:pt x="46566" y="26005"/>
                    <a:pt x="46686" y="25885"/>
                    <a:pt x="46549" y="25971"/>
                  </a:cubicBezTo>
                  <a:cubicBezTo>
                    <a:pt x="46411" y="26057"/>
                    <a:pt x="46549" y="25696"/>
                    <a:pt x="46428" y="25559"/>
                  </a:cubicBezTo>
                  <a:cubicBezTo>
                    <a:pt x="46239" y="25730"/>
                    <a:pt x="46428" y="25318"/>
                    <a:pt x="46119" y="25438"/>
                  </a:cubicBezTo>
                  <a:cubicBezTo>
                    <a:pt x="46119" y="25438"/>
                    <a:pt x="45965" y="25524"/>
                    <a:pt x="45913" y="25610"/>
                  </a:cubicBezTo>
                  <a:cubicBezTo>
                    <a:pt x="45861" y="25696"/>
                    <a:pt x="45810" y="25610"/>
                    <a:pt x="45741" y="25610"/>
                  </a:cubicBezTo>
                  <a:cubicBezTo>
                    <a:pt x="45673" y="25610"/>
                    <a:pt x="45604" y="25610"/>
                    <a:pt x="45552" y="25765"/>
                  </a:cubicBezTo>
                  <a:cubicBezTo>
                    <a:pt x="45501" y="25919"/>
                    <a:pt x="45552" y="25765"/>
                    <a:pt x="45432" y="25765"/>
                  </a:cubicBezTo>
                  <a:cubicBezTo>
                    <a:pt x="45312" y="25765"/>
                    <a:pt x="45260" y="25885"/>
                    <a:pt x="45209" y="25679"/>
                  </a:cubicBezTo>
                  <a:cubicBezTo>
                    <a:pt x="45209" y="25782"/>
                    <a:pt x="44814" y="25679"/>
                    <a:pt x="44728" y="25679"/>
                  </a:cubicBezTo>
                  <a:cubicBezTo>
                    <a:pt x="44642" y="25679"/>
                    <a:pt x="44573" y="25679"/>
                    <a:pt x="44453" y="25679"/>
                  </a:cubicBezTo>
                  <a:cubicBezTo>
                    <a:pt x="44178" y="24683"/>
                    <a:pt x="44144" y="25541"/>
                    <a:pt x="43663" y="25404"/>
                  </a:cubicBezTo>
                  <a:cubicBezTo>
                    <a:pt x="43560" y="25404"/>
                    <a:pt x="43251" y="25284"/>
                    <a:pt x="43285" y="25146"/>
                  </a:cubicBezTo>
                  <a:cubicBezTo>
                    <a:pt x="43319" y="25009"/>
                    <a:pt x="42838" y="25146"/>
                    <a:pt x="42804" y="24803"/>
                  </a:cubicBezTo>
                  <a:cubicBezTo>
                    <a:pt x="42804" y="24803"/>
                    <a:pt x="42684" y="24803"/>
                    <a:pt x="42804" y="24803"/>
                  </a:cubicBezTo>
                  <a:cubicBezTo>
                    <a:pt x="42632" y="24803"/>
                    <a:pt x="42564" y="24185"/>
                    <a:pt x="42375" y="24425"/>
                  </a:cubicBezTo>
                  <a:cubicBezTo>
                    <a:pt x="42375" y="24339"/>
                    <a:pt x="42220" y="24425"/>
                    <a:pt x="42272" y="24270"/>
                  </a:cubicBezTo>
                  <a:cubicBezTo>
                    <a:pt x="42323" y="24116"/>
                    <a:pt x="42272" y="24270"/>
                    <a:pt x="42272" y="24270"/>
                  </a:cubicBezTo>
                  <a:cubicBezTo>
                    <a:pt x="42272" y="24270"/>
                    <a:pt x="42272" y="24494"/>
                    <a:pt x="42272" y="24270"/>
                  </a:cubicBezTo>
                  <a:cubicBezTo>
                    <a:pt x="42272" y="24047"/>
                    <a:pt x="42272" y="24580"/>
                    <a:pt x="42100" y="24597"/>
                  </a:cubicBezTo>
                  <a:lnTo>
                    <a:pt x="42220" y="24597"/>
                  </a:lnTo>
                  <a:lnTo>
                    <a:pt x="42220" y="24597"/>
                  </a:lnTo>
                  <a:cubicBezTo>
                    <a:pt x="42220" y="24597"/>
                    <a:pt x="42220" y="24700"/>
                    <a:pt x="42220" y="24734"/>
                  </a:cubicBezTo>
                  <a:cubicBezTo>
                    <a:pt x="42220" y="24769"/>
                    <a:pt x="42220" y="24837"/>
                    <a:pt x="42220" y="24734"/>
                  </a:cubicBezTo>
                  <a:cubicBezTo>
                    <a:pt x="42259" y="24896"/>
                    <a:pt x="42365" y="25033"/>
                    <a:pt x="42512" y="25112"/>
                  </a:cubicBezTo>
                  <a:cubicBezTo>
                    <a:pt x="42512" y="25112"/>
                    <a:pt x="42821" y="25438"/>
                    <a:pt x="42770" y="25610"/>
                  </a:cubicBezTo>
                  <a:lnTo>
                    <a:pt x="42770" y="25610"/>
                  </a:lnTo>
                  <a:cubicBezTo>
                    <a:pt x="42993" y="25851"/>
                    <a:pt x="43027" y="26314"/>
                    <a:pt x="43045" y="25782"/>
                  </a:cubicBezTo>
                  <a:cubicBezTo>
                    <a:pt x="43045" y="25645"/>
                    <a:pt x="43045" y="25438"/>
                    <a:pt x="43165" y="25627"/>
                  </a:cubicBezTo>
                  <a:cubicBezTo>
                    <a:pt x="43133" y="25786"/>
                    <a:pt x="43133" y="25950"/>
                    <a:pt x="43165" y="26108"/>
                  </a:cubicBezTo>
                  <a:cubicBezTo>
                    <a:pt x="43165" y="26108"/>
                    <a:pt x="43165" y="26297"/>
                    <a:pt x="43165" y="26211"/>
                  </a:cubicBezTo>
                  <a:lnTo>
                    <a:pt x="43165" y="26366"/>
                  </a:lnTo>
                  <a:cubicBezTo>
                    <a:pt x="43371" y="26177"/>
                    <a:pt x="43646" y="26366"/>
                    <a:pt x="43766" y="26091"/>
                  </a:cubicBezTo>
                  <a:lnTo>
                    <a:pt x="43766" y="26091"/>
                  </a:lnTo>
                  <a:cubicBezTo>
                    <a:pt x="43766" y="25833"/>
                    <a:pt x="44024" y="25593"/>
                    <a:pt x="44058" y="25318"/>
                  </a:cubicBezTo>
                  <a:lnTo>
                    <a:pt x="44058" y="25318"/>
                  </a:lnTo>
                  <a:cubicBezTo>
                    <a:pt x="44058" y="25318"/>
                    <a:pt x="44058" y="25146"/>
                    <a:pt x="44058" y="25215"/>
                  </a:cubicBezTo>
                  <a:cubicBezTo>
                    <a:pt x="44058" y="25284"/>
                    <a:pt x="44058" y="25559"/>
                    <a:pt x="44058" y="25507"/>
                  </a:cubicBezTo>
                  <a:cubicBezTo>
                    <a:pt x="44058" y="25851"/>
                    <a:pt x="44247" y="26280"/>
                    <a:pt x="44642" y="26091"/>
                  </a:cubicBezTo>
                  <a:cubicBezTo>
                    <a:pt x="44947" y="26440"/>
                    <a:pt x="44947" y="26961"/>
                    <a:pt x="44642" y="27311"/>
                  </a:cubicBezTo>
                  <a:cubicBezTo>
                    <a:pt x="44642" y="27105"/>
                    <a:pt x="44487" y="27757"/>
                    <a:pt x="44642" y="27877"/>
                  </a:cubicBezTo>
                  <a:cubicBezTo>
                    <a:pt x="44230" y="27877"/>
                    <a:pt x="44505" y="28290"/>
                    <a:pt x="44109" y="28376"/>
                  </a:cubicBezTo>
                  <a:cubicBezTo>
                    <a:pt x="44109" y="28496"/>
                    <a:pt x="44109" y="28599"/>
                    <a:pt x="44109" y="28719"/>
                  </a:cubicBezTo>
                  <a:cubicBezTo>
                    <a:pt x="43847" y="28757"/>
                    <a:pt x="43612" y="28900"/>
                    <a:pt x="43457" y="29114"/>
                  </a:cubicBezTo>
                  <a:cubicBezTo>
                    <a:pt x="43457" y="29475"/>
                    <a:pt x="42924" y="29595"/>
                    <a:pt x="42684" y="29767"/>
                  </a:cubicBezTo>
                  <a:cubicBezTo>
                    <a:pt x="42443" y="29939"/>
                    <a:pt x="42495" y="30042"/>
                    <a:pt x="42357" y="29990"/>
                  </a:cubicBezTo>
                  <a:cubicBezTo>
                    <a:pt x="42248" y="30193"/>
                    <a:pt x="42016" y="30299"/>
                    <a:pt x="41791" y="30248"/>
                  </a:cubicBezTo>
                  <a:cubicBezTo>
                    <a:pt x="41649" y="30457"/>
                    <a:pt x="41423" y="30595"/>
                    <a:pt x="41172" y="30626"/>
                  </a:cubicBezTo>
                  <a:cubicBezTo>
                    <a:pt x="41035" y="30317"/>
                    <a:pt x="41172" y="29904"/>
                    <a:pt x="40897" y="29629"/>
                  </a:cubicBezTo>
                  <a:cubicBezTo>
                    <a:pt x="41155" y="29011"/>
                    <a:pt x="40262" y="28204"/>
                    <a:pt x="39850" y="27706"/>
                  </a:cubicBezTo>
                  <a:cubicBezTo>
                    <a:pt x="39850" y="27293"/>
                    <a:pt x="39747" y="26589"/>
                    <a:pt x="39283" y="26606"/>
                  </a:cubicBezTo>
                  <a:cubicBezTo>
                    <a:pt x="39111" y="25799"/>
                    <a:pt x="38166" y="25370"/>
                    <a:pt x="38338" y="24751"/>
                  </a:cubicBezTo>
                  <a:cubicBezTo>
                    <a:pt x="38218" y="24975"/>
                    <a:pt x="38338" y="25249"/>
                    <a:pt x="38201" y="25438"/>
                  </a:cubicBezTo>
                  <a:cubicBezTo>
                    <a:pt x="37948" y="25233"/>
                    <a:pt x="37727" y="24989"/>
                    <a:pt x="37548" y="24717"/>
                  </a:cubicBezTo>
                  <a:cubicBezTo>
                    <a:pt x="37840" y="25370"/>
                    <a:pt x="38304" y="26022"/>
                    <a:pt x="38682" y="26692"/>
                  </a:cubicBezTo>
                  <a:lnTo>
                    <a:pt x="38682" y="26692"/>
                  </a:lnTo>
                  <a:cubicBezTo>
                    <a:pt x="38718" y="26746"/>
                    <a:pt x="38765" y="26793"/>
                    <a:pt x="38819" y="26830"/>
                  </a:cubicBezTo>
                  <a:cubicBezTo>
                    <a:pt x="38819" y="26830"/>
                    <a:pt x="38716" y="26830"/>
                    <a:pt x="38699" y="26830"/>
                  </a:cubicBezTo>
                  <a:cubicBezTo>
                    <a:pt x="38699" y="27328"/>
                    <a:pt x="39231" y="27311"/>
                    <a:pt x="39317" y="27826"/>
                  </a:cubicBezTo>
                  <a:cubicBezTo>
                    <a:pt x="39180" y="27826"/>
                    <a:pt x="39420" y="28187"/>
                    <a:pt x="39317" y="28376"/>
                  </a:cubicBezTo>
                  <a:cubicBezTo>
                    <a:pt x="39214" y="28565"/>
                    <a:pt x="39644" y="28719"/>
                    <a:pt x="39712" y="28891"/>
                  </a:cubicBezTo>
                  <a:cubicBezTo>
                    <a:pt x="39781" y="29063"/>
                    <a:pt x="39884" y="29561"/>
                    <a:pt x="40021" y="29715"/>
                  </a:cubicBezTo>
                  <a:cubicBezTo>
                    <a:pt x="40159" y="29870"/>
                    <a:pt x="40142" y="30007"/>
                    <a:pt x="40021" y="29801"/>
                  </a:cubicBezTo>
                  <a:cubicBezTo>
                    <a:pt x="39901" y="29595"/>
                    <a:pt x="40021" y="30042"/>
                    <a:pt x="40193" y="29939"/>
                  </a:cubicBezTo>
                  <a:cubicBezTo>
                    <a:pt x="40571" y="29939"/>
                    <a:pt x="40708" y="30591"/>
                    <a:pt x="40932" y="30626"/>
                  </a:cubicBezTo>
                  <a:cubicBezTo>
                    <a:pt x="41155" y="30660"/>
                    <a:pt x="40932" y="30746"/>
                    <a:pt x="41035" y="30746"/>
                  </a:cubicBezTo>
                  <a:cubicBezTo>
                    <a:pt x="41037" y="30889"/>
                    <a:pt x="40935" y="31013"/>
                    <a:pt x="40794" y="31038"/>
                  </a:cubicBezTo>
                  <a:cubicBezTo>
                    <a:pt x="41035" y="31038"/>
                    <a:pt x="41086" y="31364"/>
                    <a:pt x="41327" y="31450"/>
                  </a:cubicBezTo>
                  <a:cubicBezTo>
                    <a:pt x="41782" y="31205"/>
                    <a:pt x="42267" y="31020"/>
                    <a:pt x="42770" y="30901"/>
                  </a:cubicBezTo>
                  <a:cubicBezTo>
                    <a:pt x="42857" y="30834"/>
                    <a:pt x="42933" y="30752"/>
                    <a:pt x="42993" y="30660"/>
                  </a:cubicBezTo>
                  <a:cubicBezTo>
                    <a:pt x="43165" y="30660"/>
                    <a:pt x="42993" y="31021"/>
                    <a:pt x="42993" y="31210"/>
                  </a:cubicBezTo>
                  <a:cubicBezTo>
                    <a:pt x="42993" y="31399"/>
                    <a:pt x="42993" y="31210"/>
                    <a:pt x="42993" y="31210"/>
                  </a:cubicBezTo>
                  <a:cubicBezTo>
                    <a:pt x="42684" y="33580"/>
                    <a:pt x="39163" y="34989"/>
                    <a:pt x="38922" y="37033"/>
                  </a:cubicBezTo>
                  <a:cubicBezTo>
                    <a:pt x="38922" y="37033"/>
                    <a:pt x="38716" y="37204"/>
                    <a:pt x="38802" y="37307"/>
                  </a:cubicBezTo>
                  <a:cubicBezTo>
                    <a:pt x="38888" y="37410"/>
                    <a:pt x="38596" y="37874"/>
                    <a:pt x="38802" y="38012"/>
                  </a:cubicBezTo>
                  <a:cubicBezTo>
                    <a:pt x="38630" y="38407"/>
                    <a:pt x="38493" y="38991"/>
                    <a:pt x="38355" y="39248"/>
                  </a:cubicBezTo>
                  <a:cubicBezTo>
                    <a:pt x="38218" y="39506"/>
                    <a:pt x="38149" y="39369"/>
                    <a:pt x="38355" y="39351"/>
                  </a:cubicBezTo>
                  <a:cubicBezTo>
                    <a:pt x="38063" y="39781"/>
                    <a:pt x="37514" y="39901"/>
                    <a:pt x="37119" y="40193"/>
                  </a:cubicBezTo>
                  <a:lnTo>
                    <a:pt x="37119" y="40193"/>
                  </a:lnTo>
                  <a:cubicBezTo>
                    <a:pt x="36902" y="40432"/>
                    <a:pt x="36622" y="40604"/>
                    <a:pt x="36311" y="40691"/>
                  </a:cubicBezTo>
                  <a:cubicBezTo>
                    <a:pt x="36339" y="40751"/>
                    <a:pt x="36339" y="40820"/>
                    <a:pt x="36311" y="40880"/>
                  </a:cubicBezTo>
                  <a:cubicBezTo>
                    <a:pt x="36311" y="40880"/>
                    <a:pt x="36311" y="41000"/>
                    <a:pt x="36311" y="41035"/>
                  </a:cubicBezTo>
                  <a:cubicBezTo>
                    <a:pt x="36311" y="41069"/>
                    <a:pt x="36311" y="41292"/>
                    <a:pt x="36311" y="41395"/>
                  </a:cubicBezTo>
                  <a:cubicBezTo>
                    <a:pt x="36311" y="41498"/>
                    <a:pt x="36311" y="41310"/>
                    <a:pt x="36311" y="41292"/>
                  </a:cubicBezTo>
                  <a:lnTo>
                    <a:pt x="36311" y="41292"/>
                  </a:lnTo>
                  <a:lnTo>
                    <a:pt x="36311" y="41292"/>
                  </a:lnTo>
                  <a:cubicBezTo>
                    <a:pt x="36311" y="41447"/>
                    <a:pt x="36122" y="41567"/>
                    <a:pt x="36054" y="41705"/>
                  </a:cubicBezTo>
                  <a:lnTo>
                    <a:pt x="36054" y="41705"/>
                  </a:lnTo>
                  <a:cubicBezTo>
                    <a:pt x="35865" y="42117"/>
                    <a:pt x="35126" y="41997"/>
                    <a:pt x="35006" y="42392"/>
                  </a:cubicBezTo>
                  <a:lnTo>
                    <a:pt x="35126" y="42392"/>
                  </a:lnTo>
                  <a:cubicBezTo>
                    <a:pt x="35084" y="42471"/>
                    <a:pt x="35025" y="42542"/>
                    <a:pt x="34954" y="42598"/>
                  </a:cubicBezTo>
                  <a:lnTo>
                    <a:pt x="34954" y="42598"/>
                  </a:lnTo>
                  <a:cubicBezTo>
                    <a:pt x="34162" y="43425"/>
                    <a:pt x="33158" y="44019"/>
                    <a:pt x="32051" y="44315"/>
                  </a:cubicBezTo>
                  <a:cubicBezTo>
                    <a:pt x="31588" y="44161"/>
                    <a:pt x="31124" y="44453"/>
                    <a:pt x="30660" y="44418"/>
                  </a:cubicBezTo>
                  <a:cubicBezTo>
                    <a:pt x="30660" y="44333"/>
                    <a:pt x="30660" y="44418"/>
                    <a:pt x="30660" y="44418"/>
                  </a:cubicBezTo>
                  <a:cubicBezTo>
                    <a:pt x="30660" y="44418"/>
                    <a:pt x="30557" y="44333"/>
                    <a:pt x="30660" y="44418"/>
                  </a:cubicBezTo>
                  <a:cubicBezTo>
                    <a:pt x="30763" y="44504"/>
                    <a:pt x="30798" y="44230"/>
                    <a:pt x="30660" y="44092"/>
                  </a:cubicBezTo>
                  <a:cubicBezTo>
                    <a:pt x="30987" y="43938"/>
                    <a:pt x="30660" y="43508"/>
                    <a:pt x="30660" y="43199"/>
                  </a:cubicBezTo>
                  <a:cubicBezTo>
                    <a:pt x="30128" y="42392"/>
                    <a:pt x="30437" y="41189"/>
                    <a:pt x="29836" y="40296"/>
                  </a:cubicBezTo>
                  <a:cubicBezTo>
                    <a:pt x="29836" y="39369"/>
                    <a:pt x="31210" y="38956"/>
                    <a:pt x="30591" y="38046"/>
                  </a:cubicBezTo>
                  <a:cubicBezTo>
                    <a:pt x="30866" y="37840"/>
                    <a:pt x="30591" y="37428"/>
                    <a:pt x="30471" y="37204"/>
                  </a:cubicBezTo>
                  <a:lnTo>
                    <a:pt x="30574" y="37204"/>
                  </a:lnTo>
                  <a:cubicBezTo>
                    <a:pt x="30574" y="37204"/>
                    <a:pt x="30334" y="37204"/>
                    <a:pt x="30454" y="37050"/>
                  </a:cubicBezTo>
                  <a:cubicBezTo>
                    <a:pt x="30248" y="36449"/>
                    <a:pt x="29561" y="36242"/>
                    <a:pt x="29423" y="35607"/>
                  </a:cubicBezTo>
                  <a:cubicBezTo>
                    <a:pt x="29578" y="35607"/>
                    <a:pt x="29612" y="35487"/>
                    <a:pt x="29630" y="35298"/>
                  </a:cubicBezTo>
                  <a:cubicBezTo>
                    <a:pt x="29647" y="35109"/>
                    <a:pt x="29767" y="35298"/>
                    <a:pt x="29819" y="35298"/>
                  </a:cubicBezTo>
                  <a:cubicBezTo>
                    <a:pt x="29741" y="35301"/>
                    <a:pt x="29670" y="35252"/>
                    <a:pt x="29647" y="35177"/>
                  </a:cubicBezTo>
                  <a:cubicBezTo>
                    <a:pt x="29767" y="35177"/>
                    <a:pt x="29750" y="35057"/>
                    <a:pt x="29647" y="35040"/>
                  </a:cubicBezTo>
                  <a:cubicBezTo>
                    <a:pt x="29897" y="34793"/>
                    <a:pt x="29972" y="34419"/>
                    <a:pt x="29836" y="34095"/>
                  </a:cubicBezTo>
                  <a:cubicBezTo>
                    <a:pt x="29681" y="34198"/>
                    <a:pt x="29612" y="34095"/>
                    <a:pt x="29612" y="33906"/>
                  </a:cubicBezTo>
                  <a:cubicBezTo>
                    <a:pt x="29559" y="33957"/>
                    <a:pt x="29477" y="33957"/>
                    <a:pt x="29423" y="33906"/>
                  </a:cubicBezTo>
                  <a:cubicBezTo>
                    <a:pt x="29269" y="34095"/>
                    <a:pt x="28771" y="34078"/>
                    <a:pt x="28496" y="34044"/>
                  </a:cubicBezTo>
                  <a:cubicBezTo>
                    <a:pt x="28118" y="32807"/>
                    <a:pt x="26778" y="33529"/>
                    <a:pt x="25937" y="33821"/>
                  </a:cubicBezTo>
                  <a:cubicBezTo>
                    <a:pt x="24219" y="33305"/>
                    <a:pt x="23961" y="34490"/>
                    <a:pt x="22501" y="32687"/>
                  </a:cubicBezTo>
                  <a:cubicBezTo>
                    <a:pt x="22330" y="32687"/>
                    <a:pt x="22364" y="32429"/>
                    <a:pt x="22226" y="32361"/>
                  </a:cubicBezTo>
                  <a:cubicBezTo>
                    <a:pt x="22089" y="32292"/>
                    <a:pt x="22226" y="32240"/>
                    <a:pt x="22226" y="32137"/>
                  </a:cubicBezTo>
                  <a:cubicBezTo>
                    <a:pt x="22226" y="32034"/>
                    <a:pt x="21883" y="31897"/>
                    <a:pt x="21986" y="31828"/>
                  </a:cubicBezTo>
                  <a:cubicBezTo>
                    <a:pt x="21608" y="31828"/>
                    <a:pt x="21814" y="31485"/>
                    <a:pt x="21591" y="31536"/>
                  </a:cubicBezTo>
                  <a:cubicBezTo>
                    <a:pt x="21368" y="31588"/>
                    <a:pt x="21591" y="31450"/>
                    <a:pt x="21436" y="31450"/>
                  </a:cubicBezTo>
                  <a:lnTo>
                    <a:pt x="21436" y="31450"/>
                  </a:lnTo>
                  <a:lnTo>
                    <a:pt x="21436" y="31450"/>
                  </a:lnTo>
                  <a:cubicBezTo>
                    <a:pt x="21436" y="31450"/>
                    <a:pt x="21436" y="31450"/>
                    <a:pt x="21436" y="31347"/>
                  </a:cubicBezTo>
                  <a:cubicBezTo>
                    <a:pt x="21436" y="31244"/>
                    <a:pt x="21625" y="31347"/>
                    <a:pt x="21642" y="31347"/>
                  </a:cubicBezTo>
                  <a:cubicBezTo>
                    <a:pt x="21660" y="31347"/>
                    <a:pt x="21076" y="31347"/>
                    <a:pt x="21247" y="31158"/>
                  </a:cubicBezTo>
                  <a:cubicBezTo>
                    <a:pt x="21110" y="31158"/>
                    <a:pt x="21076" y="31158"/>
                    <a:pt x="21041" y="30986"/>
                  </a:cubicBezTo>
                  <a:cubicBezTo>
                    <a:pt x="21007" y="30815"/>
                    <a:pt x="21162" y="30986"/>
                    <a:pt x="21213" y="30986"/>
                  </a:cubicBezTo>
                  <a:cubicBezTo>
                    <a:pt x="21265" y="30986"/>
                    <a:pt x="21076" y="30986"/>
                    <a:pt x="21024" y="30986"/>
                  </a:cubicBezTo>
                  <a:cubicBezTo>
                    <a:pt x="20973" y="30986"/>
                    <a:pt x="21024" y="30849"/>
                    <a:pt x="21024" y="30780"/>
                  </a:cubicBezTo>
                  <a:cubicBezTo>
                    <a:pt x="21024" y="30712"/>
                    <a:pt x="21179" y="30935"/>
                    <a:pt x="21299" y="30780"/>
                  </a:cubicBezTo>
                  <a:cubicBezTo>
                    <a:pt x="21419" y="30626"/>
                    <a:pt x="21024" y="30694"/>
                    <a:pt x="21144" y="30626"/>
                  </a:cubicBezTo>
                  <a:lnTo>
                    <a:pt x="21144" y="30626"/>
                  </a:lnTo>
                  <a:cubicBezTo>
                    <a:pt x="21144" y="30626"/>
                    <a:pt x="20990" y="30368"/>
                    <a:pt x="20921" y="30299"/>
                  </a:cubicBezTo>
                  <a:cubicBezTo>
                    <a:pt x="21365" y="29847"/>
                    <a:pt x="21523" y="29187"/>
                    <a:pt x="21333" y="28582"/>
                  </a:cubicBezTo>
                  <a:cubicBezTo>
                    <a:pt x="21471" y="28582"/>
                    <a:pt x="21333" y="28393"/>
                    <a:pt x="21436" y="28358"/>
                  </a:cubicBezTo>
                  <a:cubicBezTo>
                    <a:pt x="21539" y="28324"/>
                    <a:pt x="21265" y="28255"/>
                    <a:pt x="21247" y="28135"/>
                  </a:cubicBezTo>
                  <a:lnTo>
                    <a:pt x="21247" y="28221"/>
                  </a:lnTo>
                  <a:cubicBezTo>
                    <a:pt x="21228" y="27927"/>
                    <a:pt x="21357" y="27644"/>
                    <a:pt x="21591" y="27465"/>
                  </a:cubicBezTo>
                  <a:cubicBezTo>
                    <a:pt x="21952" y="26297"/>
                    <a:pt x="23103" y="25833"/>
                    <a:pt x="23927" y="25043"/>
                  </a:cubicBezTo>
                  <a:cubicBezTo>
                    <a:pt x="23935" y="24883"/>
                    <a:pt x="23935" y="24723"/>
                    <a:pt x="23927" y="24562"/>
                  </a:cubicBezTo>
                  <a:cubicBezTo>
                    <a:pt x="23927" y="24373"/>
                    <a:pt x="24288" y="24288"/>
                    <a:pt x="24133" y="24081"/>
                  </a:cubicBezTo>
                  <a:cubicBezTo>
                    <a:pt x="24677" y="23812"/>
                    <a:pt x="25139" y="23403"/>
                    <a:pt x="25473" y="22896"/>
                  </a:cubicBezTo>
                  <a:cubicBezTo>
                    <a:pt x="25473" y="23240"/>
                    <a:pt x="26005" y="23223"/>
                    <a:pt x="26194" y="23102"/>
                  </a:cubicBezTo>
                  <a:cubicBezTo>
                    <a:pt x="26521" y="23497"/>
                    <a:pt x="27225" y="22828"/>
                    <a:pt x="27586" y="22725"/>
                  </a:cubicBezTo>
                  <a:cubicBezTo>
                    <a:pt x="27946" y="22621"/>
                    <a:pt x="28771" y="22725"/>
                    <a:pt x="29063" y="22587"/>
                  </a:cubicBezTo>
                  <a:cubicBezTo>
                    <a:pt x="29355" y="22450"/>
                    <a:pt x="29286" y="22828"/>
                    <a:pt x="29372" y="22587"/>
                  </a:cubicBezTo>
                  <a:cubicBezTo>
                    <a:pt x="29647" y="22828"/>
                    <a:pt x="29939" y="22450"/>
                    <a:pt x="30162" y="22587"/>
                  </a:cubicBezTo>
                  <a:cubicBezTo>
                    <a:pt x="30162" y="22398"/>
                    <a:pt x="30299" y="22725"/>
                    <a:pt x="30385" y="22776"/>
                  </a:cubicBezTo>
                  <a:cubicBezTo>
                    <a:pt x="30746" y="22415"/>
                    <a:pt x="30488" y="22862"/>
                    <a:pt x="30385" y="23017"/>
                  </a:cubicBezTo>
                  <a:cubicBezTo>
                    <a:pt x="31021" y="23446"/>
                    <a:pt x="29956" y="23618"/>
                    <a:pt x="30385" y="23910"/>
                  </a:cubicBezTo>
                  <a:cubicBezTo>
                    <a:pt x="30385" y="23910"/>
                    <a:pt x="30385" y="23910"/>
                    <a:pt x="30506" y="23910"/>
                  </a:cubicBezTo>
                  <a:cubicBezTo>
                    <a:pt x="30626" y="23910"/>
                    <a:pt x="30506" y="23824"/>
                    <a:pt x="30506" y="23910"/>
                  </a:cubicBezTo>
                  <a:cubicBezTo>
                    <a:pt x="30677" y="24322"/>
                    <a:pt x="31313" y="24013"/>
                    <a:pt x="31622" y="24236"/>
                  </a:cubicBezTo>
                  <a:cubicBezTo>
                    <a:pt x="34851" y="26469"/>
                    <a:pt x="32343" y="23566"/>
                    <a:pt x="34473" y="24236"/>
                  </a:cubicBezTo>
                  <a:cubicBezTo>
                    <a:pt x="34834" y="24580"/>
                    <a:pt x="35641" y="24477"/>
                    <a:pt x="36191" y="24700"/>
                  </a:cubicBezTo>
                  <a:cubicBezTo>
                    <a:pt x="36741" y="24923"/>
                    <a:pt x="36724" y="24597"/>
                    <a:pt x="37084" y="24494"/>
                  </a:cubicBezTo>
                  <a:cubicBezTo>
                    <a:pt x="36844" y="24580"/>
                    <a:pt x="37084" y="24494"/>
                    <a:pt x="37187" y="24494"/>
                  </a:cubicBezTo>
                  <a:cubicBezTo>
                    <a:pt x="37290" y="24494"/>
                    <a:pt x="37187" y="24494"/>
                    <a:pt x="37187" y="24494"/>
                  </a:cubicBezTo>
                  <a:cubicBezTo>
                    <a:pt x="37187" y="24494"/>
                    <a:pt x="37411" y="24494"/>
                    <a:pt x="37462" y="24494"/>
                  </a:cubicBezTo>
                  <a:cubicBezTo>
                    <a:pt x="37514" y="24494"/>
                    <a:pt x="37565" y="24614"/>
                    <a:pt x="37565" y="24665"/>
                  </a:cubicBezTo>
                  <a:cubicBezTo>
                    <a:pt x="37565" y="24717"/>
                    <a:pt x="37565" y="24562"/>
                    <a:pt x="37565" y="24494"/>
                  </a:cubicBezTo>
                  <a:cubicBezTo>
                    <a:pt x="38733" y="24889"/>
                    <a:pt x="38338" y="22776"/>
                    <a:pt x="38407" y="22381"/>
                  </a:cubicBezTo>
                  <a:cubicBezTo>
                    <a:pt x="38218" y="22536"/>
                    <a:pt x="37892" y="22381"/>
                    <a:pt x="37840" y="22656"/>
                  </a:cubicBezTo>
                  <a:cubicBezTo>
                    <a:pt x="37496" y="23051"/>
                    <a:pt x="36775" y="22106"/>
                    <a:pt x="36775" y="22656"/>
                  </a:cubicBezTo>
                  <a:cubicBezTo>
                    <a:pt x="36620" y="22656"/>
                    <a:pt x="36225" y="22828"/>
                    <a:pt x="36277" y="22536"/>
                  </a:cubicBezTo>
                  <a:cubicBezTo>
                    <a:pt x="36277" y="22536"/>
                    <a:pt x="36277" y="22536"/>
                    <a:pt x="36140" y="22536"/>
                  </a:cubicBezTo>
                  <a:cubicBezTo>
                    <a:pt x="36002" y="22536"/>
                    <a:pt x="35951" y="22690"/>
                    <a:pt x="35933" y="22536"/>
                  </a:cubicBezTo>
                  <a:lnTo>
                    <a:pt x="35727" y="22536"/>
                  </a:lnTo>
                  <a:cubicBezTo>
                    <a:pt x="35727" y="22450"/>
                    <a:pt x="35951" y="22536"/>
                    <a:pt x="35951" y="22398"/>
                  </a:cubicBezTo>
                  <a:cubicBezTo>
                    <a:pt x="35951" y="22261"/>
                    <a:pt x="35556" y="22501"/>
                    <a:pt x="35762" y="22398"/>
                  </a:cubicBezTo>
                  <a:cubicBezTo>
                    <a:pt x="35521" y="22244"/>
                    <a:pt x="35762" y="22106"/>
                    <a:pt x="35401" y="22020"/>
                  </a:cubicBezTo>
                  <a:cubicBezTo>
                    <a:pt x="35040" y="21934"/>
                    <a:pt x="35401" y="21883"/>
                    <a:pt x="35401" y="21831"/>
                  </a:cubicBezTo>
                  <a:cubicBezTo>
                    <a:pt x="35401" y="21780"/>
                    <a:pt x="35401" y="21952"/>
                    <a:pt x="35573" y="21831"/>
                  </a:cubicBezTo>
                  <a:lnTo>
                    <a:pt x="35573" y="21831"/>
                  </a:lnTo>
                  <a:cubicBezTo>
                    <a:pt x="35573" y="21831"/>
                    <a:pt x="35710" y="21831"/>
                    <a:pt x="35676" y="21694"/>
                  </a:cubicBezTo>
                  <a:cubicBezTo>
                    <a:pt x="35641" y="21557"/>
                    <a:pt x="35504" y="21522"/>
                    <a:pt x="35676" y="21488"/>
                  </a:cubicBezTo>
                  <a:cubicBezTo>
                    <a:pt x="35195" y="21660"/>
                    <a:pt x="35435" y="20938"/>
                    <a:pt x="35779" y="21179"/>
                  </a:cubicBezTo>
                  <a:cubicBezTo>
                    <a:pt x="35779" y="21041"/>
                    <a:pt x="36071" y="21179"/>
                    <a:pt x="36225" y="21179"/>
                  </a:cubicBezTo>
                  <a:cubicBezTo>
                    <a:pt x="35916" y="21058"/>
                    <a:pt x="36363" y="21076"/>
                    <a:pt x="36397" y="20990"/>
                  </a:cubicBezTo>
                  <a:cubicBezTo>
                    <a:pt x="35676" y="20766"/>
                    <a:pt x="36775" y="20869"/>
                    <a:pt x="36827" y="20784"/>
                  </a:cubicBezTo>
                  <a:cubicBezTo>
                    <a:pt x="36964" y="20406"/>
                    <a:pt x="37479" y="20457"/>
                    <a:pt x="37788" y="20371"/>
                  </a:cubicBezTo>
                  <a:cubicBezTo>
                    <a:pt x="37788" y="20543"/>
                    <a:pt x="37960" y="20560"/>
                    <a:pt x="38063" y="20371"/>
                  </a:cubicBezTo>
                  <a:cubicBezTo>
                    <a:pt x="38166" y="20182"/>
                    <a:pt x="38201" y="20663"/>
                    <a:pt x="38287" y="20526"/>
                  </a:cubicBezTo>
                  <a:cubicBezTo>
                    <a:pt x="40760" y="21024"/>
                    <a:pt x="38991" y="19324"/>
                    <a:pt x="37857" y="19049"/>
                  </a:cubicBezTo>
                  <a:cubicBezTo>
                    <a:pt x="37857" y="19049"/>
                    <a:pt x="37857" y="19049"/>
                    <a:pt x="37857" y="18911"/>
                  </a:cubicBezTo>
                  <a:cubicBezTo>
                    <a:pt x="37857" y="18774"/>
                    <a:pt x="38063" y="18911"/>
                    <a:pt x="37977" y="18791"/>
                  </a:cubicBezTo>
                  <a:cubicBezTo>
                    <a:pt x="37892" y="18671"/>
                    <a:pt x="38201" y="18637"/>
                    <a:pt x="37977" y="18551"/>
                  </a:cubicBezTo>
                  <a:cubicBezTo>
                    <a:pt x="37754" y="18465"/>
                    <a:pt x="37874" y="18551"/>
                    <a:pt x="37857" y="18448"/>
                  </a:cubicBezTo>
                  <a:cubicBezTo>
                    <a:pt x="37840" y="18345"/>
                    <a:pt x="38029" y="18448"/>
                    <a:pt x="38029" y="18448"/>
                  </a:cubicBezTo>
                  <a:cubicBezTo>
                    <a:pt x="38029" y="18448"/>
                    <a:pt x="38166" y="18310"/>
                    <a:pt x="38132" y="18224"/>
                  </a:cubicBezTo>
                  <a:cubicBezTo>
                    <a:pt x="38098" y="18138"/>
                    <a:pt x="37651" y="18224"/>
                    <a:pt x="37548" y="18499"/>
                  </a:cubicBezTo>
                  <a:cubicBezTo>
                    <a:pt x="37548" y="18499"/>
                    <a:pt x="37445" y="18585"/>
                    <a:pt x="37359" y="18499"/>
                  </a:cubicBezTo>
                  <a:cubicBezTo>
                    <a:pt x="37273" y="18413"/>
                    <a:pt x="37256" y="18499"/>
                    <a:pt x="37204" y="18499"/>
                  </a:cubicBezTo>
                  <a:cubicBezTo>
                    <a:pt x="37153" y="18499"/>
                    <a:pt x="37204" y="18774"/>
                    <a:pt x="37204" y="18705"/>
                  </a:cubicBezTo>
                  <a:cubicBezTo>
                    <a:pt x="37204" y="18637"/>
                    <a:pt x="37204" y="18585"/>
                    <a:pt x="37204" y="18568"/>
                  </a:cubicBezTo>
                  <a:cubicBezTo>
                    <a:pt x="37204" y="18551"/>
                    <a:pt x="36964" y="18722"/>
                    <a:pt x="36878" y="18791"/>
                  </a:cubicBezTo>
                  <a:cubicBezTo>
                    <a:pt x="36792" y="18860"/>
                    <a:pt x="37170" y="18791"/>
                    <a:pt x="37136" y="18946"/>
                  </a:cubicBezTo>
                  <a:cubicBezTo>
                    <a:pt x="37101" y="19100"/>
                    <a:pt x="37136" y="18946"/>
                    <a:pt x="37136" y="18946"/>
                  </a:cubicBezTo>
                  <a:cubicBezTo>
                    <a:pt x="37136" y="18946"/>
                    <a:pt x="37136" y="19066"/>
                    <a:pt x="37325" y="19049"/>
                  </a:cubicBezTo>
                  <a:cubicBezTo>
                    <a:pt x="37514" y="19032"/>
                    <a:pt x="37016" y="18825"/>
                    <a:pt x="37084" y="18705"/>
                  </a:cubicBezTo>
                  <a:cubicBezTo>
                    <a:pt x="37153" y="18585"/>
                    <a:pt x="37273" y="18980"/>
                    <a:pt x="37393" y="19014"/>
                  </a:cubicBezTo>
                  <a:cubicBezTo>
                    <a:pt x="37514" y="19049"/>
                    <a:pt x="37393" y="19014"/>
                    <a:pt x="37514" y="19014"/>
                  </a:cubicBezTo>
                  <a:cubicBezTo>
                    <a:pt x="37634" y="19014"/>
                    <a:pt x="37617" y="18929"/>
                    <a:pt x="37685" y="18929"/>
                  </a:cubicBezTo>
                  <a:cubicBezTo>
                    <a:pt x="37754" y="18929"/>
                    <a:pt x="37685" y="19152"/>
                    <a:pt x="37462" y="19100"/>
                  </a:cubicBezTo>
                  <a:cubicBezTo>
                    <a:pt x="37239" y="19049"/>
                    <a:pt x="36861" y="19650"/>
                    <a:pt x="36912" y="19100"/>
                  </a:cubicBezTo>
                  <a:cubicBezTo>
                    <a:pt x="36775" y="18980"/>
                    <a:pt x="36466" y="19100"/>
                    <a:pt x="36758" y="18860"/>
                  </a:cubicBezTo>
                  <a:cubicBezTo>
                    <a:pt x="37050" y="18619"/>
                    <a:pt x="36620" y="18602"/>
                    <a:pt x="36500" y="18740"/>
                  </a:cubicBezTo>
                  <a:cubicBezTo>
                    <a:pt x="36380" y="18877"/>
                    <a:pt x="36311" y="18740"/>
                    <a:pt x="36380" y="18619"/>
                  </a:cubicBezTo>
                  <a:cubicBezTo>
                    <a:pt x="36449" y="18499"/>
                    <a:pt x="36191" y="18619"/>
                    <a:pt x="36157" y="18619"/>
                  </a:cubicBezTo>
                  <a:cubicBezTo>
                    <a:pt x="36122" y="18619"/>
                    <a:pt x="36380" y="18619"/>
                    <a:pt x="36449" y="18619"/>
                  </a:cubicBezTo>
                  <a:cubicBezTo>
                    <a:pt x="36396" y="18670"/>
                    <a:pt x="36313" y="18670"/>
                    <a:pt x="36260" y="18619"/>
                  </a:cubicBezTo>
                  <a:cubicBezTo>
                    <a:pt x="36260" y="18791"/>
                    <a:pt x="36122" y="18619"/>
                    <a:pt x="36088" y="18740"/>
                  </a:cubicBezTo>
                  <a:cubicBezTo>
                    <a:pt x="36054" y="18860"/>
                    <a:pt x="36088" y="18929"/>
                    <a:pt x="35916" y="18946"/>
                  </a:cubicBezTo>
                  <a:cubicBezTo>
                    <a:pt x="35744" y="18963"/>
                    <a:pt x="35916" y="19221"/>
                    <a:pt x="35796" y="19083"/>
                  </a:cubicBezTo>
                  <a:cubicBezTo>
                    <a:pt x="35916" y="19392"/>
                    <a:pt x="35796" y="19409"/>
                    <a:pt x="35607" y="19598"/>
                  </a:cubicBezTo>
                  <a:cubicBezTo>
                    <a:pt x="35418" y="19787"/>
                    <a:pt x="35607" y="19856"/>
                    <a:pt x="35607" y="19993"/>
                  </a:cubicBezTo>
                  <a:cubicBezTo>
                    <a:pt x="35607" y="20131"/>
                    <a:pt x="35401" y="20097"/>
                    <a:pt x="35470" y="20251"/>
                  </a:cubicBezTo>
                  <a:cubicBezTo>
                    <a:pt x="35538" y="20406"/>
                    <a:pt x="35607" y="20440"/>
                    <a:pt x="35607" y="20698"/>
                  </a:cubicBezTo>
                  <a:cubicBezTo>
                    <a:pt x="35607" y="20955"/>
                    <a:pt x="36054" y="20835"/>
                    <a:pt x="35899" y="20990"/>
                  </a:cubicBezTo>
                  <a:cubicBezTo>
                    <a:pt x="35744" y="21144"/>
                    <a:pt x="35435" y="21144"/>
                    <a:pt x="35212" y="21333"/>
                  </a:cubicBezTo>
                  <a:cubicBezTo>
                    <a:pt x="35212" y="21230"/>
                    <a:pt x="35212" y="21179"/>
                    <a:pt x="35315" y="21144"/>
                  </a:cubicBezTo>
                  <a:cubicBezTo>
                    <a:pt x="35109" y="21144"/>
                    <a:pt x="34851" y="20887"/>
                    <a:pt x="34731" y="21144"/>
                  </a:cubicBezTo>
                  <a:cubicBezTo>
                    <a:pt x="34559" y="21144"/>
                    <a:pt x="34611" y="21144"/>
                    <a:pt x="34491" y="21230"/>
                  </a:cubicBezTo>
                  <a:cubicBezTo>
                    <a:pt x="34370" y="21316"/>
                    <a:pt x="34491" y="21333"/>
                    <a:pt x="34611" y="21385"/>
                  </a:cubicBezTo>
                  <a:cubicBezTo>
                    <a:pt x="34731" y="21436"/>
                    <a:pt x="34422" y="21299"/>
                    <a:pt x="34439" y="21385"/>
                  </a:cubicBezTo>
                  <a:cubicBezTo>
                    <a:pt x="34456" y="21471"/>
                    <a:pt x="34559" y="21385"/>
                    <a:pt x="34439" y="21471"/>
                  </a:cubicBezTo>
                  <a:cubicBezTo>
                    <a:pt x="34319" y="21557"/>
                    <a:pt x="34164" y="21350"/>
                    <a:pt x="34439" y="21471"/>
                  </a:cubicBezTo>
                  <a:cubicBezTo>
                    <a:pt x="34302" y="21471"/>
                    <a:pt x="34250" y="21333"/>
                    <a:pt x="34164" y="21282"/>
                  </a:cubicBezTo>
                  <a:cubicBezTo>
                    <a:pt x="34078" y="21230"/>
                    <a:pt x="33924" y="21402"/>
                    <a:pt x="34164" y="21522"/>
                  </a:cubicBezTo>
                  <a:cubicBezTo>
                    <a:pt x="34405" y="21642"/>
                    <a:pt x="34542" y="21986"/>
                    <a:pt x="34164" y="21728"/>
                  </a:cubicBezTo>
                  <a:cubicBezTo>
                    <a:pt x="34164" y="21728"/>
                    <a:pt x="34164" y="21728"/>
                    <a:pt x="34164" y="21728"/>
                  </a:cubicBezTo>
                  <a:cubicBezTo>
                    <a:pt x="34164" y="21728"/>
                    <a:pt x="34164" y="21849"/>
                    <a:pt x="34164" y="21831"/>
                  </a:cubicBezTo>
                  <a:cubicBezTo>
                    <a:pt x="34353" y="21969"/>
                    <a:pt x="34680" y="22020"/>
                    <a:pt x="34662" y="22295"/>
                  </a:cubicBezTo>
                  <a:cubicBezTo>
                    <a:pt x="34542" y="22295"/>
                    <a:pt x="34473" y="22175"/>
                    <a:pt x="34336" y="22295"/>
                  </a:cubicBezTo>
                  <a:cubicBezTo>
                    <a:pt x="34199" y="22415"/>
                    <a:pt x="34645" y="22536"/>
                    <a:pt x="34456" y="22467"/>
                  </a:cubicBezTo>
                  <a:cubicBezTo>
                    <a:pt x="34267" y="22398"/>
                    <a:pt x="34456" y="22467"/>
                    <a:pt x="34456" y="22467"/>
                  </a:cubicBezTo>
                  <a:cubicBezTo>
                    <a:pt x="34456" y="22467"/>
                    <a:pt x="34456" y="22707"/>
                    <a:pt x="34456" y="22776"/>
                  </a:cubicBezTo>
                  <a:cubicBezTo>
                    <a:pt x="34456" y="22845"/>
                    <a:pt x="34216" y="22587"/>
                    <a:pt x="34250" y="22776"/>
                  </a:cubicBezTo>
                  <a:cubicBezTo>
                    <a:pt x="34250" y="22621"/>
                    <a:pt x="34147" y="22639"/>
                    <a:pt x="34078" y="22518"/>
                  </a:cubicBezTo>
                  <a:cubicBezTo>
                    <a:pt x="34010" y="22398"/>
                    <a:pt x="34078" y="22604"/>
                    <a:pt x="34078" y="22656"/>
                  </a:cubicBezTo>
                  <a:cubicBezTo>
                    <a:pt x="33988" y="22604"/>
                    <a:pt x="33946" y="22498"/>
                    <a:pt x="33975" y="22398"/>
                  </a:cubicBezTo>
                  <a:cubicBezTo>
                    <a:pt x="33855" y="22295"/>
                    <a:pt x="33666" y="22226"/>
                    <a:pt x="33855" y="22089"/>
                  </a:cubicBezTo>
                  <a:cubicBezTo>
                    <a:pt x="34044" y="21952"/>
                    <a:pt x="34199" y="22261"/>
                    <a:pt x="34353" y="22089"/>
                  </a:cubicBezTo>
                  <a:cubicBezTo>
                    <a:pt x="34216" y="22089"/>
                    <a:pt x="34061" y="21917"/>
                    <a:pt x="33958" y="22089"/>
                  </a:cubicBezTo>
                  <a:cubicBezTo>
                    <a:pt x="33855" y="22261"/>
                    <a:pt x="33838" y="21969"/>
                    <a:pt x="33786" y="22089"/>
                  </a:cubicBezTo>
                  <a:cubicBezTo>
                    <a:pt x="33546" y="21849"/>
                    <a:pt x="33374" y="21471"/>
                    <a:pt x="33065" y="21316"/>
                  </a:cubicBezTo>
                  <a:cubicBezTo>
                    <a:pt x="33065" y="21127"/>
                    <a:pt x="33065" y="20921"/>
                    <a:pt x="33065" y="20732"/>
                  </a:cubicBezTo>
                  <a:cubicBezTo>
                    <a:pt x="32859" y="20732"/>
                    <a:pt x="32739" y="20457"/>
                    <a:pt x="32584" y="20320"/>
                  </a:cubicBezTo>
                  <a:cubicBezTo>
                    <a:pt x="32429" y="20182"/>
                    <a:pt x="32326" y="20320"/>
                    <a:pt x="32275" y="20320"/>
                  </a:cubicBezTo>
                  <a:cubicBezTo>
                    <a:pt x="32223" y="20320"/>
                    <a:pt x="32275" y="20320"/>
                    <a:pt x="32395" y="20320"/>
                  </a:cubicBezTo>
                  <a:cubicBezTo>
                    <a:pt x="32515" y="20320"/>
                    <a:pt x="32103" y="20062"/>
                    <a:pt x="31931" y="20131"/>
                  </a:cubicBezTo>
                  <a:cubicBezTo>
                    <a:pt x="31759" y="20200"/>
                    <a:pt x="31416" y="19839"/>
                    <a:pt x="31742" y="19856"/>
                  </a:cubicBezTo>
                  <a:cubicBezTo>
                    <a:pt x="31347" y="19616"/>
                    <a:pt x="31536" y="19135"/>
                    <a:pt x="31175" y="19633"/>
                  </a:cubicBezTo>
                  <a:cubicBezTo>
                    <a:pt x="31175" y="19530"/>
                    <a:pt x="31038" y="19409"/>
                    <a:pt x="31175" y="19306"/>
                  </a:cubicBezTo>
                  <a:cubicBezTo>
                    <a:pt x="31313" y="19203"/>
                    <a:pt x="30832" y="19306"/>
                    <a:pt x="30746" y="19427"/>
                  </a:cubicBezTo>
                  <a:cubicBezTo>
                    <a:pt x="30746" y="19942"/>
                    <a:pt x="31347" y="20268"/>
                    <a:pt x="31656" y="20681"/>
                  </a:cubicBezTo>
                  <a:cubicBezTo>
                    <a:pt x="31811" y="20681"/>
                    <a:pt x="32223" y="20681"/>
                    <a:pt x="31983" y="20887"/>
                  </a:cubicBezTo>
                  <a:cubicBezTo>
                    <a:pt x="32223" y="21024"/>
                    <a:pt x="32979" y="21161"/>
                    <a:pt x="32807" y="21539"/>
                  </a:cubicBezTo>
                  <a:cubicBezTo>
                    <a:pt x="32653" y="21539"/>
                    <a:pt x="32807" y="21282"/>
                    <a:pt x="32532" y="21333"/>
                  </a:cubicBezTo>
                  <a:cubicBezTo>
                    <a:pt x="32258" y="21385"/>
                    <a:pt x="32258" y="21539"/>
                    <a:pt x="32309" y="21625"/>
                  </a:cubicBezTo>
                  <a:cubicBezTo>
                    <a:pt x="32670" y="21728"/>
                    <a:pt x="32309" y="21934"/>
                    <a:pt x="32309" y="22141"/>
                  </a:cubicBezTo>
                  <a:cubicBezTo>
                    <a:pt x="32309" y="22347"/>
                    <a:pt x="31845" y="22415"/>
                    <a:pt x="32086" y="22141"/>
                  </a:cubicBezTo>
                  <a:cubicBezTo>
                    <a:pt x="32197" y="21856"/>
                    <a:pt x="32069" y="21534"/>
                    <a:pt x="31794" y="21402"/>
                  </a:cubicBezTo>
                  <a:cubicBezTo>
                    <a:pt x="31639" y="21402"/>
                    <a:pt x="31794" y="21282"/>
                    <a:pt x="31656" y="21230"/>
                  </a:cubicBezTo>
                  <a:cubicBezTo>
                    <a:pt x="31518" y="21226"/>
                    <a:pt x="31393" y="21147"/>
                    <a:pt x="31330" y="21024"/>
                  </a:cubicBezTo>
                  <a:cubicBezTo>
                    <a:pt x="30317" y="21024"/>
                    <a:pt x="30145" y="18980"/>
                    <a:pt x="29080" y="20217"/>
                  </a:cubicBezTo>
                  <a:cubicBezTo>
                    <a:pt x="29080" y="20423"/>
                    <a:pt x="28736" y="20217"/>
                    <a:pt x="28633" y="20114"/>
                  </a:cubicBezTo>
                  <a:cubicBezTo>
                    <a:pt x="27568" y="19993"/>
                    <a:pt x="28633" y="20921"/>
                    <a:pt x="27448" y="21093"/>
                  </a:cubicBezTo>
                  <a:cubicBezTo>
                    <a:pt x="27534" y="21093"/>
                    <a:pt x="27448" y="21265"/>
                    <a:pt x="27448" y="21213"/>
                  </a:cubicBezTo>
                  <a:cubicBezTo>
                    <a:pt x="26744" y="21763"/>
                    <a:pt x="27448" y="21728"/>
                    <a:pt x="27191" y="22003"/>
                  </a:cubicBezTo>
                  <a:cubicBezTo>
                    <a:pt x="26950" y="22003"/>
                    <a:pt x="27070" y="22450"/>
                    <a:pt x="26847" y="22398"/>
                  </a:cubicBezTo>
                  <a:cubicBezTo>
                    <a:pt x="26418" y="22862"/>
                    <a:pt x="25919" y="22398"/>
                    <a:pt x="25421" y="22896"/>
                  </a:cubicBezTo>
                  <a:cubicBezTo>
                    <a:pt x="25095" y="22896"/>
                    <a:pt x="25147" y="22192"/>
                    <a:pt x="24700" y="22501"/>
                  </a:cubicBezTo>
                  <a:cubicBezTo>
                    <a:pt x="24700" y="22501"/>
                    <a:pt x="24494" y="22364"/>
                    <a:pt x="24408" y="22501"/>
                  </a:cubicBezTo>
                  <a:cubicBezTo>
                    <a:pt x="24426" y="22310"/>
                    <a:pt x="24460" y="22120"/>
                    <a:pt x="24511" y="21934"/>
                  </a:cubicBezTo>
                  <a:cubicBezTo>
                    <a:pt x="24185" y="21934"/>
                    <a:pt x="24511" y="21934"/>
                    <a:pt x="24511" y="21763"/>
                  </a:cubicBezTo>
                  <a:cubicBezTo>
                    <a:pt x="24099" y="22020"/>
                    <a:pt x="24614" y="21299"/>
                    <a:pt x="24631" y="21144"/>
                  </a:cubicBezTo>
                  <a:cubicBezTo>
                    <a:pt x="24648" y="20990"/>
                    <a:pt x="24631" y="20595"/>
                    <a:pt x="24734" y="20457"/>
                  </a:cubicBezTo>
                  <a:lnTo>
                    <a:pt x="24734" y="20457"/>
                  </a:lnTo>
                  <a:cubicBezTo>
                    <a:pt x="24734" y="20457"/>
                    <a:pt x="24734" y="20457"/>
                    <a:pt x="24734" y="20337"/>
                  </a:cubicBezTo>
                  <a:cubicBezTo>
                    <a:pt x="24734" y="20217"/>
                    <a:pt x="24734" y="20337"/>
                    <a:pt x="24734" y="20234"/>
                  </a:cubicBezTo>
                  <a:cubicBezTo>
                    <a:pt x="24734" y="20131"/>
                    <a:pt x="24940" y="20097"/>
                    <a:pt x="25026" y="20045"/>
                  </a:cubicBezTo>
                  <a:cubicBezTo>
                    <a:pt x="25112" y="19993"/>
                    <a:pt x="25404" y="20045"/>
                    <a:pt x="25490" y="20045"/>
                  </a:cubicBezTo>
                  <a:cubicBezTo>
                    <a:pt x="25851" y="20045"/>
                    <a:pt x="26246" y="20217"/>
                    <a:pt x="26607" y="20131"/>
                  </a:cubicBezTo>
                  <a:cubicBezTo>
                    <a:pt x="27242" y="20629"/>
                    <a:pt x="26847" y="18911"/>
                    <a:pt x="27276" y="19564"/>
                  </a:cubicBezTo>
                  <a:cubicBezTo>
                    <a:pt x="27276" y="19461"/>
                    <a:pt x="27173" y="19306"/>
                    <a:pt x="27053" y="19289"/>
                  </a:cubicBezTo>
                  <a:cubicBezTo>
                    <a:pt x="27225" y="19066"/>
                    <a:pt x="26899" y="19014"/>
                    <a:pt x="26813" y="18860"/>
                  </a:cubicBezTo>
                  <a:cubicBezTo>
                    <a:pt x="26727" y="18705"/>
                    <a:pt x="26813" y="18619"/>
                    <a:pt x="26950" y="18722"/>
                  </a:cubicBezTo>
                  <a:cubicBezTo>
                    <a:pt x="26847" y="18568"/>
                    <a:pt x="26727" y="18825"/>
                    <a:pt x="26727" y="18551"/>
                  </a:cubicBezTo>
                  <a:cubicBezTo>
                    <a:pt x="26607" y="18551"/>
                    <a:pt x="26400" y="18345"/>
                    <a:pt x="26229" y="18465"/>
                  </a:cubicBezTo>
                  <a:cubicBezTo>
                    <a:pt x="26057" y="18585"/>
                    <a:pt x="26229" y="18465"/>
                    <a:pt x="26229" y="18345"/>
                  </a:cubicBezTo>
                  <a:cubicBezTo>
                    <a:pt x="26229" y="18224"/>
                    <a:pt x="26332" y="18190"/>
                    <a:pt x="26229" y="18345"/>
                  </a:cubicBezTo>
                  <a:cubicBezTo>
                    <a:pt x="26126" y="18499"/>
                    <a:pt x="26229" y="18345"/>
                    <a:pt x="26229" y="18345"/>
                  </a:cubicBezTo>
                  <a:cubicBezTo>
                    <a:pt x="25851" y="18224"/>
                    <a:pt x="26435" y="18207"/>
                    <a:pt x="26555" y="18121"/>
                  </a:cubicBezTo>
                  <a:cubicBezTo>
                    <a:pt x="26692" y="18293"/>
                    <a:pt x="26795" y="18121"/>
                    <a:pt x="27019" y="18241"/>
                  </a:cubicBezTo>
                  <a:cubicBezTo>
                    <a:pt x="26989" y="18096"/>
                    <a:pt x="26949" y="17952"/>
                    <a:pt x="26899" y="17812"/>
                  </a:cubicBezTo>
                  <a:cubicBezTo>
                    <a:pt x="26899" y="17812"/>
                    <a:pt x="27053" y="17812"/>
                    <a:pt x="27105" y="17812"/>
                  </a:cubicBezTo>
                  <a:cubicBezTo>
                    <a:pt x="27156" y="17812"/>
                    <a:pt x="27397" y="18001"/>
                    <a:pt x="27500" y="17812"/>
                  </a:cubicBezTo>
                  <a:cubicBezTo>
                    <a:pt x="27259" y="17623"/>
                    <a:pt x="27775" y="17709"/>
                    <a:pt x="27775" y="17606"/>
                  </a:cubicBezTo>
                  <a:cubicBezTo>
                    <a:pt x="27775" y="17503"/>
                    <a:pt x="27860" y="17383"/>
                    <a:pt x="27895" y="17280"/>
                  </a:cubicBezTo>
                  <a:cubicBezTo>
                    <a:pt x="27929" y="17177"/>
                    <a:pt x="28204" y="16988"/>
                    <a:pt x="28444" y="17125"/>
                  </a:cubicBezTo>
                  <a:cubicBezTo>
                    <a:pt x="28273" y="17125"/>
                    <a:pt x="28221" y="16919"/>
                    <a:pt x="28444" y="17125"/>
                  </a:cubicBezTo>
                  <a:cubicBezTo>
                    <a:pt x="28668" y="17331"/>
                    <a:pt x="28324" y="17005"/>
                    <a:pt x="28547" y="17022"/>
                  </a:cubicBezTo>
                  <a:cubicBezTo>
                    <a:pt x="28187" y="16764"/>
                    <a:pt x="28925" y="16112"/>
                    <a:pt x="29286" y="16438"/>
                  </a:cubicBezTo>
                  <a:cubicBezTo>
                    <a:pt x="29028" y="16249"/>
                    <a:pt x="29389" y="16112"/>
                    <a:pt x="29458" y="16438"/>
                  </a:cubicBezTo>
                  <a:cubicBezTo>
                    <a:pt x="29458" y="16197"/>
                    <a:pt x="29458" y="16438"/>
                    <a:pt x="29595" y="16438"/>
                  </a:cubicBezTo>
                  <a:cubicBezTo>
                    <a:pt x="29441" y="16026"/>
                    <a:pt x="29750" y="16232"/>
                    <a:pt x="29956" y="16301"/>
                  </a:cubicBezTo>
                  <a:cubicBezTo>
                    <a:pt x="29389" y="16043"/>
                    <a:pt x="29544" y="15493"/>
                    <a:pt x="29389" y="15115"/>
                  </a:cubicBezTo>
                  <a:cubicBezTo>
                    <a:pt x="29630" y="15115"/>
                    <a:pt x="29527" y="14961"/>
                    <a:pt x="29664" y="15115"/>
                  </a:cubicBezTo>
                  <a:cubicBezTo>
                    <a:pt x="29664" y="14634"/>
                    <a:pt x="29836" y="15115"/>
                    <a:pt x="30025" y="15115"/>
                  </a:cubicBezTo>
                  <a:cubicBezTo>
                    <a:pt x="30025" y="15373"/>
                    <a:pt x="29527" y="15528"/>
                    <a:pt x="29922" y="16009"/>
                  </a:cubicBezTo>
                  <a:cubicBezTo>
                    <a:pt x="29922" y="15888"/>
                    <a:pt x="30334" y="16009"/>
                    <a:pt x="30059" y="16094"/>
                  </a:cubicBezTo>
                  <a:cubicBezTo>
                    <a:pt x="30591" y="16094"/>
                    <a:pt x="30385" y="15768"/>
                    <a:pt x="30883" y="16094"/>
                  </a:cubicBezTo>
                  <a:cubicBezTo>
                    <a:pt x="31124" y="16472"/>
                    <a:pt x="31656" y="15356"/>
                    <a:pt x="32103" y="15768"/>
                  </a:cubicBezTo>
                  <a:cubicBezTo>
                    <a:pt x="31828" y="15768"/>
                    <a:pt x="32103" y="16043"/>
                    <a:pt x="32326" y="15768"/>
                  </a:cubicBezTo>
                  <a:cubicBezTo>
                    <a:pt x="32299" y="15829"/>
                    <a:pt x="32250" y="15878"/>
                    <a:pt x="32189" y="15905"/>
                  </a:cubicBezTo>
                  <a:cubicBezTo>
                    <a:pt x="34078" y="15820"/>
                    <a:pt x="31656" y="15270"/>
                    <a:pt x="32704" y="14497"/>
                  </a:cubicBezTo>
                  <a:cubicBezTo>
                    <a:pt x="33082" y="15081"/>
                    <a:pt x="33202" y="14686"/>
                    <a:pt x="33031" y="14222"/>
                  </a:cubicBezTo>
                  <a:cubicBezTo>
                    <a:pt x="33031" y="14428"/>
                    <a:pt x="32739" y="14222"/>
                    <a:pt x="32842" y="14068"/>
                  </a:cubicBezTo>
                  <a:cubicBezTo>
                    <a:pt x="32532" y="14068"/>
                    <a:pt x="32842" y="13758"/>
                    <a:pt x="32842" y="13690"/>
                  </a:cubicBezTo>
                  <a:cubicBezTo>
                    <a:pt x="32842" y="13621"/>
                    <a:pt x="33082" y="13690"/>
                    <a:pt x="32979" y="13690"/>
                  </a:cubicBezTo>
                  <a:lnTo>
                    <a:pt x="33615" y="13793"/>
                  </a:lnTo>
                  <a:cubicBezTo>
                    <a:pt x="33426" y="13501"/>
                    <a:pt x="33615" y="13690"/>
                    <a:pt x="33752" y="13466"/>
                  </a:cubicBezTo>
                  <a:cubicBezTo>
                    <a:pt x="33889" y="13243"/>
                    <a:pt x="33305" y="13363"/>
                    <a:pt x="33546" y="13192"/>
                  </a:cubicBezTo>
                  <a:cubicBezTo>
                    <a:pt x="33546" y="13192"/>
                    <a:pt x="33426" y="13295"/>
                    <a:pt x="33408" y="13192"/>
                  </a:cubicBezTo>
                  <a:cubicBezTo>
                    <a:pt x="33408" y="13346"/>
                    <a:pt x="33099" y="13363"/>
                    <a:pt x="33031" y="13312"/>
                  </a:cubicBezTo>
                  <a:cubicBezTo>
                    <a:pt x="32962" y="13260"/>
                    <a:pt x="33031" y="13312"/>
                    <a:pt x="33031" y="13312"/>
                  </a:cubicBezTo>
                  <a:cubicBezTo>
                    <a:pt x="33031" y="13312"/>
                    <a:pt x="33031" y="13552"/>
                    <a:pt x="33031" y="13312"/>
                  </a:cubicBezTo>
                  <a:cubicBezTo>
                    <a:pt x="33031" y="13449"/>
                    <a:pt x="32601" y="13466"/>
                    <a:pt x="32567" y="13621"/>
                  </a:cubicBezTo>
                  <a:cubicBezTo>
                    <a:pt x="32567" y="13312"/>
                    <a:pt x="32412" y="13415"/>
                    <a:pt x="32172" y="13260"/>
                  </a:cubicBezTo>
                  <a:cubicBezTo>
                    <a:pt x="31931" y="13106"/>
                    <a:pt x="31691" y="12144"/>
                    <a:pt x="31914" y="12058"/>
                  </a:cubicBezTo>
                  <a:cubicBezTo>
                    <a:pt x="32137" y="11972"/>
                    <a:pt x="31914" y="11972"/>
                    <a:pt x="32017" y="12058"/>
                  </a:cubicBezTo>
                  <a:cubicBezTo>
                    <a:pt x="32120" y="12144"/>
                    <a:pt x="32017" y="11921"/>
                    <a:pt x="32017" y="11817"/>
                  </a:cubicBezTo>
                  <a:cubicBezTo>
                    <a:pt x="32017" y="11714"/>
                    <a:pt x="32240" y="11354"/>
                    <a:pt x="32309" y="11457"/>
                  </a:cubicBezTo>
                  <a:cubicBezTo>
                    <a:pt x="32103" y="11010"/>
                    <a:pt x="31708" y="11148"/>
                    <a:pt x="31502" y="11182"/>
                  </a:cubicBezTo>
                  <a:cubicBezTo>
                    <a:pt x="31622" y="11354"/>
                    <a:pt x="31502" y="11577"/>
                    <a:pt x="31656" y="11714"/>
                  </a:cubicBezTo>
                  <a:cubicBezTo>
                    <a:pt x="31532" y="12056"/>
                    <a:pt x="31318" y="12359"/>
                    <a:pt x="31038" y="12590"/>
                  </a:cubicBezTo>
                  <a:cubicBezTo>
                    <a:pt x="31158" y="12676"/>
                    <a:pt x="31038" y="12848"/>
                    <a:pt x="31175" y="12968"/>
                  </a:cubicBezTo>
                  <a:cubicBezTo>
                    <a:pt x="30883" y="13123"/>
                    <a:pt x="32189" y="13999"/>
                    <a:pt x="31382" y="13793"/>
                  </a:cubicBezTo>
                  <a:cubicBezTo>
                    <a:pt x="31382" y="13793"/>
                    <a:pt x="30901" y="13793"/>
                    <a:pt x="31210" y="13913"/>
                  </a:cubicBezTo>
                  <a:cubicBezTo>
                    <a:pt x="31519" y="14033"/>
                    <a:pt x="31811" y="14119"/>
                    <a:pt x="31485" y="14050"/>
                  </a:cubicBezTo>
                  <a:cubicBezTo>
                    <a:pt x="31485" y="14050"/>
                    <a:pt x="31485" y="14257"/>
                    <a:pt x="31364" y="14188"/>
                  </a:cubicBezTo>
                  <a:cubicBezTo>
                    <a:pt x="31244" y="14119"/>
                    <a:pt x="31467" y="14325"/>
                    <a:pt x="31364" y="14342"/>
                  </a:cubicBezTo>
                  <a:cubicBezTo>
                    <a:pt x="31485" y="14342"/>
                    <a:pt x="31519" y="14600"/>
                    <a:pt x="31364" y="14514"/>
                  </a:cubicBezTo>
                  <a:cubicBezTo>
                    <a:pt x="31502" y="14789"/>
                    <a:pt x="31519" y="15510"/>
                    <a:pt x="31090" y="15236"/>
                  </a:cubicBezTo>
                  <a:cubicBezTo>
                    <a:pt x="30815" y="16301"/>
                    <a:pt x="30059" y="14153"/>
                    <a:pt x="30162" y="14050"/>
                  </a:cubicBezTo>
                  <a:cubicBezTo>
                    <a:pt x="29990" y="13947"/>
                    <a:pt x="29939" y="13844"/>
                    <a:pt x="29939" y="13810"/>
                  </a:cubicBezTo>
                  <a:cubicBezTo>
                    <a:pt x="29958" y="13906"/>
                    <a:pt x="29958" y="14006"/>
                    <a:pt x="29939" y="14102"/>
                  </a:cubicBezTo>
                  <a:cubicBezTo>
                    <a:pt x="29939" y="14102"/>
                    <a:pt x="29939" y="14102"/>
                    <a:pt x="29733" y="13965"/>
                  </a:cubicBezTo>
                  <a:cubicBezTo>
                    <a:pt x="29733" y="14119"/>
                    <a:pt x="29733" y="14360"/>
                    <a:pt x="29595" y="14291"/>
                  </a:cubicBezTo>
                  <a:cubicBezTo>
                    <a:pt x="29733" y="14463"/>
                    <a:pt x="29286" y="14583"/>
                    <a:pt x="29183" y="14428"/>
                  </a:cubicBezTo>
                  <a:cubicBezTo>
                    <a:pt x="29080" y="14549"/>
                    <a:pt x="28651" y="14050"/>
                    <a:pt x="29183" y="14102"/>
                  </a:cubicBezTo>
                  <a:cubicBezTo>
                    <a:pt x="28960" y="14102"/>
                    <a:pt x="29183" y="13999"/>
                    <a:pt x="29011" y="13879"/>
                  </a:cubicBezTo>
                  <a:cubicBezTo>
                    <a:pt x="29011" y="14188"/>
                    <a:pt x="28771" y="13690"/>
                    <a:pt x="29011" y="13879"/>
                  </a:cubicBezTo>
                  <a:cubicBezTo>
                    <a:pt x="29252" y="14068"/>
                    <a:pt x="29011" y="13879"/>
                    <a:pt x="29166" y="13776"/>
                  </a:cubicBezTo>
                  <a:cubicBezTo>
                    <a:pt x="28960" y="13776"/>
                    <a:pt x="29166" y="13449"/>
                    <a:pt x="29166" y="13655"/>
                  </a:cubicBezTo>
                  <a:cubicBezTo>
                    <a:pt x="29118" y="13609"/>
                    <a:pt x="29118" y="13533"/>
                    <a:pt x="29164" y="13485"/>
                  </a:cubicBezTo>
                  <a:cubicBezTo>
                    <a:pt x="29165" y="13485"/>
                    <a:pt x="29165" y="13484"/>
                    <a:pt x="29166" y="13484"/>
                  </a:cubicBezTo>
                  <a:cubicBezTo>
                    <a:pt x="28943" y="13569"/>
                    <a:pt x="28822" y="13724"/>
                    <a:pt x="28943" y="13484"/>
                  </a:cubicBezTo>
                  <a:cubicBezTo>
                    <a:pt x="28788" y="13484"/>
                    <a:pt x="28736" y="13569"/>
                    <a:pt x="28943" y="13381"/>
                  </a:cubicBezTo>
                  <a:cubicBezTo>
                    <a:pt x="28599" y="13243"/>
                    <a:pt x="29544" y="13484"/>
                    <a:pt x="29355" y="13157"/>
                  </a:cubicBezTo>
                  <a:cubicBezTo>
                    <a:pt x="29355" y="13329"/>
                    <a:pt x="28582" y="13295"/>
                    <a:pt x="28994" y="13157"/>
                  </a:cubicBezTo>
                  <a:cubicBezTo>
                    <a:pt x="28651" y="13157"/>
                    <a:pt x="28994" y="13037"/>
                    <a:pt x="29183" y="13020"/>
                  </a:cubicBezTo>
                  <a:cubicBezTo>
                    <a:pt x="28822" y="13020"/>
                    <a:pt x="28754" y="12831"/>
                    <a:pt x="29046" y="12917"/>
                  </a:cubicBezTo>
                  <a:cubicBezTo>
                    <a:pt x="28960" y="12917"/>
                    <a:pt x="29046" y="12779"/>
                    <a:pt x="29183" y="12917"/>
                  </a:cubicBezTo>
                  <a:lnTo>
                    <a:pt x="29183" y="12797"/>
                  </a:lnTo>
                  <a:cubicBezTo>
                    <a:pt x="29183" y="12797"/>
                    <a:pt x="29183" y="12797"/>
                    <a:pt x="29441" y="12797"/>
                  </a:cubicBezTo>
                  <a:cubicBezTo>
                    <a:pt x="29114" y="12797"/>
                    <a:pt x="29303" y="12590"/>
                    <a:pt x="29578" y="12797"/>
                  </a:cubicBezTo>
                  <a:cubicBezTo>
                    <a:pt x="29217" y="12505"/>
                    <a:pt x="29578" y="12797"/>
                    <a:pt x="29578" y="12676"/>
                  </a:cubicBezTo>
                  <a:cubicBezTo>
                    <a:pt x="29578" y="12556"/>
                    <a:pt x="29922" y="12213"/>
                    <a:pt x="29767" y="12676"/>
                  </a:cubicBezTo>
                  <a:cubicBezTo>
                    <a:pt x="30007" y="12539"/>
                    <a:pt x="29973" y="12539"/>
                    <a:pt x="30059" y="12298"/>
                  </a:cubicBezTo>
                  <a:cubicBezTo>
                    <a:pt x="30145" y="12058"/>
                    <a:pt x="29784" y="12814"/>
                    <a:pt x="29801" y="12419"/>
                  </a:cubicBezTo>
                  <a:cubicBezTo>
                    <a:pt x="29664" y="12522"/>
                    <a:pt x="29801" y="12161"/>
                    <a:pt x="29801" y="12195"/>
                  </a:cubicBezTo>
                  <a:cubicBezTo>
                    <a:pt x="29801" y="12230"/>
                    <a:pt x="29990" y="12006"/>
                    <a:pt x="30145" y="11766"/>
                  </a:cubicBezTo>
                  <a:cubicBezTo>
                    <a:pt x="29990" y="11886"/>
                    <a:pt x="30059" y="11525"/>
                    <a:pt x="30145" y="11611"/>
                  </a:cubicBezTo>
                  <a:cubicBezTo>
                    <a:pt x="30231" y="11697"/>
                    <a:pt x="30145" y="11440"/>
                    <a:pt x="30145" y="11525"/>
                  </a:cubicBezTo>
                  <a:cubicBezTo>
                    <a:pt x="30042" y="11319"/>
                    <a:pt x="30145" y="11440"/>
                    <a:pt x="30145" y="11337"/>
                  </a:cubicBezTo>
                  <a:cubicBezTo>
                    <a:pt x="29939" y="11337"/>
                    <a:pt x="30145" y="11233"/>
                    <a:pt x="30025" y="11148"/>
                  </a:cubicBezTo>
                  <a:cubicBezTo>
                    <a:pt x="29904" y="11062"/>
                    <a:pt x="30025" y="10821"/>
                    <a:pt x="30334" y="10976"/>
                  </a:cubicBezTo>
                  <a:cubicBezTo>
                    <a:pt x="30179" y="10890"/>
                    <a:pt x="30111" y="10735"/>
                    <a:pt x="30334" y="10838"/>
                  </a:cubicBezTo>
                  <a:cubicBezTo>
                    <a:pt x="30557" y="10941"/>
                    <a:pt x="30162" y="10701"/>
                    <a:pt x="30334" y="10684"/>
                  </a:cubicBezTo>
                  <a:cubicBezTo>
                    <a:pt x="30042" y="10684"/>
                    <a:pt x="30334" y="10684"/>
                    <a:pt x="30334" y="10478"/>
                  </a:cubicBezTo>
                  <a:cubicBezTo>
                    <a:pt x="30523" y="10478"/>
                    <a:pt x="30488" y="10478"/>
                    <a:pt x="30506" y="10478"/>
                  </a:cubicBezTo>
                  <a:cubicBezTo>
                    <a:pt x="30918" y="10564"/>
                    <a:pt x="30214" y="10323"/>
                    <a:pt x="30506" y="10323"/>
                  </a:cubicBezTo>
                  <a:cubicBezTo>
                    <a:pt x="30506" y="10323"/>
                    <a:pt x="30506" y="10220"/>
                    <a:pt x="30506" y="10220"/>
                  </a:cubicBezTo>
                  <a:cubicBezTo>
                    <a:pt x="30506" y="10220"/>
                    <a:pt x="30506" y="9911"/>
                    <a:pt x="30609" y="10117"/>
                  </a:cubicBezTo>
                  <a:cubicBezTo>
                    <a:pt x="30712" y="10323"/>
                    <a:pt x="30609" y="10117"/>
                    <a:pt x="30609" y="10117"/>
                  </a:cubicBezTo>
                  <a:cubicBezTo>
                    <a:pt x="30385" y="9980"/>
                    <a:pt x="30609" y="10014"/>
                    <a:pt x="30609" y="10117"/>
                  </a:cubicBezTo>
                  <a:cubicBezTo>
                    <a:pt x="30609" y="10220"/>
                    <a:pt x="30609" y="9773"/>
                    <a:pt x="30609" y="10117"/>
                  </a:cubicBezTo>
                  <a:cubicBezTo>
                    <a:pt x="30609" y="9670"/>
                    <a:pt x="30609" y="10237"/>
                    <a:pt x="30798" y="10117"/>
                  </a:cubicBezTo>
                  <a:cubicBezTo>
                    <a:pt x="30609" y="9773"/>
                    <a:pt x="31021" y="10117"/>
                    <a:pt x="30798" y="9739"/>
                  </a:cubicBezTo>
                  <a:cubicBezTo>
                    <a:pt x="30901" y="9739"/>
                    <a:pt x="31038" y="9911"/>
                    <a:pt x="31124" y="9894"/>
                  </a:cubicBezTo>
                  <a:cubicBezTo>
                    <a:pt x="31210" y="9877"/>
                    <a:pt x="31124" y="9602"/>
                    <a:pt x="31124" y="9619"/>
                  </a:cubicBezTo>
                  <a:cubicBezTo>
                    <a:pt x="31124" y="9636"/>
                    <a:pt x="30969" y="9464"/>
                    <a:pt x="31124" y="9619"/>
                  </a:cubicBezTo>
                  <a:cubicBezTo>
                    <a:pt x="31279" y="9773"/>
                    <a:pt x="31124" y="9499"/>
                    <a:pt x="31124" y="9619"/>
                  </a:cubicBezTo>
                  <a:cubicBezTo>
                    <a:pt x="31244" y="9447"/>
                    <a:pt x="31279" y="10426"/>
                    <a:pt x="31261" y="9619"/>
                  </a:cubicBezTo>
                  <a:cubicBezTo>
                    <a:pt x="31536" y="10134"/>
                    <a:pt x="31261" y="9516"/>
                    <a:pt x="31450" y="9499"/>
                  </a:cubicBezTo>
                  <a:cubicBezTo>
                    <a:pt x="31639" y="9481"/>
                    <a:pt x="31450" y="9653"/>
                    <a:pt x="31553" y="9842"/>
                  </a:cubicBezTo>
                  <a:cubicBezTo>
                    <a:pt x="31656" y="10031"/>
                    <a:pt x="31639" y="9842"/>
                    <a:pt x="31674" y="9842"/>
                  </a:cubicBezTo>
                  <a:cubicBezTo>
                    <a:pt x="31502" y="9499"/>
                    <a:pt x="31863" y="9688"/>
                    <a:pt x="31845" y="9842"/>
                  </a:cubicBezTo>
                  <a:cubicBezTo>
                    <a:pt x="32172" y="9842"/>
                    <a:pt x="32051" y="10134"/>
                    <a:pt x="31742" y="10031"/>
                  </a:cubicBezTo>
                  <a:cubicBezTo>
                    <a:pt x="31845" y="10031"/>
                    <a:pt x="31948" y="10031"/>
                    <a:pt x="32000" y="10220"/>
                  </a:cubicBezTo>
                  <a:cubicBezTo>
                    <a:pt x="32051" y="10409"/>
                    <a:pt x="32120" y="10083"/>
                    <a:pt x="32275" y="10220"/>
                  </a:cubicBezTo>
                  <a:cubicBezTo>
                    <a:pt x="32275" y="10100"/>
                    <a:pt x="32275" y="10117"/>
                    <a:pt x="32275" y="10048"/>
                  </a:cubicBezTo>
                  <a:cubicBezTo>
                    <a:pt x="32275" y="9980"/>
                    <a:pt x="32653" y="10306"/>
                    <a:pt x="32378" y="10048"/>
                  </a:cubicBezTo>
                  <a:cubicBezTo>
                    <a:pt x="32378" y="10237"/>
                    <a:pt x="32567" y="10048"/>
                    <a:pt x="32584" y="10220"/>
                  </a:cubicBezTo>
                  <a:cubicBezTo>
                    <a:pt x="32601" y="10392"/>
                    <a:pt x="33220" y="10220"/>
                    <a:pt x="33683" y="10529"/>
                  </a:cubicBezTo>
                  <a:cubicBezTo>
                    <a:pt x="33563" y="10392"/>
                    <a:pt x="34044" y="10735"/>
                    <a:pt x="33804" y="10529"/>
                  </a:cubicBezTo>
                  <a:cubicBezTo>
                    <a:pt x="34697" y="10838"/>
                    <a:pt x="34611" y="11852"/>
                    <a:pt x="33597" y="11354"/>
                  </a:cubicBezTo>
                  <a:cubicBezTo>
                    <a:pt x="33477" y="11354"/>
                    <a:pt x="33477" y="11354"/>
                    <a:pt x="33426" y="11354"/>
                  </a:cubicBezTo>
                  <a:cubicBezTo>
                    <a:pt x="33374" y="11354"/>
                    <a:pt x="32910" y="11096"/>
                    <a:pt x="33065" y="11354"/>
                  </a:cubicBezTo>
                  <a:cubicBezTo>
                    <a:pt x="33220" y="11611"/>
                    <a:pt x="33460" y="11491"/>
                    <a:pt x="33357" y="11663"/>
                  </a:cubicBezTo>
                  <a:cubicBezTo>
                    <a:pt x="33632" y="11663"/>
                    <a:pt x="34834" y="13277"/>
                    <a:pt x="34576" y="12333"/>
                  </a:cubicBezTo>
                  <a:cubicBezTo>
                    <a:pt x="34388" y="12505"/>
                    <a:pt x="34113" y="12058"/>
                    <a:pt x="34250" y="12006"/>
                  </a:cubicBezTo>
                  <a:cubicBezTo>
                    <a:pt x="35693" y="12917"/>
                    <a:pt x="33975" y="11148"/>
                    <a:pt x="34972" y="11474"/>
                  </a:cubicBezTo>
                  <a:cubicBezTo>
                    <a:pt x="34972" y="11337"/>
                    <a:pt x="35092" y="11474"/>
                    <a:pt x="35143" y="11474"/>
                  </a:cubicBezTo>
                  <a:cubicBezTo>
                    <a:pt x="34895" y="11040"/>
                    <a:pt x="34569" y="10656"/>
                    <a:pt x="34181" y="10340"/>
                  </a:cubicBezTo>
                  <a:cubicBezTo>
                    <a:pt x="34491" y="10340"/>
                    <a:pt x="34972" y="10443"/>
                    <a:pt x="34800" y="10753"/>
                  </a:cubicBezTo>
                  <a:cubicBezTo>
                    <a:pt x="35195" y="11354"/>
                    <a:pt x="35349" y="10753"/>
                    <a:pt x="35143" y="10529"/>
                  </a:cubicBezTo>
                  <a:cubicBezTo>
                    <a:pt x="35315" y="10529"/>
                    <a:pt x="35143" y="9945"/>
                    <a:pt x="35401" y="10289"/>
                  </a:cubicBezTo>
                  <a:cubicBezTo>
                    <a:pt x="35401" y="10186"/>
                    <a:pt x="35178" y="9980"/>
                    <a:pt x="35401" y="10151"/>
                  </a:cubicBezTo>
                  <a:cubicBezTo>
                    <a:pt x="35229" y="9705"/>
                    <a:pt x="35521" y="10151"/>
                    <a:pt x="35727" y="10306"/>
                  </a:cubicBezTo>
                  <a:cubicBezTo>
                    <a:pt x="35727" y="10203"/>
                    <a:pt x="35727" y="10169"/>
                    <a:pt x="35727" y="10306"/>
                  </a:cubicBezTo>
                  <a:cubicBezTo>
                    <a:pt x="35504" y="10048"/>
                    <a:pt x="35882" y="10134"/>
                    <a:pt x="35830" y="9842"/>
                  </a:cubicBezTo>
                  <a:cubicBezTo>
                    <a:pt x="35951" y="9997"/>
                    <a:pt x="36311" y="10272"/>
                    <a:pt x="36019" y="9945"/>
                  </a:cubicBezTo>
                  <a:cubicBezTo>
                    <a:pt x="36191" y="9945"/>
                    <a:pt x="35916" y="9791"/>
                    <a:pt x="36122" y="9945"/>
                  </a:cubicBezTo>
                  <a:cubicBezTo>
                    <a:pt x="36035" y="9882"/>
                    <a:pt x="35943" y="9824"/>
                    <a:pt x="35848" y="9773"/>
                  </a:cubicBezTo>
                  <a:lnTo>
                    <a:pt x="35848" y="9773"/>
                  </a:lnTo>
                  <a:cubicBezTo>
                    <a:pt x="35057" y="9155"/>
                    <a:pt x="36586" y="9619"/>
                    <a:pt x="36981" y="9894"/>
                  </a:cubicBezTo>
                  <a:cubicBezTo>
                    <a:pt x="36792" y="9619"/>
                    <a:pt x="36517" y="9567"/>
                    <a:pt x="36260" y="9361"/>
                  </a:cubicBezTo>
                  <a:lnTo>
                    <a:pt x="36260" y="9361"/>
                  </a:lnTo>
                  <a:cubicBezTo>
                    <a:pt x="36260" y="9361"/>
                    <a:pt x="36260" y="9361"/>
                    <a:pt x="36140" y="9361"/>
                  </a:cubicBezTo>
                  <a:lnTo>
                    <a:pt x="36140" y="9361"/>
                  </a:lnTo>
                  <a:lnTo>
                    <a:pt x="35882" y="9155"/>
                  </a:lnTo>
                  <a:cubicBezTo>
                    <a:pt x="36019" y="9155"/>
                    <a:pt x="35624" y="8983"/>
                    <a:pt x="35727" y="8983"/>
                  </a:cubicBezTo>
                  <a:cubicBezTo>
                    <a:pt x="35504" y="8880"/>
                    <a:pt x="34353" y="7918"/>
                    <a:pt x="34594" y="7884"/>
                  </a:cubicBezTo>
                  <a:cubicBezTo>
                    <a:pt x="35435" y="8193"/>
                    <a:pt x="36311" y="9086"/>
                    <a:pt x="37136" y="9602"/>
                  </a:cubicBezTo>
                  <a:lnTo>
                    <a:pt x="37136" y="9602"/>
                  </a:lnTo>
                  <a:cubicBezTo>
                    <a:pt x="37389" y="9800"/>
                    <a:pt x="37614" y="10031"/>
                    <a:pt x="37806" y="10289"/>
                  </a:cubicBezTo>
                  <a:lnTo>
                    <a:pt x="37806" y="10289"/>
                  </a:lnTo>
                  <a:cubicBezTo>
                    <a:pt x="37995" y="10409"/>
                    <a:pt x="37977" y="10581"/>
                    <a:pt x="37806" y="10289"/>
                  </a:cubicBezTo>
                  <a:cubicBezTo>
                    <a:pt x="37806" y="10289"/>
                    <a:pt x="37479" y="10289"/>
                    <a:pt x="37703" y="10426"/>
                  </a:cubicBezTo>
                  <a:cubicBezTo>
                    <a:pt x="38939" y="10701"/>
                    <a:pt x="37256" y="9619"/>
                    <a:pt x="37101" y="9275"/>
                  </a:cubicBezTo>
                  <a:cubicBezTo>
                    <a:pt x="37101" y="9275"/>
                    <a:pt x="37101" y="9275"/>
                    <a:pt x="37101" y="9275"/>
                  </a:cubicBezTo>
                  <a:cubicBezTo>
                    <a:pt x="36284" y="8916"/>
                    <a:pt x="35525" y="8435"/>
                    <a:pt x="34851" y="7850"/>
                  </a:cubicBezTo>
                  <a:cubicBezTo>
                    <a:pt x="35229" y="8021"/>
                    <a:pt x="35573" y="8399"/>
                    <a:pt x="35933" y="8451"/>
                  </a:cubicBezTo>
                  <a:cubicBezTo>
                    <a:pt x="35796" y="8262"/>
                    <a:pt x="36208" y="8571"/>
                    <a:pt x="36105" y="8451"/>
                  </a:cubicBezTo>
                  <a:cubicBezTo>
                    <a:pt x="35827" y="8436"/>
                    <a:pt x="35564" y="8320"/>
                    <a:pt x="35367" y="8125"/>
                  </a:cubicBezTo>
                  <a:cubicBezTo>
                    <a:pt x="35727" y="8279"/>
                    <a:pt x="35367" y="8125"/>
                    <a:pt x="35367" y="8039"/>
                  </a:cubicBezTo>
                  <a:lnTo>
                    <a:pt x="35367" y="8039"/>
                  </a:lnTo>
                  <a:cubicBezTo>
                    <a:pt x="34886" y="7455"/>
                    <a:pt x="37084" y="8880"/>
                    <a:pt x="36363" y="8331"/>
                  </a:cubicBezTo>
                  <a:cubicBezTo>
                    <a:pt x="36637" y="8531"/>
                    <a:pt x="36938" y="8693"/>
                    <a:pt x="37256" y="8812"/>
                  </a:cubicBezTo>
                  <a:cubicBezTo>
                    <a:pt x="36947" y="8605"/>
                    <a:pt x="37256" y="8691"/>
                    <a:pt x="37428" y="8812"/>
                  </a:cubicBezTo>
                  <a:cubicBezTo>
                    <a:pt x="37325" y="8709"/>
                    <a:pt x="37033" y="8588"/>
                    <a:pt x="37101" y="8709"/>
                  </a:cubicBezTo>
                  <a:cubicBezTo>
                    <a:pt x="36569" y="8468"/>
                    <a:pt x="36019" y="8056"/>
                    <a:pt x="35384" y="7798"/>
                  </a:cubicBezTo>
                  <a:cubicBezTo>
                    <a:pt x="35212" y="7798"/>
                    <a:pt x="34405" y="7403"/>
                    <a:pt x="34525" y="7231"/>
                  </a:cubicBezTo>
                  <a:cubicBezTo>
                    <a:pt x="34284" y="6922"/>
                    <a:pt x="34697" y="7334"/>
                    <a:pt x="34851" y="7317"/>
                  </a:cubicBezTo>
                  <a:cubicBezTo>
                    <a:pt x="34628" y="7317"/>
                    <a:pt x="34491" y="7042"/>
                    <a:pt x="34267" y="7008"/>
                  </a:cubicBezTo>
                  <a:cubicBezTo>
                    <a:pt x="34044" y="6974"/>
                    <a:pt x="34061" y="7008"/>
                    <a:pt x="34027" y="6922"/>
                  </a:cubicBezTo>
                  <a:cubicBezTo>
                    <a:pt x="33992" y="6836"/>
                    <a:pt x="34130" y="6922"/>
                    <a:pt x="34027" y="6922"/>
                  </a:cubicBezTo>
                  <a:cubicBezTo>
                    <a:pt x="33924" y="6922"/>
                    <a:pt x="33838" y="6836"/>
                    <a:pt x="33872" y="6922"/>
                  </a:cubicBezTo>
                  <a:cubicBezTo>
                    <a:pt x="33907" y="7008"/>
                    <a:pt x="33683" y="6802"/>
                    <a:pt x="33872" y="6922"/>
                  </a:cubicBezTo>
                  <a:lnTo>
                    <a:pt x="33615" y="6768"/>
                  </a:lnTo>
                  <a:cubicBezTo>
                    <a:pt x="33615" y="6768"/>
                    <a:pt x="33615" y="6768"/>
                    <a:pt x="33615" y="6768"/>
                  </a:cubicBezTo>
                  <a:lnTo>
                    <a:pt x="33168" y="6458"/>
                  </a:lnTo>
                  <a:lnTo>
                    <a:pt x="33168" y="6458"/>
                  </a:lnTo>
                  <a:cubicBezTo>
                    <a:pt x="33086" y="6395"/>
                    <a:pt x="33000" y="6338"/>
                    <a:pt x="32910" y="6287"/>
                  </a:cubicBezTo>
                  <a:lnTo>
                    <a:pt x="32910" y="6287"/>
                  </a:lnTo>
                  <a:lnTo>
                    <a:pt x="32910" y="6287"/>
                  </a:lnTo>
                  <a:lnTo>
                    <a:pt x="32910" y="6287"/>
                  </a:lnTo>
                  <a:lnTo>
                    <a:pt x="32687" y="6184"/>
                  </a:lnTo>
                  <a:lnTo>
                    <a:pt x="32687" y="6184"/>
                  </a:lnTo>
                  <a:cubicBezTo>
                    <a:pt x="32687" y="6184"/>
                    <a:pt x="32515" y="6184"/>
                    <a:pt x="32687" y="6184"/>
                  </a:cubicBezTo>
                  <a:lnTo>
                    <a:pt x="32687" y="6184"/>
                  </a:lnTo>
                  <a:lnTo>
                    <a:pt x="32687" y="6184"/>
                  </a:lnTo>
                  <a:lnTo>
                    <a:pt x="32962" y="6287"/>
                  </a:lnTo>
                  <a:lnTo>
                    <a:pt x="32739" y="6184"/>
                  </a:lnTo>
                  <a:lnTo>
                    <a:pt x="32893" y="6184"/>
                  </a:lnTo>
                  <a:lnTo>
                    <a:pt x="32807" y="6184"/>
                  </a:lnTo>
                  <a:cubicBezTo>
                    <a:pt x="32762" y="6174"/>
                    <a:pt x="32715" y="6174"/>
                    <a:pt x="32670" y="6184"/>
                  </a:cubicBezTo>
                  <a:lnTo>
                    <a:pt x="32670" y="6184"/>
                  </a:lnTo>
                  <a:cubicBezTo>
                    <a:pt x="32625" y="6193"/>
                    <a:pt x="32578" y="6193"/>
                    <a:pt x="32532" y="6184"/>
                  </a:cubicBezTo>
                  <a:lnTo>
                    <a:pt x="32876" y="6304"/>
                  </a:lnTo>
                  <a:cubicBezTo>
                    <a:pt x="32750" y="6242"/>
                    <a:pt x="32618" y="6196"/>
                    <a:pt x="32481" y="6166"/>
                  </a:cubicBezTo>
                  <a:lnTo>
                    <a:pt x="32481" y="6166"/>
                  </a:lnTo>
                  <a:cubicBezTo>
                    <a:pt x="32481" y="6166"/>
                    <a:pt x="32292" y="6166"/>
                    <a:pt x="32343" y="6166"/>
                  </a:cubicBezTo>
                  <a:cubicBezTo>
                    <a:pt x="32395" y="6166"/>
                    <a:pt x="32343" y="6166"/>
                    <a:pt x="32343" y="6166"/>
                  </a:cubicBezTo>
                  <a:lnTo>
                    <a:pt x="32343" y="6166"/>
                  </a:lnTo>
                  <a:lnTo>
                    <a:pt x="32206" y="6166"/>
                  </a:lnTo>
                  <a:lnTo>
                    <a:pt x="32206" y="6166"/>
                  </a:lnTo>
                  <a:lnTo>
                    <a:pt x="31742" y="6029"/>
                  </a:lnTo>
                  <a:lnTo>
                    <a:pt x="31742" y="6029"/>
                  </a:lnTo>
                  <a:cubicBezTo>
                    <a:pt x="31571" y="6029"/>
                    <a:pt x="30763" y="5720"/>
                    <a:pt x="30952" y="5754"/>
                  </a:cubicBezTo>
                  <a:lnTo>
                    <a:pt x="30952" y="5754"/>
                  </a:lnTo>
                  <a:lnTo>
                    <a:pt x="31055" y="5754"/>
                  </a:lnTo>
                  <a:lnTo>
                    <a:pt x="31055" y="5754"/>
                  </a:lnTo>
                  <a:cubicBezTo>
                    <a:pt x="31244" y="5754"/>
                    <a:pt x="31416" y="5857"/>
                    <a:pt x="31605" y="5909"/>
                  </a:cubicBezTo>
                  <a:lnTo>
                    <a:pt x="31416" y="5909"/>
                  </a:lnTo>
                  <a:lnTo>
                    <a:pt x="31588" y="5909"/>
                  </a:lnTo>
                  <a:lnTo>
                    <a:pt x="31485" y="5909"/>
                  </a:lnTo>
                  <a:cubicBezTo>
                    <a:pt x="31588" y="5909"/>
                    <a:pt x="31364" y="5909"/>
                    <a:pt x="31485" y="5909"/>
                  </a:cubicBezTo>
                  <a:lnTo>
                    <a:pt x="31485" y="5909"/>
                  </a:lnTo>
                  <a:cubicBezTo>
                    <a:pt x="31794" y="5995"/>
                    <a:pt x="32481" y="6201"/>
                    <a:pt x="31811" y="5909"/>
                  </a:cubicBezTo>
                  <a:lnTo>
                    <a:pt x="31811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2292" y="6046"/>
                  </a:lnTo>
                  <a:lnTo>
                    <a:pt x="32051" y="6046"/>
                  </a:lnTo>
                  <a:lnTo>
                    <a:pt x="32378" y="6046"/>
                  </a:lnTo>
                  <a:lnTo>
                    <a:pt x="32635" y="6046"/>
                  </a:lnTo>
                  <a:lnTo>
                    <a:pt x="32635" y="6046"/>
                  </a:lnTo>
                  <a:cubicBezTo>
                    <a:pt x="32412" y="6046"/>
                    <a:pt x="32635" y="6046"/>
                    <a:pt x="32773" y="6046"/>
                  </a:cubicBezTo>
                  <a:lnTo>
                    <a:pt x="32773" y="6046"/>
                  </a:lnTo>
                  <a:lnTo>
                    <a:pt x="32773" y="6046"/>
                  </a:lnTo>
                  <a:cubicBezTo>
                    <a:pt x="33198" y="6156"/>
                    <a:pt x="33612" y="6306"/>
                    <a:pt x="34010" y="6493"/>
                  </a:cubicBezTo>
                  <a:cubicBezTo>
                    <a:pt x="34010" y="6493"/>
                    <a:pt x="34010" y="6493"/>
                    <a:pt x="34010" y="6493"/>
                  </a:cubicBezTo>
                  <a:cubicBezTo>
                    <a:pt x="34010" y="6493"/>
                    <a:pt x="34456" y="6665"/>
                    <a:pt x="34645" y="6768"/>
                  </a:cubicBezTo>
                  <a:lnTo>
                    <a:pt x="34645" y="6768"/>
                  </a:lnTo>
                  <a:lnTo>
                    <a:pt x="35470" y="7163"/>
                  </a:lnTo>
                  <a:cubicBezTo>
                    <a:pt x="35212" y="7025"/>
                    <a:pt x="34954" y="6871"/>
                    <a:pt x="34662" y="6733"/>
                  </a:cubicBezTo>
                  <a:lnTo>
                    <a:pt x="34662" y="6733"/>
                  </a:lnTo>
                  <a:lnTo>
                    <a:pt x="34353" y="6596"/>
                  </a:lnTo>
                  <a:lnTo>
                    <a:pt x="34491" y="6596"/>
                  </a:lnTo>
                  <a:cubicBezTo>
                    <a:pt x="34491" y="6596"/>
                    <a:pt x="34044" y="6441"/>
                    <a:pt x="34250" y="6493"/>
                  </a:cubicBezTo>
                  <a:lnTo>
                    <a:pt x="34113" y="6493"/>
                  </a:lnTo>
                  <a:lnTo>
                    <a:pt x="34422" y="6596"/>
                  </a:lnTo>
                  <a:cubicBezTo>
                    <a:pt x="34327" y="6538"/>
                    <a:pt x="34222" y="6497"/>
                    <a:pt x="34113" y="6476"/>
                  </a:cubicBezTo>
                  <a:cubicBezTo>
                    <a:pt x="34287" y="6517"/>
                    <a:pt x="34459" y="6568"/>
                    <a:pt x="34628" y="6630"/>
                  </a:cubicBezTo>
                  <a:lnTo>
                    <a:pt x="34473" y="6630"/>
                  </a:lnTo>
                  <a:lnTo>
                    <a:pt x="34473" y="6630"/>
                  </a:lnTo>
                  <a:lnTo>
                    <a:pt x="33700" y="4827"/>
                  </a:lnTo>
                  <a:cubicBezTo>
                    <a:pt x="42679" y="7791"/>
                    <a:pt x="48892" y="15993"/>
                    <a:pt x="49314" y="25438"/>
                  </a:cubicBezTo>
                  <a:cubicBezTo>
                    <a:pt x="49301" y="25780"/>
                    <a:pt x="49255" y="26119"/>
                    <a:pt x="49177" y="26452"/>
                  </a:cubicBezTo>
                  <a:cubicBezTo>
                    <a:pt x="49245" y="26349"/>
                    <a:pt x="49159" y="26538"/>
                    <a:pt x="49159" y="26589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52" name="Google Shape;252;p31"/>
            <p:cNvSpPr/>
            <p:nvPr/>
          </p:nvSpPr>
          <p:spPr>
            <a:xfrm rot="-5400000">
              <a:off x="12026199" y="6563439"/>
              <a:ext cx="13277" cy="68070"/>
            </a:xfrm>
            <a:custGeom>
              <a:avLst/>
              <a:gdLst/>
              <a:ahLst/>
              <a:cxnLst/>
              <a:rect l="l" t="t" r="r" b="b"/>
              <a:pathLst>
                <a:path w="13277" h="68070" extrusionOk="0">
                  <a:moveTo>
                    <a:pt x="13277" y="12024"/>
                  </a:moveTo>
                  <a:lnTo>
                    <a:pt x="0" y="12024"/>
                  </a:lnTo>
                  <a:lnTo>
                    <a:pt x="0" y="0"/>
                  </a:lnTo>
                  <a:lnTo>
                    <a:pt x="13277" y="0"/>
                  </a:lnTo>
                  <a:close/>
                  <a:moveTo>
                    <a:pt x="0" y="17984"/>
                  </a:moveTo>
                  <a:lnTo>
                    <a:pt x="13277" y="17984"/>
                  </a:lnTo>
                  <a:lnTo>
                    <a:pt x="13277" y="68070"/>
                  </a:lnTo>
                  <a:lnTo>
                    <a:pt x="0" y="6807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53" name="Google Shape;253;p31"/>
            <p:cNvSpPr/>
            <p:nvPr/>
          </p:nvSpPr>
          <p:spPr>
            <a:xfrm rot="-5400000">
              <a:off x="12018640" y="6529825"/>
              <a:ext cx="45208" cy="51256"/>
            </a:xfrm>
            <a:custGeom>
              <a:avLst/>
              <a:gdLst/>
              <a:ahLst/>
              <a:cxnLst/>
              <a:rect l="l" t="t" r="r" b="b"/>
              <a:pathLst>
                <a:path w="45208" h="51256" extrusionOk="0">
                  <a:moveTo>
                    <a:pt x="40279" y="4038"/>
                  </a:moveTo>
                  <a:cubicBezTo>
                    <a:pt x="43565" y="6752"/>
                    <a:pt x="45209" y="11246"/>
                    <a:pt x="45209" y="17521"/>
                  </a:cubicBezTo>
                  <a:lnTo>
                    <a:pt x="45209" y="51256"/>
                  </a:lnTo>
                  <a:lnTo>
                    <a:pt x="31794" y="51256"/>
                  </a:lnTo>
                  <a:lnTo>
                    <a:pt x="31794" y="20785"/>
                  </a:lnTo>
                  <a:cubicBezTo>
                    <a:pt x="31892" y="18712"/>
                    <a:pt x="31535" y="16642"/>
                    <a:pt x="30746" y="14722"/>
                  </a:cubicBezTo>
                  <a:cubicBezTo>
                    <a:pt x="29458" y="12162"/>
                    <a:pt x="27036" y="10874"/>
                    <a:pt x="23446" y="10874"/>
                  </a:cubicBezTo>
                  <a:cubicBezTo>
                    <a:pt x="19509" y="10574"/>
                    <a:pt x="15832" y="12861"/>
                    <a:pt x="14360" y="16525"/>
                  </a:cubicBezTo>
                  <a:cubicBezTo>
                    <a:pt x="13437" y="18959"/>
                    <a:pt x="13005" y="21550"/>
                    <a:pt x="13089" y="24152"/>
                  </a:cubicBezTo>
                  <a:lnTo>
                    <a:pt x="13089" y="51256"/>
                  </a:lnTo>
                  <a:lnTo>
                    <a:pt x="0" y="51256"/>
                  </a:lnTo>
                  <a:lnTo>
                    <a:pt x="0" y="1272"/>
                  </a:lnTo>
                  <a:lnTo>
                    <a:pt x="12676" y="1272"/>
                  </a:lnTo>
                  <a:lnTo>
                    <a:pt x="12676" y="8607"/>
                  </a:lnTo>
                  <a:cubicBezTo>
                    <a:pt x="13939" y="6498"/>
                    <a:pt x="15548" y="4617"/>
                    <a:pt x="17434" y="3042"/>
                  </a:cubicBezTo>
                  <a:cubicBezTo>
                    <a:pt x="20409" y="938"/>
                    <a:pt x="23996" y="-125"/>
                    <a:pt x="27637" y="19"/>
                  </a:cubicBezTo>
                  <a:cubicBezTo>
                    <a:pt x="32194" y="-181"/>
                    <a:pt x="36674" y="1243"/>
                    <a:pt x="40279" y="403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54" name="Google Shape;254;p31"/>
            <p:cNvSpPr/>
            <p:nvPr/>
          </p:nvSpPr>
          <p:spPr>
            <a:xfrm rot="-5400000">
              <a:off x="12018195" y="6477145"/>
              <a:ext cx="28942" cy="68414"/>
            </a:xfrm>
            <a:custGeom>
              <a:avLst/>
              <a:gdLst/>
              <a:ahLst/>
              <a:cxnLst/>
              <a:rect l="l" t="t" r="r" b="b"/>
              <a:pathLst>
                <a:path w="28942" h="68414" extrusionOk="0">
                  <a:moveTo>
                    <a:pt x="25868" y="0"/>
                  </a:moveTo>
                  <a:lnTo>
                    <a:pt x="28616" y="206"/>
                  </a:lnTo>
                  <a:lnTo>
                    <a:pt x="28616" y="10941"/>
                  </a:lnTo>
                  <a:cubicBezTo>
                    <a:pt x="27390" y="10808"/>
                    <a:pt x="26157" y="10739"/>
                    <a:pt x="24923" y="10735"/>
                  </a:cubicBezTo>
                  <a:cubicBezTo>
                    <a:pt x="23616" y="10538"/>
                    <a:pt x="22290" y="10956"/>
                    <a:pt x="21333" y="11869"/>
                  </a:cubicBezTo>
                  <a:cubicBezTo>
                    <a:pt x="20704" y="12627"/>
                    <a:pt x="20358" y="13580"/>
                    <a:pt x="20354" y="14566"/>
                  </a:cubicBezTo>
                  <a:lnTo>
                    <a:pt x="20354" y="18791"/>
                  </a:lnTo>
                  <a:lnTo>
                    <a:pt x="28943" y="18791"/>
                  </a:lnTo>
                  <a:lnTo>
                    <a:pt x="28943" y="28032"/>
                  </a:lnTo>
                  <a:lnTo>
                    <a:pt x="20354" y="28032"/>
                  </a:lnTo>
                  <a:lnTo>
                    <a:pt x="20354" y="68414"/>
                  </a:lnTo>
                  <a:lnTo>
                    <a:pt x="7352" y="68414"/>
                  </a:lnTo>
                  <a:lnTo>
                    <a:pt x="7352" y="28032"/>
                  </a:lnTo>
                  <a:lnTo>
                    <a:pt x="0" y="28032"/>
                  </a:lnTo>
                  <a:lnTo>
                    <a:pt x="0" y="18791"/>
                  </a:lnTo>
                  <a:lnTo>
                    <a:pt x="7163" y="18791"/>
                  </a:lnTo>
                  <a:lnTo>
                    <a:pt x="7163" y="15579"/>
                  </a:lnTo>
                  <a:cubicBezTo>
                    <a:pt x="7163" y="10220"/>
                    <a:pt x="8067" y="6527"/>
                    <a:pt x="9877" y="4500"/>
                  </a:cubicBezTo>
                  <a:cubicBezTo>
                    <a:pt x="11783" y="1494"/>
                    <a:pt x="16352" y="0"/>
                    <a:pt x="23618" y="0"/>
                  </a:cubicBezTo>
                  <a:cubicBezTo>
                    <a:pt x="24442" y="0"/>
                    <a:pt x="25198" y="0"/>
                    <a:pt x="25868" y="0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55" name="Google Shape;255;p31"/>
            <p:cNvSpPr/>
            <p:nvPr/>
          </p:nvSpPr>
          <p:spPr>
            <a:xfrm rot="-5400000">
              <a:off x="12016830" y="6161182"/>
              <a:ext cx="49036" cy="51048"/>
            </a:xfrm>
            <a:custGeom>
              <a:avLst/>
              <a:gdLst/>
              <a:ahLst/>
              <a:cxnLst/>
              <a:rect l="l" t="t" r="r" b="b"/>
              <a:pathLst>
                <a:path w="49036" h="51048" extrusionOk="0">
                  <a:moveTo>
                    <a:pt x="42949" y="43542"/>
                  </a:moveTo>
                  <a:cubicBezTo>
                    <a:pt x="38907" y="48535"/>
                    <a:pt x="32763" y="51037"/>
                    <a:pt x="24519" y="51049"/>
                  </a:cubicBezTo>
                  <a:cubicBezTo>
                    <a:pt x="16274" y="51060"/>
                    <a:pt x="10125" y="48558"/>
                    <a:pt x="6071" y="43542"/>
                  </a:cubicBezTo>
                  <a:cubicBezTo>
                    <a:pt x="2000" y="38452"/>
                    <a:pt x="-145" y="32091"/>
                    <a:pt x="8" y="25576"/>
                  </a:cubicBezTo>
                  <a:cubicBezTo>
                    <a:pt x="-130" y="19058"/>
                    <a:pt x="2016" y="12697"/>
                    <a:pt x="6071" y="7592"/>
                  </a:cubicBezTo>
                  <a:cubicBezTo>
                    <a:pt x="10125" y="2519"/>
                    <a:pt x="16274" y="-11"/>
                    <a:pt x="24519" y="0"/>
                  </a:cubicBezTo>
                  <a:cubicBezTo>
                    <a:pt x="32763" y="12"/>
                    <a:pt x="38907" y="2542"/>
                    <a:pt x="42949" y="7592"/>
                  </a:cubicBezTo>
                  <a:cubicBezTo>
                    <a:pt x="47010" y="12695"/>
                    <a:pt x="49160" y="19056"/>
                    <a:pt x="49030" y="25576"/>
                  </a:cubicBezTo>
                  <a:cubicBezTo>
                    <a:pt x="49177" y="32093"/>
                    <a:pt x="47023" y="38454"/>
                    <a:pt x="42949" y="43542"/>
                  </a:cubicBezTo>
                  <a:close/>
                  <a:moveTo>
                    <a:pt x="32918" y="36672"/>
                  </a:moveTo>
                  <a:cubicBezTo>
                    <a:pt x="35077" y="33390"/>
                    <a:pt x="36115" y="29497"/>
                    <a:pt x="35872" y="25576"/>
                  </a:cubicBezTo>
                  <a:cubicBezTo>
                    <a:pt x="36123" y="21654"/>
                    <a:pt x="35086" y="17758"/>
                    <a:pt x="32918" y="14480"/>
                  </a:cubicBezTo>
                  <a:cubicBezTo>
                    <a:pt x="28893" y="9808"/>
                    <a:pt x="21844" y="9283"/>
                    <a:pt x="17172" y="13307"/>
                  </a:cubicBezTo>
                  <a:cubicBezTo>
                    <a:pt x="16753" y="13668"/>
                    <a:pt x="16360" y="14060"/>
                    <a:pt x="15999" y="14480"/>
                  </a:cubicBezTo>
                  <a:cubicBezTo>
                    <a:pt x="13826" y="17756"/>
                    <a:pt x="12782" y="21652"/>
                    <a:pt x="13027" y="25576"/>
                  </a:cubicBezTo>
                  <a:cubicBezTo>
                    <a:pt x="12782" y="29510"/>
                    <a:pt x="13824" y="33418"/>
                    <a:pt x="15999" y="36706"/>
                  </a:cubicBezTo>
                  <a:cubicBezTo>
                    <a:pt x="19994" y="41378"/>
                    <a:pt x="27020" y="41927"/>
                    <a:pt x="31692" y="37932"/>
                  </a:cubicBezTo>
                  <a:cubicBezTo>
                    <a:pt x="32131" y="37556"/>
                    <a:pt x="32542" y="37146"/>
                    <a:pt x="32918" y="36706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56" name="Google Shape;256;p31"/>
            <p:cNvSpPr/>
            <p:nvPr/>
          </p:nvSpPr>
          <p:spPr>
            <a:xfrm rot="-5400000">
              <a:off x="12005374" y="6370523"/>
              <a:ext cx="71791" cy="51205"/>
            </a:xfrm>
            <a:custGeom>
              <a:avLst/>
              <a:gdLst/>
              <a:ahLst/>
              <a:cxnLst/>
              <a:rect l="l" t="t" r="r" b="b"/>
              <a:pathLst>
                <a:path w="71791" h="51205" extrusionOk="0">
                  <a:moveTo>
                    <a:pt x="62643" y="1307"/>
                  </a:moveTo>
                  <a:cubicBezTo>
                    <a:pt x="64938" y="2282"/>
                    <a:pt x="66944" y="3832"/>
                    <a:pt x="68466" y="5808"/>
                  </a:cubicBezTo>
                  <a:cubicBezTo>
                    <a:pt x="69936" y="7685"/>
                    <a:pt x="70917" y="9898"/>
                    <a:pt x="71317" y="12249"/>
                  </a:cubicBezTo>
                  <a:cubicBezTo>
                    <a:pt x="71680" y="14693"/>
                    <a:pt x="71834" y="17164"/>
                    <a:pt x="71781" y="19635"/>
                  </a:cubicBezTo>
                  <a:lnTo>
                    <a:pt x="71781" y="51205"/>
                  </a:lnTo>
                  <a:lnTo>
                    <a:pt x="58349" y="51205"/>
                  </a:lnTo>
                  <a:lnTo>
                    <a:pt x="58349" y="19308"/>
                  </a:lnTo>
                  <a:cubicBezTo>
                    <a:pt x="58414" y="17701"/>
                    <a:pt x="58101" y="16101"/>
                    <a:pt x="57438" y="14636"/>
                  </a:cubicBezTo>
                  <a:cubicBezTo>
                    <a:pt x="56188" y="12289"/>
                    <a:pt x="53642" y="10931"/>
                    <a:pt x="50997" y="11201"/>
                  </a:cubicBezTo>
                  <a:cubicBezTo>
                    <a:pt x="47802" y="10957"/>
                    <a:pt x="44803" y="12763"/>
                    <a:pt x="43525" y="15701"/>
                  </a:cubicBezTo>
                  <a:cubicBezTo>
                    <a:pt x="42766" y="17522"/>
                    <a:pt x="42404" y="19483"/>
                    <a:pt x="42460" y="21455"/>
                  </a:cubicBezTo>
                  <a:lnTo>
                    <a:pt x="42460" y="51205"/>
                  </a:lnTo>
                  <a:lnTo>
                    <a:pt x="29269" y="51205"/>
                  </a:lnTo>
                  <a:lnTo>
                    <a:pt x="29269" y="21387"/>
                  </a:lnTo>
                  <a:cubicBezTo>
                    <a:pt x="29389" y="19189"/>
                    <a:pt x="29080" y="16990"/>
                    <a:pt x="28359" y="14911"/>
                  </a:cubicBezTo>
                  <a:cubicBezTo>
                    <a:pt x="27192" y="12446"/>
                    <a:pt x="24595" y="10986"/>
                    <a:pt x="21883" y="11270"/>
                  </a:cubicBezTo>
                  <a:cubicBezTo>
                    <a:pt x="18138" y="11270"/>
                    <a:pt x="15626" y="12484"/>
                    <a:pt x="14342" y="14911"/>
                  </a:cubicBezTo>
                  <a:cubicBezTo>
                    <a:pt x="13527" y="16854"/>
                    <a:pt x="13162" y="18956"/>
                    <a:pt x="13277" y="21060"/>
                  </a:cubicBezTo>
                  <a:lnTo>
                    <a:pt x="13277" y="51205"/>
                  </a:lnTo>
                  <a:lnTo>
                    <a:pt x="0" y="51205"/>
                  </a:lnTo>
                  <a:lnTo>
                    <a:pt x="0" y="1221"/>
                  </a:lnTo>
                  <a:lnTo>
                    <a:pt x="12728" y="1221"/>
                  </a:lnTo>
                  <a:lnTo>
                    <a:pt x="12728" y="8556"/>
                  </a:lnTo>
                  <a:cubicBezTo>
                    <a:pt x="13930" y="6449"/>
                    <a:pt x="15488" y="4567"/>
                    <a:pt x="17331" y="2991"/>
                  </a:cubicBezTo>
                  <a:cubicBezTo>
                    <a:pt x="23120" y="-769"/>
                    <a:pt x="30538" y="-929"/>
                    <a:pt x="36483" y="2578"/>
                  </a:cubicBezTo>
                  <a:cubicBezTo>
                    <a:pt x="38381" y="4179"/>
                    <a:pt x="39841" y="6236"/>
                    <a:pt x="40726" y="8556"/>
                  </a:cubicBezTo>
                  <a:cubicBezTo>
                    <a:pt x="42206" y="5843"/>
                    <a:pt x="44413" y="3595"/>
                    <a:pt x="47098" y="2063"/>
                  </a:cubicBezTo>
                  <a:cubicBezTo>
                    <a:pt x="49896" y="665"/>
                    <a:pt x="52988" y="-42"/>
                    <a:pt x="56116" y="2"/>
                  </a:cubicBezTo>
                  <a:cubicBezTo>
                    <a:pt x="58356" y="15"/>
                    <a:pt x="60571" y="458"/>
                    <a:pt x="62643" y="1307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57" name="Google Shape;257;p31"/>
            <p:cNvSpPr/>
            <p:nvPr/>
          </p:nvSpPr>
          <p:spPr>
            <a:xfrm rot="-5400000">
              <a:off x="12026199" y="6307354"/>
              <a:ext cx="13277" cy="68070"/>
            </a:xfrm>
            <a:custGeom>
              <a:avLst/>
              <a:gdLst/>
              <a:ahLst/>
              <a:cxnLst/>
              <a:rect l="l" t="t" r="r" b="b"/>
              <a:pathLst>
                <a:path w="13277" h="68070" extrusionOk="0">
                  <a:moveTo>
                    <a:pt x="13278" y="12024"/>
                  </a:moveTo>
                  <a:lnTo>
                    <a:pt x="0" y="12024"/>
                  </a:lnTo>
                  <a:lnTo>
                    <a:pt x="0" y="0"/>
                  </a:lnTo>
                  <a:lnTo>
                    <a:pt x="13278" y="0"/>
                  </a:lnTo>
                  <a:close/>
                  <a:moveTo>
                    <a:pt x="0" y="17984"/>
                  </a:moveTo>
                  <a:lnTo>
                    <a:pt x="13278" y="17984"/>
                  </a:lnTo>
                  <a:lnTo>
                    <a:pt x="13278" y="68070"/>
                  </a:lnTo>
                  <a:lnTo>
                    <a:pt x="0" y="6807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58" name="Google Shape;258;p31"/>
            <p:cNvSpPr/>
            <p:nvPr/>
          </p:nvSpPr>
          <p:spPr>
            <a:xfrm rot="-5400000">
              <a:off x="12018641" y="6273739"/>
              <a:ext cx="45208" cy="51255"/>
            </a:xfrm>
            <a:custGeom>
              <a:avLst/>
              <a:gdLst/>
              <a:ahLst/>
              <a:cxnLst/>
              <a:rect l="l" t="t" r="r" b="b"/>
              <a:pathLst>
                <a:path w="45208" h="51255" extrusionOk="0">
                  <a:moveTo>
                    <a:pt x="40296" y="4038"/>
                  </a:moveTo>
                  <a:cubicBezTo>
                    <a:pt x="43560" y="6752"/>
                    <a:pt x="45209" y="11252"/>
                    <a:pt x="45209" y="17521"/>
                  </a:cubicBezTo>
                  <a:lnTo>
                    <a:pt x="45209" y="51256"/>
                  </a:lnTo>
                  <a:lnTo>
                    <a:pt x="31794" y="51256"/>
                  </a:lnTo>
                  <a:lnTo>
                    <a:pt x="31794" y="20785"/>
                  </a:lnTo>
                  <a:cubicBezTo>
                    <a:pt x="31900" y="18711"/>
                    <a:pt x="31543" y="16639"/>
                    <a:pt x="30746" y="14722"/>
                  </a:cubicBezTo>
                  <a:cubicBezTo>
                    <a:pt x="29458" y="12162"/>
                    <a:pt x="27036" y="10874"/>
                    <a:pt x="23446" y="10874"/>
                  </a:cubicBezTo>
                  <a:cubicBezTo>
                    <a:pt x="19511" y="10565"/>
                    <a:pt x="15833" y="12857"/>
                    <a:pt x="14377" y="16525"/>
                  </a:cubicBezTo>
                  <a:cubicBezTo>
                    <a:pt x="13439" y="18955"/>
                    <a:pt x="13001" y="21549"/>
                    <a:pt x="13089" y="24151"/>
                  </a:cubicBezTo>
                  <a:lnTo>
                    <a:pt x="13089" y="51256"/>
                  </a:lnTo>
                  <a:lnTo>
                    <a:pt x="0" y="51256"/>
                  </a:lnTo>
                  <a:lnTo>
                    <a:pt x="0" y="1272"/>
                  </a:lnTo>
                  <a:lnTo>
                    <a:pt x="12676" y="1272"/>
                  </a:lnTo>
                  <a:lnTo>
                    <a:pt x="12676" y="8607"/>
                  </a:lnTo>
                  <a:cubicBezTo>
                    <a:pt x="13946" y="6502"/>
                    <a:pt x="15553" y="4622"/>
                    <a:pt x="17434" y="3042"/>
                  </a:cubicBezTo>
                  <a:cubicBezTo>
                    <a:pt x="20409" y="938"/>
                    <a:pt x="23996" y="-125"/>
                    <a:pt x="27637" y="18"/>
                  </a:cubicBezTo>
                  <a:cubicBezTo>
                    <a:pt x="32199" y="-181"/>
                    <a:pt x="36684" y="1243"/>
                    <a:pt x="40296" y="403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59" name="Google Shape;259;p31"/>
            <p:cNvSpPr/>
            <p:nvPr/>
          </p:nvSpPr>
          <p:spPr>
            <a:xfrm rot="-5400000">
              <a:off x="12017163" y="6218687"/>
              <a:ext cx="48082" cy="51510"/>
            </a:xfrm>
            <a:custGeom>
              <a:avLst/>
              <a:gdLst/>
              <a:ahLst/>
              <a:cxnLst/>
              <a:rect l="l" t="t" r="r" b="b"/>
              <a:pathLst>
                <a:path w="48082" h="51510" extrusionOk="0">
                  <a:moveTo>
                    <a:pt x="35384" y="2281"/>
                  </a:moveTo>
                  <a:cubicBezTo>
                    <a:pt x="38804" y="3821"/>
                    <a:pt x="41712" y="6306"/>
                    <a:pt x="43766" y="9444"/>
                  </a:cubicBezTo>
                  <a:cubicBezTo>
                    <a:pt x="45803" y="12448"/>
                    <a:pt x="47126" y="15880"/>
                    <a:pt x="47631" y="19475"/>
                  </a:cubicBezTo>
                  <a:cubicBezTo>
                    <a:pt x="48021" y="22665"/>
                    <a:pt x="48160" y="25881"/>
                    <a:pt x="48043" y="29094"/>
                  </a:cubicBezTo>
                  <a:lnTo>
                    <a:pt x="12711" y="29094"/>
                  </a:lnTo>
                  <a:cubicBezTo>
                    <a:pt x="12900" y="33955"/>
                    <a:pt x="14600" y="37373"/>
                    <a:pt x="17778" y="39400"/>
                  </a:cubicBezTo>
                  <a:cubicBezTo>
                    <a:pt x="19884" y="40669"/>
                    <a:pt x="22311" y="41306"/>
                    <a:pt x="24769" y="41237"/>
                  </a:cubicBezTo>
                  <a:cubicBezTo>
                    <a:pt x="27307" y="41354"/>
                    <a:pt x="29803" y="40563"/>
                    <a:pt x="31811" y="39004"/>
                  </a:cubicBezTo>
                  <a:cubicBezTo>
                    <a:pt x="32891" y="38080"/>
                    <a:pt x="33774" y="36947"/>
                    <a:pt x="34405" y="35672"/>
                  </a:cubicBezTo>
                  <a:lnTo>
                    <a:pt x="47407" y="35672"/>
                  </a:lnTo>
                  <a:cubicBezTo>
                    <a:pt x="46818" y="39021"/>
                    <a:pt x="45169" y="42092"/>
                    <a:pt x="42701" y="44432"/>
                  </a:cubicBezTo>
                  <a:cubicBezTo>
                    <a:pt x="38355" y="49156"/>
                    <a:pt x="32292" y="51509"/>
                    <a:pt x="24459" y="51509"/>
                  </a:cubicBezTo>
                  <a:cubicBezTo>
                    <a:pt x="18245" y="51584"/>
                    <a:pt x="12202" y="49474"/>
                    <a:pt x="7386" y="45549"/>
                  </a:cubicBezTo>
                  <a:cubicBezTo>
                    <a:pt x="2461" y="41564"/>
                    <a:pt x="0" y="35094"/>
                    <a:pt x="0" y="26139"/>
                  </a:cubicBezTo>
                  <a:cubicBezTo>
                    <a:pt x="0" y="17746"/>
                    <a:pt x="2228" y="11304"/>
                    <a:pt x="6682" y="6816"/>
                  </a:cubicBezTo>
                  <a:cubicBezTo>
                    <a:pt x="11252" y="2254"/>
                    <a:pt x="17508" y="-208"/>
                    <a:pt x="23961" y="14"/>
                  </a:cubicBezTo>
                  <a:cubicBezTo>
                    <a:pt x="27886" y="-52"/>
                    <a:pt x="31782" y="721"/>
                    <a:pt x="35384" y="2281"/>
                  </a:cubicBezTo>
                  <a:close/>
                  <a:moveTo>
                    <a:pt x="16490" y="13223"/>
                  </a:moveTo>
                  <a:cubicBezTo>
                    <a:pt x="14554" y="15309"/>
                    <a:pt x="13350" y="17967"/>
                    <a:pt x="13054" y="20797"/>
                  </a:cubicBezTo>
                  <a:lnTo>
                    <a:pt x="34886" y="20797"/>
                  </a:lnTo>
                  <a:cubicBezTo>
                    <a:pt x="34844" y="17880"/>
                    <a:pt x="33601" y="15108"/>
                    <a:pt x="31450" y="13137"/>
                  </a:cubicBezTo>
                  <a:cubicBezTo>
                    <a:pt x="29363" y="11367"/>
                    <a:pt x="26698" y="10426"/>
                    <a:pt x="23961" y="10491"/>
                  </a:cubicBezTo>
                  <a:cubicBezTo>
                    <a:pt x="21201" y="10337"/>
                    <a:pt x="18499" y="11325"/>
                    <a:pt x="16490" y="13223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260" name="Google Shape;260;p31"/>
          <p:cNvSpPr txBox="1"/>
          <p:nvPr/>
        </p:nvSpPr>
        <p:spPr>
          <a:xfrm rot="-5400000">
            <a:off x="11250971" y="5290633"/>
            <a:ext cx="1567737" cy="110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</a:pPr>
            <a:r>
              <a:rPr lang="en-US" sz="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Copyright © 2020. All rights reserved.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61" name="Google Shape;261;p31"/>
          <p:cNvSpPr txBox="1">
            <a:spLocks noGrp="1"/>
          </p:cNvSpPr>
          <p:nvPr>
            <p:ph type="ftr" idx="11"/>
          </p:nvPr>
        </p:nvSpPr>
        <p:spPr>
          <a:xfrm>
            <a:off x="550862" y="6465614"/>
            <a:ext cx="7276401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Breaker Slide_2">
  <p:cSld name="Breaker Slide_2">
    <p:bg>
      <p:bgPr>
        <a:solidFill>
          <a:schemeClr val="lt2"/>
        </a:solidFill>
        <a:effectLst/>
      </p:bgPr>
    </p:bg>
    <p:spTree>
      <p:nvGrpSpPr>
        <p:cNvPr id="1" name="Shape 26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63" name="Google Shape;263;p3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264" name="Google Shape;264;p32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0">
                <a:srgbClr val="062379"/>
              </a:gs>
              <a:gs pos="16000">
                <a:srgbClr val="062379"/>
              </a:gs>
              <a:gs pos="55000">
                <a:srgbClr val="0934B6">
                  <a:alpha val="87450"/>
                </a:srgbClr>
              </a:gs>
              <a:gs pos="85000">
                <a:srgbClr val="036DFF">
                  <a:alpha val="80000"/>
                </a:srgbClr>
              </a:gs>
              <a:gs pos="100000">
                <a:srgbClr val="43E1D3"/>
              </a:gs>
            </a:gsLst>
            <a:lin ang="270000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65" name="Google Shape;265;p32"/>
          <p:cNvSpPr txBox="1">
            <a:spLocks noGrp="1"/>
          </p:cNvSpPr>
          <p:nvPr>
            <p:ph type="title"/>
          </p:nvPr>
        </p:nvSpPr>
        <p:spPr>
          <a:xfrm>
            <a:off x="992390" y="4026897"/>
            <a:ext cx="6785798" cy="1569660"/>
          </a:xfrm>
          <a:prstGeom prst="rect">
            <a:avLst/>
          </a:prstGeom>
          <a:noFill/>
          <a:ln>
            <a:noFill/>
          </a:ln>
          <a:effectLst>
            <a:outerShdw blurRad="190500" algn="tl" rotWithShape="0">
              <a:srgbClr val="000000">
                <a:alpha val="27450"/>
              </a:srgbClr>
            </a:outerShdw>
          </a:effectLst>
        </p:spPr>
        <p:txBody>
          <a:bodyPr spcFirstLastPara="1" wrap="square" lIns="0" tIns="0" rIns="0" bIns="0" anchor="ctr" anchorCtr="0">
            <a:sp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6000"/>
              <a:buFont typeface="Franklin Gothic"/>
              <a:buNone/>
              <a:defRPr sz="6000">
                <a:solidFill>
                  <a:schemeClr val="lt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266" name="Google Shape;266;p32"/>
          <p:cNvGrpSpPr/>
          <p:nvPr/>
        </p:nvGrpSpPr>
        <p:grpSpPr>
          <a:xfrm>
            <a:off x="11998459" y="6162188"/>
            <a:ext cx="68500" cy="441925"/>
            <a:chOff x="11998459" y="6162188"/>
            <a:chExt cx="68500" cy="441925"/>
          </a:xfrm>
        </p:grpSpPr>
        <p:sp>
          <p:nvSpPr>
            <p:cNvPr id="267" name="Google Shape;267;p32"/>
            <p:cNvSpPr/>
            <p:nvPr/>
          </p:nvSpPr>
          <p:spPr>
            <a:xfrm rot="-5400000">
              <a:off x="12063068" y="6476346"/>
              <a:ext cx="17" cy="1717"/>
            </a:xfrm>
            <a:custGeom>
              <a:avLst/>
              <a:gdLst/>
              <a:ahLst/>
              <a:cxnLst/>
              <a:rect l="l" t="t" r="r" b="b"/>
              <a:pathLst>
                <a:path w="17" h="1717" extrusionOk="0">
                  <a:moveTo>
                    <a:pt x="0" y="0"/>
                  </a:moveTo>
                  <a:lnTo>
                    <a:pt x="17" y="0"/>
                  </a:lnTo>
                  <a:lnTo>
                    <a:pt x="17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68" name="Google Shape;268;p32"/>
            <p:cNvSpPr/>
            <p:nvPr/>
          </p:nvSpPr>
          <p:spPr>
            <a:xfrm rot="-5400000">
              <a:off x="12023737" y="6455896"/>
              <a:ext cx="453" cy="271"/>
            </a:xfrm>
            <a:custGeom>
              <a:avLst/>
              <a:gdLst/>
              <a:ahLst/>
              <a:cxnLst/>
              <a:rect l="l" t="t" r="r" b="b"/>
              <a:pathLst>
                <a:path w="453" h="271" extrusionOk="0">
                  <a:moveTo>
                    <a:pt x="0" y="0"/>
                  </a:moveTo>
                  <a:cubicBezTo>
                    <a:pt x="258" y="172"/>
                    <a:pt x="498" y="344"/>
                    <a:pt x="447" y="240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69" name="Google Shape;269;p32"/>
            <p:cNvSpPr/>
            <p:nvPr/>
          </p:nvSpPr>
          <p:spPr>
            <a:xfrm rot="-5400000">
              <a:off x="12023907" y="6477766"/>
              <a:ext cx="15" cy="76"/>
            </a:xfrm>
            <a:custGeom>
              <a:avLst/>
              <a:gdLst/>
              <a:ahLst/>
              <a:cxnLst/>
              <a:rect l="l" t="t" r="r" b="b"/>
              <a:pathLst>
                <a:path w="15" h="76" extrusionOk="0">
                  <a:moveTo>
                    <a:pt x="15" y="38"/>
                  </a:moveTo>
                  <a:cubicBezTo>
                    <a:pt x="15" y="38"/>
                    <a:pt x="15" y="-48"/>
                    <a:pt x="15" y="38"/>
                  </a:cubicBezTo>
                  <a:cubicBezTo>
                    <a:pt x="15" y="124"/>
                    <a:pt x="-19" y="38"/>
                    <a:pt x="15" y="3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70" name="Google Shape;270;p32"/>
            <p:cNvSpPr/>
            <p:nvPr/>
          </p:nvSpPr>
          <p:spPr>
            <a:xfrm rot="-5400000">
              <a:off x="12021636" y="6473651"/>
              <a:ext cx="261" cy="103"/>
            </a:xfrm>
            <a:custGeom>
              <a:avLst/>
              <a:gdLst/>
              <a:ahLst/>
              <a:cxnLst/>
              <a:rect l="l" t="t" r="r" b="b"/>
              <a:pathLst>
                <a:path w="261" h="103" extrusionOk="0">
                  <a:moveTo>
                    <a:pt x="262" y="0"/>
                  </a:moveTo>
                  <a:lnTo>
                    <a:pt x="56" y="103"/>
                  </a:lnTo>
                  <a:cubicBezTo>
                    <a:pt x="176" y="103"/>
                    <a:pt x="-116" y="103"/>
                    <a:pt x="56" y="103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71" name="Google Shape;271;p32"/>
            <p:cNvSpPr/>
            <p:nvPr/>
          </p:nvSpPr>
          <p:spPr>
            <a:xfrm rot="-5400000">
              <a:off x="12015635" y="6442208"/>
              <a:ext cx="51323" cy="51323"/>
            </a:xfrm>
            <a:custGeom>
              <a:avLst/>
              <a:gdLst/>
              <a:ahLst/>
              <a:cxnLst/>
              <a:rect l="l" t="t" r="r" b="b"/>
              <a:pathLst>
                <a:path w="51323" h="51323" extrusionOk="0">
                  <a:moveTo>
                    <a:pt x="25662" y="0"/>
                  </a:moveTo>
                  <a:cubicBezTo>
                    <a:pt x="11489" y="0"/>
                    <a:pt x="0" y="11489"/>
                    <a:pt x="0" y="25662"/>
                  </a:cubicBezTo>
                  <a:cubicBezTo>
                    <a:pt x="0" y="39834"/>
                    <a:pt x="11489" y="51323"/>
                    <a:pt x="25662" y="51323"/>
                  </a:cubicBezTo>
                  <a:cubicBezTo>
                    <a:pt x="39835" y="51323"/>
                    <a:pt x="51324" y="39834"/>
                    <a:pt x="51324" y="25662"/>
                  </a:cubicBezTo>
                  <a:cubicBezTo>
                    <a:pt x="51324" y="25645"/>
                    <a:pt x="51324" y="25627"/>
                    <a:pt x="51324" y="25610"/>
                  </a:cubicBezTo>
                  <a:cubicBezTo>
                    <a:pt x="51314" y="11457"/>
                    <a:pt x="39833" y="-9"/>
                    <a:pt x="25679" y="0"/>
                  </a:cubicBezTo>
                  <a:cubicBezTo>
                    <a:pt x="25673" y="0"/>
                    <a:pt x="25667" y="0"/>
                    <a:pt x="25662" y="0"/>
                  </a:cubicBezTo>
                  <a:close/>
                  <a:moveTo>
                    <a:pt x="26967" y="15648"/>
                  </a:moveTo>
                  <a:cubicBezTo>
                    <a:pt x="26864" y="15648"/>
                    <a:pt x="26967" y="15785"/>
                    <a:pt x="26967" y="15837"/>
                  </a:cubicBezTo>
                  <a:cubicBezTo>
                    <a:pt x="26894" y="15820"/>
                    <a:pt x="26817" y="15820"/>
                    <a:pt x="26744" y="15837"/>
                  </a:cubicBezTo>
                  <a:cubicBezTo>
                    <a:pt x="26899" y="15837"/>
                    <a:pt x="27139" y="16043"/>
                    <a:pt x="26933" y="16163"/>
                  </a:cubicBezTo>
                  <a:cubicBezTo>
                    <a:pt x="26727" y="16283"/>
                    <a:pt x="27019" y="16163"/>
                    <a:pt x="27036" y="16163"/>
                  </a:cubicBezTo>
                  <a:cubicBezTo>
                    <a:pt x="27173" y="15854"/>
                    <a:pt x="27586" y="16283"/>
                    <a:pt x="27294" y="16489"/>
                  </a:cubicBezTo>
                  <a:lnTo>
                    <a:pt x="27294" y="16489"/>
                  </a:lnTo>
                  <a:cubicBezTo>
                    <a:pt x="27294" y="16489"/>
                    <a:pt x="27294" y="16489"/>
                    <a:pt x="27294" y="16489"/>
                  </a:cubicBezTo>
                  <a:lnTo>
                    <a:pt x="27294" y="16489"/>
                  </a:lnTo>
                  <a:cubicBezTo>
                    <a:pt x="27294" y="16489"/>
                    <a:pt x="27191" y="16489"/>
                    <a:pt x="27156" y="16489"/>
                  </a:cubicBezTo>
                  <a:cubicBezTo>
                    <a:pt x="27122" y="16489"/>
                    <a:pt x="27156" y="16489"/>
                    <a:pt x="27156" y="16593"/>
                  </a:cubicBezTo>
                  <a:cubicBezTo>
                    <a:pt x="27156" y="16696"/>
                    <a:pt x="27276" y="16593"/>
                    <a:pt x="27156" y="16593"/>
                  </a:cubicBezTo>
                  <a:cubicBezTo>
                    <a:pt x="27036" y="16593"/>
                    <a:pt x="27294" y="16593"/>
                    <a:pt x="27379" y="16593"/>
                  </a:cubicBezTo>
                  <a:cubicBezTo>
                    <a:pt x="27465" y="16593"/>
                    <a:pt x="27276" y="16713"/>
                    <a:pt x="27276" y="16799"/>
                  </a:cubicBezTo>
                  <a:cubicBezTo>
                    <a:pt x="27276" y="16885"/>
                    <a:pt x="26795" y="16936"/>
                    <a:pt x="26744" y="16799"/>
                  </a:cubicBezTo>
                  <a:cubicBezTo>
                    <a:pt x="26692" y="16661"/>
                    <a:pt x="26297" y="16799"/>
                    <a:pt x="26074" y="16902"/>
                  </a:cubicBezTo>
                  <a:cubicBezTo>
                    <a:pt x="25851" y="17005"/>
                    <a:pt x="26074" y="17125"/>
                    <a:pt x="25868" y="16988"/>
                  </a:cubicBezTo>
                  <a:cubicBezTo>
                    <a:pt x="25662" y="16850"/>
                    <a:pt x="25610" y="16988"/>
                    <a:pt x="25559" y="17142"/>
                  </a:cubicBezTo>
                  <a:cubicBezTo>
                    <a:pt x="25507" y="17297"/>
                    <a:pt x="25559" y="17142"/>
                    <a:pt x="25404" y="17142"/>
                  </a:cubicBezTo>
                  <a:cubicBezTo>
                    <a:pt x="25553" y="17029"/>
                    <a:pt x="25690" y="16902"/>
                    <a:pt x="25816" y="16764"/>
                  </a:cubicBezTo>
                  <a:cubicBezTo>
                    <a:pt x="25816" y="16593"/>
                    <a:pt x="26057" y="16764"/>
                    <a:pt x="26194" y="16764"/>
                  </a:cubicBezTo>
                  <a:cubicBezTo>
                    <a:pt x="26332" y="16764"/>
                    <a:pt x="26297" y="16610"/>
                    <a:pt x="26349" y="16541"/>
                  </a:cubicBezTo>
                  <a:cubicBezTo>
                    <a:pt x="26400" y="16472"/>
                    <a:pt x="26091" y="16764"/>
                    <a:pt x="26005" y="16627"/>
                  </a:cubicBezTo>
                  <a:cubicBezTo>
                    <a:pt x="25919" y="16489"/>
                    <a:pt x="25748" y="16627"/>
                    <a:pt x="25902" y="16627"/>
                  </a:cubicBezTo>
                  <a:cubicBezTo>
                    <a:pt x="26057" y="16627"/>
                    <a:pt x="25765" y="16627"/>
                    <a:pt x="25662" y="16627"/>
                  </a:cubicBezTo>
                  <a:lnTo>
                    <a:pt x="25662" y="16627"/>
                  </a:lnTo>
                  <a:cubicBezTo>
                    <a:pt x="25662" y="16627"/>
                    <a:pt x="25662" y="16627"/>
                    <a:pt x="25662" y="16627"/>
                  </a:cubicBezTo>
                  <a:cubicBezTo>
                    <a:pt x="25919" y="16541"/>
                    <a:pt x="26040" y="16472"/>
                    <a:pt x="26005" y="16215"/>
                  </a:cubicBezTo>
                  <a:lnTo>
                    <a:pt x="25834" y="16215"/>
                  </a:lnTo>
                  <a:cubicBezTo>
                    <a:pt x="25954" y="16094"/>
                    <a:pt x="26126" y="15940"/>
                    <a:pt x="26297" y="16060"/>
                  </a:cubicBezTo>
                  <a:cubicBezTo>
                    <a:pt x="26160" y="15888"/>
                    <a:pt x="26297" y="16060"/>
                    <a:pt x="26297" y="16060"/>
                  </a:cubicBezTo>
                  <a:cubicBezTo>
                    <a:pt x="26297" y="16060"/>
                    <a:pt x="26194" y="15837"/>
                    <a:pt x="26297" y="15785"/>
                  </a:cubicBezTo>
                  <a:cubicBezTo>
                    <a:pt x="26400" y="15734"/>
                    <a:pt x="26297" y="15648"/>
                    <a:pt x="26194" y="15785"/>
                  </a:cubicBezTo>
                  <a:lnTo>
                    <a:pt x="26194" y="15785"/>
                  </a:lnTo>
                  <a:cubicBezTo>
                    <a:pt x="26057" y="15785"/>
                    <a:pt x="26194" y="15476"/>
                    <a:pt x="26194" y="15493"/>
                  </a:cubicBezTo>
                  <a:cubicBezTo>
                    <a:pt x="26023" y="15493"/>
                    <a:pt x="25988" y="15613"/>
                    <a:pt x="25834" y="15493"/>
                  </a:cubicBezTo>
                  <a:cubicBezTo>
                    <a:pt x="25679" y="15373"/>
                    <a:pt x="25834" y="15493"/>
                    <a:pt x="25834" y="15596"/>
                  </a:cubicBezTo>
                  <a:cubicBezTo>
                    <a:pt x="25834" y="15699"/>
                    <a:pt x="25662" y="15459"/>
                    <a:pt x="25713" y="15596"/>
                  </a:cubicBezTo>
                  <a:cubicBezTo>
                    <a:pt x="25765" y="15734"/>
                    <a:pt x="25713" y="15493"/>
                    <a:pt x="25713" y="15459"/>
                  </a:cubicBezTo>
                  <a:lnTo>
                    <a:pt x="25713" y="15459"/>
                  </a:lnTo>
                  <a:cubicBezTo>
                    <a:pt x="25713" y="15459"/>
                    <a:pt x="25713" y="15287"/>
                    <a:pt x="25816" y="15236"/>
                  </a:cubicBezTo>
                  <a:cubicBezTo>
                    <a:pt x="25919" y="15184"/>
                    <a:pt x="25713" y="15029"/>
                    <a:pt x="25816" y="15064"/>
                  </a:cubicBezTo>
                  <a:cubicBezTo>
                    <a:pt x="25919" y="15098"/>
                    <a:pt x="25816" y="15064"/>
                    <a:pt x="25816" y="14961"/>
                  </a:cubicBezTo>
                  <a:cubicBezTo>
                    <a:pt x="25816" y="14858"/>
                    <a:pt x="25816" y="15047"/>
                    <a:pt x="25816" y="15081"/>
                  </a:cubicBezTo>
                  <a:lnTo>
                    <a:pt x="25816" y="15081"/>
                  </a:lnTo>
                  <a:cubicBezTo>
                    <a:pt x="25816" y="15081"/>
                    <a:pt x="25816" y="15081"/>
                    <a:pt x="25816" y="15081"/>
                  </a:cubicBezTo>
                  <a:cubicBezTo>
                    <a:pt x="25816" y="15081"/>
                    <a:pt x="25816" y="15081"/>
                    <a:pt x="25816" y="15081"/>
                  </a:cubicBezTo>
                  <a:cubicBezTo>
                    <a:pt x="25812" y="15173"/>
                    <a:pt x="25812" y="15264"/>
                    <a:pt x="25816" y="15356"/>
                  </a:cubicBezTo>
                  <a:cubicBezTo>
                    <a:pt x="25713" y="15356"/>
                    <a:pt x="25816" y="15218"/>
                    <a:pt x="25816" y="15167"/>
                  </a:cubicBezTo>
                  <a:cubicBezTo>
                    <a:pt x="25816" y="15115"/>
                    <a:pt x="25816" y="14858"/>
                    <a:pt x="25919" y="14823"/>
                  </a:cubicBezTo>
                  <a:cubicBezTo>
                    <a:pt x="26023" y="14789"/>
                    <a:pt x="25919" y="14823"/>
                    <a:pt x="25919" y="14823"/>
                  </a:cubicBezTo>
                  <a:cubicBezTo>
                    <a:pt x="25919" y="14823"/>
                    <a:pt x="25799" y="14978"/>
                    <a:pt x="25731" y="14823"/>
                  </a:cubicBezTo>
                  <a:cubicBezTo>
                    <a:pt x="25662" y="14669"/>
                    <a:pt x="25731" y="14823"/>
                    <a:pt x="25731" y="14823"/>
                  </a:cubicBezTo>
                  <a:cubicBezTo>
                    <a:pt x="25731" y="14823"/>
                    <a:pt x="25731" y="14686"/>
                    <a:pt x="25868" y="14737"/>
                  </a:cubicBezTo>
                  <a:cubicBezTo>
                    <a:pt x="26005" y="14789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lnTo>
                    <a:pt x="25868" y="14737"/>
                  </a:lnTo>
                  <a:lnTo>
                    <a:pt x="25868" y="14652"/>
                  </a:lnTo>
                  <a:cubicBezTo>
                    <a:pt x="25868" y="14652"/>
                    <a:pt x="25868" y="14652"/>
                    <a:pt x="25868" y="14652"/>
                  </a:cubicBezTo>
                  <a:cubicBezTo>
                    <a:pt x="25868" y="14652"/>
                    <a:pt x="25868" y="14566"/>
                    <a:pt x="25868" y="14514"/>
                  </a:cubicBezTo>
                  <a:lnTo>
                    <a:pt x="25868" y="14514"/>
                  </a:lnTo>
                  <a:cubicBezTo>
                    <a:pt x="25868" y="14514"/>
                    <a:pt x="25868" y="14514"/>
                    <a:pt x="25868" y="14514"/>
                  </a:cubicBezTo>
                  <a:cubicBezTo>
                    <a:pt x="25868" y="14514"/>
                    <a:pt x="25868" y="14514"/>
                    <a:pt x="25971" y="14514"/>
                  </a:cubicBezTo>
                  <a:cubicBezTo>
                    <a:pt x="25976" y="14486"/>
                    <a:pt x="25976" y="14457"/>
                    <a:pt x="25971" y="14428"/>
                  </a:cubicBezTo>
                  <a:cubicBezTo>
                    <a:pt x="25971" y="14428"/>
                    <a:pt x="26091" y="14085"/>
                    <a:pt x="26126" y="14291"/>
                  </a:cubicBezTo>
                  <a:cubicBezTo>
                    <a:pt x="26160" y="14497"/>
                    <a:pt x="26126" y="14291"/>
                    <a:pt x="26126" y="14291"/>
                  </a:cubicBezTo>
                  <a:cubicBezTo>
                    <a:pt x="26538" y="14136"/>
                    <a:pt x="26435" y="14291"/>
                    <a:pt x="26126" y="14531"/>
                  </a:cubicBezTo>
                  <a:lnTo>
                    <a:pt x="26126" y="14531"/>
                  </a:lnTo>
                  <a:cubicBezTo>
                    <a:pt x="25902" y="14737"/>
                    <a:pt x="26366" y="14531"/>
                    <a:pt x="26486" y="14531"/>
                  </a:cubicBezTo>
                  <a:cubicBezTo>
                    <a:pt x="26607" y="14531"/>
                    <a:pt x="26486" y="15029"/>
                    <a:pt x="26263" y="14995"/>
                  </a:cubicBezTo>
                  <a:cubicBezTo>
                    <a:pt x="26040" y="14961"/>
                    <a:pt x="26263" y="14995"/>
                    <a:pt x="26263" y="14995"/>
                  </a:cubicBezTo>
                  <a:cubicBezTo>
                    <a:pt x="26263" y="14995"/>
                    <a:pt x="26108" y="15133"/>
                    <a:pt x="26005" y="14995"/>
                  </a:cubicBezTo>
                  <a:cubicBezTo>
                    <a:pt x="26064" y="15057"/>
                    <a:pt x="26162" y="15059"/>
                    <a:pt x="26224" y="15000"/>
                  </a:cubicBezTo>
                  <a:cubicBezTo>
                    <a:pt x="26226" y="14998"/>
                    <a:pt x="26227" y="14997"/>
                    <a:pt x="26229" y="14995"/>
                  </a:cubicBezTo>
                  <a:cubicBezTo>
                    <a:pt x="26486" y="15098"/>
                    <a:pt x="26503" y="15373"/>
                    <a:pt x="26589" y="15579"/>
                  </a:cubicBezTo>
                  <a:cubicBezTo>
                    <a:pt x="26675" y="15785"/>
                    <a:pt x="26830" y="15545"/>
                    <a:pt x="26967" y="15613"/>
                  </a:cubicBezTo>
                  <a:close/>
                  <a:moveTo>
                    <a:pt x="18138" y="47476"/>
                  </a:moveTo>
                  <a:lnTo>
                    <a:pt x="18138" y="47476"/>
                  </a:lnTo>
                  <a:lnTo>
                    <a:pt x="18138" y="47476"/>
                  </a:lnTo>
                  <a:lnTo>
                    <a:pt x="18138" y="47476"/>
                  </a:lnTo>
                  <a:lnTo>
                    <a:pt x="18224" y="47476"/>
                  </a:lnTo>
                  <a:lnTo>
                    <a:pt x="18224" y="47476"/>
                  </a:lnTo>
                  <a:lnTo>
                    <a:pt x="17984" y="47338"/>
                  </a:lnTo>
                  <a:lnTo>
                    <a:pt x="17984" y="47338"/>
                  </a:lnTo>
                  <a:lnTo>
                    <a:pt x="17984" y="47338"/>
                  </a:lnTo>
                  <a:lnTo>
                    <a:pt x="18070" y="47338"/>
                  </a:lnTo>
                  <a:lnTo>
                    <a:pt x="18070" y="47338"/>
                  </a:lnTo>
                  <a:lnTo>
                    <a:pt x="18070" y="47338"/>
                  </a:lnTo>
                  <a:lnTo>
                    <a:pt x="17795" y="47218"/>
                  </a:lnTo>
                  <a:lnTo>
                    <a:pt x="17795" y="47218"/>
                  </a:lnTo>
                  <a:cubicBezTo>
                    <a:pt x="17795" y="47218"/>
                    <a:pt x="17795" y="47218"/>
                    <a:pt x="17795" y="47218"/>
                  </a:cubicBezTo>
                  <a:cubicBezTo>
                    <a:pt x="17762" y="47203"/>
                    <a:pt x="17725" y="47203"/>
                    <a:pt x="17692" y="47218"/>
                  </a:cubicBezTo>
                  <a:lnTo>
                    <a:pt x="17692" y="47218"/>
                  </a:lnTo>
                  <a:lnTo>
                    <a:pt x="17692" y="47218"/>
                  </a:lnTo>
                  <a:lnTo>
                    <a:pt x="17692" y="47218"/>
                  </a:lnTo>
                  <a:lnTo>
                    <a:pt x="17864" y="47218"/>
                  </a:lnTo>
                  <a:lnTo>
                    <a:pt x="17658" y="47218"/>
                  </a:lnTo>
                  <a:lnTo>
                    <a:pt x="17658" y="47218"/>
                  </a:lnTo>
                  <a:lnTo>
                    <a:pt x="17417" y="47115"/>
                  </a:lnTo>
                  <a:lnTo>
                    <a:pt x="17417" y="47115"/>
                  </a:lnTo>
                  <a:lnTo>
                    <a:pt x="17417" y="47115"/>
                  </a:lnTo>
                  <a:lnTo>
                    <a:pt x="17280" y="47115"/>
                  </a:lnTo>
                  <a:lnTo>
                    <a:pt x="17469" y="47218"/>
                  </a:lnTo>
                  <a:lnTo>
                    <a:pt x="17194" y="47081"/>
                  </a:lnTo>
                  <a:lnTo>
                    <a:pt x="17194" y="47081"/>
                  </a:lnTo>
                  <a:lnTo>
                    <a:pt x="17366" y="47081"/>
                  </a:lnTo>
                  <a:lnTo>
                    <a:pt x="17228" y="47081"/>
                  </a:lnTo>
                  <a:lnTo>
                    <a:pt x="17366" y="47081"/>
                  </a:lnTo>
                  <a:lnTo>
                    <a:pt x="17108" y="46961"/>
                  </a:lnTo>
                  <a:lnTo>
                    <a:pt x="17108" y="46961"/>
                  </a:lnTo>
                  <a:lnTo>
                    <a:pt x="17005" y="46961"/>
                  </a:lnTo>
                  <a:lnTo>
                    <a:pt x="17005" y="46961"/>
                  </a:lnTo>
                  <a:lnTo>
                    <a:pt x="16782" y="46858"/>
                  </a:lnTo>
                  <a:lnTo>
                    <a:pt x="16782" y="46858"/>
                  </a:lnTo>
                  <a:lnTo>
                    <a:pt x="16696" y="46858"/>
                  </a:lnTo>
                  <a:lnTo>
                    <a:pt x="16696" y="46858"/>
                  </a:lnTo>
                  <a:cubicBezTo>
                    <a:pt x="16557" y="46803"/>
                    <a:pt x="16425" y="46733"/>
                    <a:pt x="16301" y="46651"/>
                  </a:cubicBezTo>
                  <a:lnTo>
                    <a:pt x="16301" y="46651"/>
                  </a:lnTo>
                  <a:lnTo>
                    <a:pt x="16129" y="46548"/>
                  </a:lnTo>
                  <a:lnTo>
                    <a:pt x="16283" y="46651"/>
                  </a:lnTo>
                  <a:lnTo>
                    <a:pt x="15940" y="46462"/>
                  </a:lnTo>
                  <a:lnTo>
                    <a:pt x="15940" y="46462"/>
                  </a:lnTo>
                  <a:lnTo>
                    <a:pt x="15837" y="46462"/>
                  </a:lnTo>
                  <a:lnTo>
                    <a:pt x="15837" y="46462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510" y="46274"/>
                  </a:lnTo>
                  <a:lnTo>
                    <a:pt x="15510" y="46274"/>
                  </a:lnTo>
                  <a:lnTo>
                    <a:pt x="15339" y="46153"/>
                  </a:lnTo>
                  <a:lnTo>
                    <a:pt x="15339" y="46153"/>
                  </a:lnTo>
                  <a:lnTo>
                    <a:pt x="15201" y="46153"/>
                  </a:lnTo>
                  <a:lnTo>
                    <a:pt x="15201" y="46153"/>
                  </a:lnTo>
                  <a:cubicBezTo>
                    <a:pt x="15162" y="46164"/>
                    <a:pt x="15120" y="46164"/>
                    <a:pt x="15081" y="46153"/>
                  </a:cubicBezTo>
                  <a:lnTo>
                    <a:pt x="15081" y="46153"/>
                  </a:lnTo>
                  <a:lnTo>
                    <a:pt x="15218" y="46239"/>
                  </a:lnTo>
                  <a:lnTo>
                    <a:pt x="15081" y="46153"/>
                  </a:lnTo>
                  <a:lnTo>
                    <a:pt x="15081" y="46153"/>
                  </a:lnTo>
                  <a:lnTo>
                    <a:pt x="14961" y="46153"/>
                  </a:lnTo>
                  <a:lnTo>
                    <a:pt x="14961" y="46153"/>
                  </a:lnTo>
                  <a:lnTo>
                    <a:pt x="14823" y="46067"/>
                  </a:lnTo>
                  <a:cubicBezTo>
                    <a:pt x="14890" y="46095"/>
                    <a:pt x="14953" y="46130"/>
                    <a:pt x="15012" y="46170"/>
                  </a:cubicBezTo>
                  <a:cubicBezTo>
                    <a:pt x="15012" y="46170"/>
                    <a:pt x="15150" y="46274"/>
                    <a:pt x="15184" y="46274"/>
                  </a:cubicBezTo>
                  <a:lnTo>
                    <a:pt x="14720" y="45947"/>
                  </a:lnTo>
                  <a:lnTo>
                    <a:pt x="14720" y="45947"/>
                  </a:lnTo>
                  <a:cubicBezTo>
                    <a:pt x="14446" y="45724"/>
                    <a:pt x="14136" y="45535"/>
                    <a:pt x="13879" y="45312"/>
                  </a:cubicBezTo>
                  <a:lnTo>
                    <a:pt x="13982" y="45312"/>
                  </a:lnTo>
                  <a:lnTo>
                    <a:pt x="13827" y="45191"/>
                  </a:lnTo>
                  <a:lnTo>
                    <a:pt x="13827" y="45191"/>
                  </a:lnTo>
                  <a:cubicBezTo>
                    <a:pt x="13827" y="45191"/>
                    <a:pt x="13827" y="45191"/>
                    <a:pt x="13724" y="45191"/>
                  </a:cubicBezTo>
                  <a:lnTo>
                    <a:pt x="13724" y="45191"/>
                  </a:lnTo>
                  <a:lnTo>
                    <a:pt x="13724" y="45191"/>
                  </a:lnTo>
                  <a:lnTo>
                    <a:pt x="13724" y="45191"/>
                  </a:lnTo>
                  <a:cubicBezTo>
                    <a:pt x="13500" y="45056"/>
                    <a:pt x="13292" y="44895"/>
                    <a:pt x="13106" y="44710"/>
                  </a:cubicBezTo>
                  <a:lnTo>
                    <a:pt x="13106" y="44710"/>
                  </a:lnTo>
                  <a:cubicBezTo>
                    <a:pt x="12865" y="44453"/>
                    <a:pt x="12573" y="44264"/>
                    <a:pt x="12316" y="44023"/>
                  </a:cubicBezTo>
                  <a:cubicBezTo>
                    <a:pt x="12316" y="44023"/>
                    <a:pt x="12316" y="44023"/>
                    <a:pt x="12316" y="44023"/>
                  </a:cubicBezTo>
                  <a:cubicBezTo>
                    <a:pt x="11271" y="42931"/>
                    <a:pt x="10350" y="41727"/>
                    <a:pt x="9567" y="40434"/>
                  </a:cubicBezTo>
                  <a:lnTo>
                    <a:pt x="9567" y="40434"/>
                  </a:lnTo>
                  <a:cubicBezTo>
                    <a:pt x="9215" y="39466"/>
                    <a:pt x="8691" y="38570"/>
                    <a:pt x="8021" y="37788"/>
                  </a:cubicBezTo>
                  <a:lnTo>
                    <a:pt x="8021" y="37788"/>
                  </a:lnTo>
                  <a:cubicBezTo>
                    <a:pt x="6949" y="36560"/>
                    <a:pt x="6200" y="35084"/>
                    <a:pt x="5840" y="33494"/>
                  </a:cubicBezTo>
                  <a:cubicBezTo>
                    <a:pt x="5840" y="33494"/>
                    <a:pt x="5840" y="33494"/>
                    <a:pt x="5840" y="33580"/>
                  </a:cubicBezTo>
                  <a:cubicBezTo>
                    <a:pt x="5850" y="33546"/>
                    <a:pt x="5850" y="33511"/>
                    <a:pt x="5840" y="33477"/>
                  </a:cubicBezTo>
                  <a:cubicBezTo>
                    <a:pt x="5840" y="33477"/>
                    <a:pt x="5840" y="33580"/>
                    <a:pt x="5840" y="33614"/>
                  </a:cubicBezTo>
                  <a:cubicBezTo>
                    <a:pt x="5600" y="33202"/>
                    <a:pt x="5685" y="28461"/>
                    <a:pt x="5222" y="30299"/>
                  </a:cubicBezTo>
                  <a:cubicBezTo>
                    <a:pt x="5222" y="30299"/>
                    <a:pt x="5222" y="30093"/>
                    <a:pt x="5222" y="30042"/>
                  </a:cubicBezTo>
                  <a:cubicBezTo>
                    <a:pt x="5222" y="29990"/>
                    <a:pt x="5222" y="30042"/>
                    <a:pt x="5222" y="30128"/>
                  </a:cubicBezTo>
                  <a:cubicBezTo>
                    <a:pt x="5222" y="30213"/>
                    <a:pt x="5222" y="29887"/>
                    <a:pt x="5067" y="29784"/>
                  </a:cubicBezTo>
                  <a:cubicBezTo>
                    <a:pt x="4913" y="29681"/>
                    <a:pt x="5067" y="29784"/>
                    <a:pt x="5067" y="29784"/>
                  </a:cubicBezTo>
                  <a:lnTo>
                    <a:pt x="5067" y="29784"/>
                  </a:lnTo>
                  <a:cubicBezTo>
                    <a:pt x="5067" y="29784"/>
                    <a:pt x="5067" y="29612"/>
                    <a:pt x="5067" y="29544"/>
                  </a:cubicBezTo>
                  <a:cubicBezTo>
                    <a:pt x="5067" y="29475"/>
                    <a:pt x="5067" y="29664"/>
                    <a:pt x="5067" y="29715"/>
                  </a:cubicBezTo>
                  <a:cubicBezTo>
                    <a:pt x="5067" y="29458"/>
                    <a:pt x="4947" y="29166"/>
                    <a:pt x="4844" y="28908"/>
                  </a:cubicBezTo>
                  <a:cubicBezTo>
                    <a:pt x="4844" y="28994"/>
                    <a:pt x="4844" y="29080"/>
                    <a:pt x="4844" y="29183"/>
                  </a:cubicBezTo>
                  <a:cubicBezTo>
                    <a:pt x="4689" y="28753"/>
                    <a:pt x="4672" y="28290"/>
                    <a:pt x="4552" y="27843"/>
                  </a:cubicBezTo>
                  <a:cubicBezTo>
                    <a:pt x="4552" y="27929"/>
                    <a:pt x="4552" y="27843"/>
                    <a:pt x="4552" y="27740"/>
                  </a:cubicBezTo>
                  <a:cubicBezTo>
                    <a:pt x="4552" y="27637"/>
                    <a:pt x="4552" y="27740"/>
                    <a:pt x="4552" y="27740"/>
                  </a:cubicBezTo>
                  <a:cubicBezTo>
                    <a:pt x="4552" y="27740"/>
                    <a:pt x="4552" y="27740"/>
                    <a:pt x="4552" y="27740"/>
                  </a:cubicBezTo>
                  <a:cubicBezTo>
                    <a:pt x="4552" y="27740"/>
                    <a:pt x="4552" y="27740"/>
                    <a:pt x="4552" y="27740"/>
                  </a:cubicBezTo>
                  <a:cubicBezTo>
                    <a:pt x="4343" y="27287"/>
                    <a:pt x="4226" y="26796"/>
                    <a:pt x="4208" y="26297"/>
                  </a:cubicBezTo>
                  <a:cubicBezTo>
                    <a:pt x="4218" y="26366"/>
                    <a:pt x="4218" y="26435"/>
                    <a:pt x="4208" y="26503"/>
                  </a:cubicBezTo>
                  <a:cubicBezTo>
                    <a:pt x="4218" y="26435"/>
                    <a:pt x="4218" y="26366"/>
                    <a:pt x="4208" y="26297"/>
                  </a:cubicBezTo>
                  <a:lnTo>
                    <a:pt x="4208" y="26297"/>
                  </a:lnTo>
                  <a:cubicBezTo>
                    <a:pt x="4208" y="26297"/>
                    <a:pt x="4208" y="26297"/>
                    <a:pt x="4208" y="26297"/>
                  </a:cubicBezTo>
                  <a:lnTo>
                    <a:pt x="4208" y="26297"/>
                  </a:lnTo>
                  <a:lnTo>
                    <a:pt x="4208" y="26297"/>
                  </a:lnTo>
                  <a:cubicBezTo>
                    <a:pt x="4208" y="26297"/>
                    <a:pt x="4208" y="26297"/>
                    <a:pt x="4208" y="26400"/>
                  </a:cubicBezTo>
                  <a:cubicBezTo>
                    <a:pt x="4208" y="26503"/>
                    <a:pt x="4208" y="26400"/>
                    <a:pt x="4208" y="26400"/>
                  </a:cubicBezTo>
                  <a:lnTo>
                    <a:pt x="4208" y="26400"/>
                  </a:lnTo>
                  <a:lnTo>
                    <a:pt x="4208" y="26400"/>
                  </a:lnTo>
                  <a:cubicBezTo>
                    <a:pt x="4208" y="26314"/>
                    <a:pt x="4208" y="26194"/>
                    <a:pt x="4208" y="26091"/>
                  </a:cubicBezTo>
                  <a:lnTo>
                    <a:pt x="4208" y="26091"/>
                  </a:lnTo>
                  <a:cubicBezTo>
                    <a:pt x="4200" y="26034"/>
                    <a:pt x="4200" y="25976"/>
                    <a:pt x="4208" y="25919"/>
                  </a:cubicBezTo>
                  <a:lnTo>
                    <a:pt x="4208" y="25919"/>
                  </a:lnTo>
                  <a:cubicBezTo>
                    <a:pt x="4191" y="25679"/>
                    <a:pt x="4191" y="25438"/>
                    <a:pt x="4208" y="25198"/>
                  </a:cubicBezTo>
                  <a:lnTo>
                    <a:pt x="4208" y="25198"/>
                  </a:lnTo>
                  <a:cubicBezTo>
                    <a:pt x="4208" y="25198"/>
                    <a:pt x="4208" y="25112"/>
                    <a:pt x="4208" y="25078"/>
                  </a:cubicBezTo>
                  <a:lnTo>
                    <a:pt x="4208" y="25078"/>
                  </a:lnTo>
                  <a:cubicBezTo>
                    <a:pt x="4764" y="15747"/>
                    <a:pt x="10928" y="7687"/>
                    <a:pt x="19787" y="4706"/>
                  </a:cubicBezTo>
                  <a:lnTo>
                    <a:pt x="19787" y="4706"/>
                  </a:lnTo>
                  <a:lnTo>
                    <a:pt x="19994" y="4706"/>
                  </a:lnTo>
                  <a:lnTo>
                    <a:pt x="19994" y="4706"/>
                  </a:lnTo>
                  <a:lnTo>
                    <a:pt x="20217" y="4706"/>
                  </a:lnTo>
                  <a:lnTo>
                    <a:pt x="20062" y="4706"/>
                  </a:lnTo>
                  <a:lnTo>
                    <a:pt x="20337" y="4706"/>
                  </a:lnTo>
                  <a:lnTo>
                    <a:pt x="20234" y="4706"/>
                  </a:lnTo>
                  <a:lnTo>
                    <a:pt x="20234" y="4706"/>
                  </a:lnTo>
                  <a:lnTo>
                    <a:pt x="20423" y="4706"/>
                  </a:lnTo>
                  <a:lnTo>
                    <a:pt x="20423" y="4706"/>
                  </a:lnTo>
                  <a:lnTo>
                    <a:pt x="21711" y="4414"/>
                  </a:lnTo>
                  <a:lnTo>
                    <a:pt x="21711" y="4414"/>
                  </a:lnTo>
                  <a:lnTo>
                    <a:pt x="22038" y="4414"/>
                  </a:lnTo>
                  <a:lnTo>
                    <a:pt x="21814" y="4414"/>
                  </a:lnTo>
                  <a:lnTo>
                    <a:pt x="21814" y="4414"/>
                  </a:lnTo>
                  <a:lnTo>
                    <a:pt x="22415" y="4414"/>
                  </a:lnTo>
                  <a:lnTo>
                    <a:pt x="22415" y="4414"/>
                  </a:lnTo>
                  <a:lnTo>
                    <a:pt x="22106" y="4414"/>
                  </a:lnTo>
                  <a:lnTo>
                    <a:pt x="22398" y="4414"/>
                  </a:lnTo>
                  <a:lnTo>
                    <a:pt x="22398" y="4414"/>
                  </a:lnTo>
                  <a:lnTo>
                    <a:pt x="22690" y="4414"/>
                  </a:lnTo>
                  <a:lnTo>
                    <a:pt x="22587" y="4414"/>
                  </a:lnTo>
                  <a:lnTo>
                    <a:pt x="22484" y="4414"/>
                  </a:lnTo>
                  <a:lnTo>
                    <a:pt x="22725" y="4414"/>
                  </a:lnTo>
                  <a:lnTo>
                    <a:pt x="22347" y="4414"/>
                  </a:lnTo>
                  <a:lnTo>
                    <a:pt x="22244" y="4414"/>
                  </a:lnTo>
                  <a:lnTo>
                    <a:pt x="22055" y="4414"/>
                  </a:lnTo>
                  <a:lnTo>
                    <a:pt x="22415" y="4414"/>
                  </a:lnTo>
                  <a:lnTo>
                    <a:pt x="22020" y="4414"/>
                  </a:lnTo>
                  <a:lnTo>
                    <a:pt x="22020" y="4414"/>
                  </a:lnTo>
                  <a:lnTo>
                    <a:pt x="21608" y="4414"/>
                  </a:lnTo>
                  <a:lnTo>
                    <a:pt x="21608" y="4414"/>
                  </a:lnTo>
                  <a:lnTo>
                    <a:pt x="21213" y="4500"/>
                  </a:lnTo>
                  <a:lnTo>
                    <a:pt x="21385" y="4500"/>
                  </a:lnTo>
                  <a:lnTo>
                    <a:pt x="21385" y="4500"/>
                  </a:lnTo>
                  <a:cubicBezTo>
                    <a:pt x="21251" y="4544"/>
                    <a:pt x="21113" y="4572"/>
                    <a:pt x="20973" y="4586"/>
                  </a:cubicBezTo>
                  <a:lnTo>
                    <a:pt x="21144" y="4586"/>
                  </a:lnTo>
                  <a:lnTo>
                    <a:pt x="20955" y="4586"/>
                  </a:lnTo>
                  <a:lnTo>
                    <a:pt x="20955" y="4586"/>
                  </a:lnTo>
                  <a:lnTo>
                    <a:pt x="20835" y="4586"/>
                  </a:lnTo>
                  <a:lnTo>
                    <a:pt x="20835" y="4586"/>
                  </a:lnTo>
                  <a:lnTo>
                    <a:pt x="20835" y="4586"/>
                  </a:lnTo>
                  <a:cubicBezTo>
                    <a:pt x="20835" y="4586"/>
                    <a:pt x="20835" y="4586"/>
                    <a:pt x="20835" y="4586"/>
                  </a:cubicBezTo>
                  <a:lnTo>
                    <a:pt x="20835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560" y="4586"/>
                  </a:lnTo>
                  <a:lnTo>
                    <a:pt x="20560" y="4586"/>
                  </a:lnTo>
                  <a:lnTo>
                    <a:pt x="20114" y="4706"/>
                  </a:lnTo>
                  <a:lnTo>
                    <a:pt x="20114" y="4706"/>
                  </a:lnTo>
                  <a:lnTo>
                    <a:pt x="19787" y="4827"/>
                  </a:lnTo>
                  <a:lnTo>
                    <a:pt x="19787" y="4827"/>
                  </a:lnTo>
                  <a:lnTo>
                    <a:pt x="19392" y="4947"/>
                  </a:lnTo>
                  <a:lnTo>
                    <a:pt x="19392" y="4947"/>
                  </a:lnTo>
                  <a:lnTo>
                    <a:pt x="19100" y="5153"/>
                  </a:lnTo>
                  <a:lnTo>
                    <a:pt x="19100" y="5153"/>
                  </a:lnTo>
                  <a:lnTo>
                    <a:pt x="18997" y="5153"/>
                  </a:lnTo>
                  <a:lnTo>
                    <a:pt x="18997" y="5153"/>
                  </a:lnTo>
                  <a:lnTo>
                    <a:pt x="18430" y="5359"/>
                  </a:lnTo>
                  <a:lnTo>
                    <a:pt x="18568" y="5359"/>
                  </a:lnTo>
                  <a:lnTo>
                    <a:pt x="18568" y="5359"/>
                  </a:lnTo>
                  <a:cubicBezTo>
                    <a:pt x="18763" y="5286"/>
                    <a:pt x="18964" y="5229"/>
                    <a:pt x="19169" y="5187"/>
                  </a:cubicBezTo>
                  <a:lnTo>
                    <a:pt x="19169" y="5187"/>
                  </a:lnTo>
                  <a:lnTo>
                    <a:pt x="19341" y="5187"/>
                  </a:lnTo>
                  <a:lnTo>
                    <a:pt x="19461" y="5187"/>
                  </a:lnTo>
                  <a:lnTo>
                    <a:pt x="19186" y="5187"/>
                  </a:lnTo>
                  <a:lnTo>
                    <a:pt x="19186" y="5187"/>
                  </a:lnTo>
                  <a:lnTo>
                    <a:pt x="19032" y="5187"/>
                  </a:lnTo>
                  <a:lnTo>
                    <a:pt x="19032" y="5187"/>
                  </a:lnTo>
                  <a:lnTo>
                    <a:pt x="18911" y="5187"/>
                  </a:lnTo>
                  <a:lnTo>
                    <a:pt x="18911" y="5187"/>
                  </a:lnTo>
                  <a:lnTo>
                    <a:pt x="18740" y="5187"/>
                  </a:lnTo>
                  <a:lnTo>
                    <a:pt x="18740" y="5187"/>
                  </a:lnTo>
                  <a:lnTo>
                    <a:pt x="18894" y="5187"/>
                  </a:lnTo>
                  <a:lnTo>
                    <a:pt x="18894" y="5187"/>
                  </a:lnTo>
                  <a:lnTo>
                    <a:pt x="19049" y="5187"/>
                  </a:lnTo>
                  <a:lnTo>
                    <a:pt x="19049" y="5187"/>
                  </a:lnTo>
                  <a:lnTo>
                    <a:pt x="18860" y="5187"/>
                  </a:lnTo>
                  <a:cubicBezTo>
                    <a:pt x="18997" y="5187"/>
                    <a:pt x="19392" y="5067"/>
                    <a:pt x="19032" y="5187"/>
                  </a:cubicBezTo>
                  <a:lnTo>
                    <a:pt x="19186" y="5187"/>
                  </a:lnTo>
                  <a:lnTo>
                    <a:pt x="19289" y="5187"/>
                  </a:lnTo>
                  <a:lnTo>
                    <a:pt x="19650" y="5084"/>
                  </a:lnTo>
                  <a:cubicBezTo>
                    <a:pt x="19252" y="5196"/>
                    <a:pt x="18862" y="5334"/>
                    <a:pt x="18482" y="5497"/>
                  </a:cubicBezTo>
                  <a:lnTo>
                    <a:pt x="18654" y="5497"/>
                  </a:lnTo>
                  <a:lnTo>
                    <a:pt x="18654" y="5497"/>
                  </a:lnTo>
                  <a:cubicBezTo>
                    <a:pt x="18654" y="5497"/>
                    <a:pt x="18860" y="5497"/>
                    <a:pt x="18740" y="5497"/>
                  </a:cubicBezTo>
                  <a:lnTo>
                    <a:pt x="18894" y="5497"/>
                  </a:lnTo>
                  <a:lnTo>
                    <a:pt x="18894" y="5497"/>
                  </a:lnTo>
                  <a:lnTo>
                    <a:pt x="19032" y="5497"/>
                  </a:lnTo>
                  <a:cubicBezTo>
                    <a:pt x="18929" y="5497"/>
                    <a:pt x="18808" y="5497"/>
                    <a:pt x="18722" y="5617"/>
                  </a:cubicBezTo>
                  <a:lnTo>
                    <a:pt x="18722" y="5617"/>
                  </a:lnTo>
                  <a:lnTo>
                    <a:pt x="18585" y="5617"/>
                  </a:lnTo>
                  <a:lnTo>
                    <a:pt x="18585" y="5617"/>
                  </a:lnTo>
                  <a:lnTo>
                    <a:pt x="18413" y="5617"/>
                  </a:lnTo>
                  <a:cubicBezTo>
                    <a:pt x="18505" y="5624"/>
                    <a:pt x="18597" y="5624"/>
                    <a:pt x="18688" y="5617"/>
                  </a:cubicBezTo>
                  <a:cubicBezTo>
                    <a:pt x="18396" y="5771"/>
                    <a:pt x="18035" y="5909"/>
                    <a:pt x="17743" y="6098"/>
                  </a:cubicBezTo>
                  <a:lnTo>
                    <a:pt x="17743" y="6098"/>
                  </a:lnTo>
                  <a:lnTo>
                    <a:pt x="17554" y="6201"/>
                  </a:lnTo>
                  <a:lnTo>
                    <a:pt x="17743" y="6201"/>
                  </a:lnTo>
                  <a:lnTo>
                    <a:pt x="17743" y="6201"/>
                  </a:lnTo>
                  <a:cubicBezTo>
                    <a:pt x="17743" y="6201"/>
                    <a:pt x="17743" y="6201"/>
                    <a:pt x="17743" y="6201"/>
                  </a:cubicBezTo>
                  <a:cubicBezTo>
                    <a:pt x="17557" y="6309"/>
                    <a:pt x="17362" y="6402"/>
                    <a:pt x="17159" y="6476"/>
                  </a:cubicBezTo>
                  <a:cubicBezTo>
                    <a:pt x="17159" y="6476"/>
                    <a:pt x="17159" y="6476"/>
                    <a:pt x="17159" y="6476"/>
                  </a:cubicBezTo>
                  <a:cubicBezTo>
                    <a:pt x="17159" y="6476"/>
                    <a:pt x="17056" y="6476"/>
                    <a:pt x="17039" y="6476"/>
                  </a:cubicBezTo>
                  <a:lnTo>
                    <a:pt x="17039" y="6476"/>
                  </a:lnTo>
                  <a:cubicBezTo>
                    <a:pt x="16976" y="6499"/>
                    <a:pt x="16918" y="6534"/>
                    <a:pt x="16867" y="6579"/>
                  </a:cubicBezTo>
                  <a:lnTo>
                    <a:pt x="16867" y="6579"/>
                  </a:lnTo>
                  <a:cubicBezTo>
                    <a:pt x="16867" y="6579"/>
                    <a:pt x="16627" y="6750"/>
                    <a:pt x="16730" y="6716"/>
                  </a:cubicBezTo>
                  <a:lnTo>
                    <a:pt x="16730" y="6716"/>
                  </a:lnTo>
                  <a:lnTo>
                    <a:pt x="16730" y="6716"/>
                  </a:lnTo>
                  <a:lnTo>
                    <a:pt x="16730" y="6716"/>
                  </a:lnTo>
                  <a:cubicBezTo>
                    <a:pt x="16730" y="6716"/>
                    <a:pt x="16730" y="6716"/>
                    <a:pt x="16730" y="6716"/>
                  </a:cubicBezTo>
                  <a:lnTo>
                    <a:pt x="16885" y="6716"/>
                  </a:lnTo>
                  <a:lnTo>
                    <a:pt x="16627" y="6853"/>
                  </a:lnTo>
                  <a:lnTo>
                    <a:pt x="16627" y="6853"/>
                  </a:lnTo>
                  <a:cubicBezTo>
                    <a:pt x="16627" y="6853"/>
                    <a:pt x="16455" y="6853"/>
                    <a:pt x="16386" y="6991"/>
                  </a:cubicBezTo>
                  <a:cubicBezTo>
                    <a:pt x="16318" y="7128"/>
                    <a:pt x="16507" y="6991"/>
                    <a:pt x="16558" y="6991"/>
                  </a:cubicBezTo>
                  <a:cubicBezTo>
                    <a:pt x="16389" y="7066"/>
                    <a:pt x="16228" y="7158"/>
                    <a:pt x="16077" y="7266"/>
                  </a:cubicBezTo>
                  <a:lnTo>
                    <a:pt x="16077" y="7266"/>
                  </a:lnTo>
                  <a:lnTo>
                    <a:pt x="16077" y="7266"/>
                  </a:lnTo>
                  <a:cubicBezTo>
                    <a:pt x="16317" y="7116"/>
                    <a:pt x="16570" y="6989"/>
                    <a:pt x="16833" y="6888"/>
                  </a:cubicBezTo>
                  <a:lnTo>
                    <a:pt x="16833" y="6888"/>
                  </a:lnTo>
                  <a:cubicBezTo>
                    <a:pt x="16833" y="6888"/>
                    <a:pt x="16833" y="6888"/>
                    <a:pt x="16833" y="6888"/>
                  </a:cubicBezTo>
                  <a:lnTo>
                    <a:pt x="16833" y="6888"/>
                  </a:lnTo>
                  <a:lnTo>
                    <a:pt x="16936" y="6888"/>
                  </a:lnTo>
                  <a:lnTo>
                    <a:pt x="16833" y="6888"/>
                  </a:lnTo>
                  <a:cubicBezTo>
                    <a:pt x="16833" y="6888"/>
                    <a:pt x="16988" y="6785"/>
                    <a:pt x="17056" y="6785"/>
                  </a:cubicBezTo>
                  <a:lnTo>
                    <a:pt x="17056" y="6785"/>
                  </a:lnTo>
                  <a:cubicBezTo>
                    <a:pt x="17056" y="6785"/>
                    <a:pt x="17314" y="6682"/>
                    <a:pt x="17159" y="6785"/>
                  </a:cubicBezTo>
                  <a:lnTo>
                    <a:pt x="17039" y="6785"/>
                  </a:lnTo>
                  <a:cubicBezTo>
                    <a:pt x="17073" y="6775"/>
                    <a:pt x="17109" y="6775"/>
                    <a:pt x="17142" y="6785"/>
                  </a:cubicBezTo>
                  <a:lnTo>
                    <a:pt x="17022" y="6785"/>
                  </a:lnTo>
                  <a:lnTo>
                    <a:pt x="17022" y="6785"/>
                  </a:lnTo>
                  <a:cubicBezTo>
                    <a:pt x="17022" y="6785"/>
                    <a:pt x="17022" y="6785"/>
                    <a:pt x="16885" y="6785"/>
                  </a:cubicBezTo>
                  <a:cubicBezTo>
                    <a:pt x="16747" y="6785"/>
                    <a:pt x="17074" y="6785"/>
                    <a:pt x="17005" y="6785"/>
                  </a:cubicBezTo>
                  <a:cubicBezTo>
                    <a:pt x="17104" y="6745"/>
                    <a:pt x="17215" y="6745"/>
                    <a:pt x="17314" y="6785"/>
                  </a:cubicBezTo>
                  <a:lnTo>
                    <a:pt x="17314" y="6785"/>
                  </a:lnTo>
                  <a:cubicBezTo>
                    <a:pt x="17125" y="6922"/>
                    <a:pt x="16902" y="7025"/>
                    <a:pt x="16696" y="7145"/>
                  </a:cubicBezTo>
                  <a:lnTo>
                    <a:pt x="16696" y="7145"/>
                  </a:lnTo>
                  <a:lnTo>
                    <a:pt x="16696" y="7145"/>
                  </a:lnTo>
                  <a:lnTo>
                    <a:pt x="16696" y="7145"/>
                  </a:lnTo>
                  <a:cubicBezTo>
                    <a:pt x="16696" y="7145"/>
                    <a:pt x="16696" y="7145"/>
                    <a:pt x="16696" y="7145"/>
                  </a:cubicBezTo>
                  <a:lnTo>
                    <a:pt x="16696" y="7145"/>
                  </a:lnTo>
                  <a:lnTo>
                    <a:pt x="16696" y="7145"/>
                  </a:lnTo>
                  <a:lnTo>
                    <a:pt x="16455" y="7300"/>
                  </a:lnTo>
                  <a:lnTo>
                    <a:pt x="16455" y="7300"/>
                  </a:lnTo>
                  <a:cubicBezTo>
                    <a:pt x="16455" y="7300"/>
                    <a:pt x="16455" y="7300"/>
                    <a:pt x="16455" y="7386"/>
                  </a:cubicBezTo>
                  <a:lnTo>
                    <a:pt x="16610" y="7386"/>
                  </a:lnTo>
                  <a:lnTo>
                    <a:pt x="16610" y="7386"/>
                  </a:lnTo>
                  <a:lnTo>
                    <a:pt x="16610" y="7489"/>
                  </a:lnTo>
                  <a:cubicBezTo>
                    <a:pt x="16610" y="7489"/>
                    <a:pt x="16610" y="7489"/>
                    <a:pt x="16610" y="7489"/>
                  </a:cubicBezTo>
                  <a:lnTo>
                    <a:pt x="16610" y="7489"/>
                  </a:lnTo>
                  <a:cubicBezTo>
                    <a:pt x="16953" y="7266"/>
                    <a:pt x="16713" y="7489"/>
                    <a:pt x="16610" y="7592"/>
                  </a:cubicBezTo>
                  <a:cubicBezTo>
                    <a:pt x="16730" y="7592"/>
                    <a:pt x="16833" y="7386"/>
                    <a:pt x="16970" y="7334"/>
                  </a:cubicBezTo>
                  <a:lnTo>
                    <a:pt x="16970" y="7334"/>
                  </a:lnTo>
                  <a:cubicBezTo>
                    <a:pt x="16970" y="7334"/>
                    <a:pt x="17280" y="7145"/>
                    <a:pt x="17108" y="7334"/>
                  </a:cubicBezTo>
                  <a:lnTo>
                    <a:pt x="17245" y="7334"/>
                  </a:lnTo>
                  <a:lnTo>
                    <a:pt x="17142" y="7334"/>
                  </a:lnTo>
                  <a:cubicBezTo>
                    <a:pt x="17142" y="7334"/>
                    <a:pt x="17142" y="7334"/>
                    <a:pt x="17142" y="7334"/>
                  </a:cubicBezTo>
                  <a:cubicBezTo>
                    <a:pt x="17142" y="7334"/>
                    <a:pt x="17022" y="7334"/>
                    <a:pt x="16988" y="7437"/>
                  </a:cubicBezTo>
                  <a:lnTo>
                    <a:pt x="16988" y="7437"/>
                  </a:lnTo>
                  <a:cubicBezTo>
                    <a:pt x="16988" y="7437"/>
                    <a:pt x="16885" y="7437"/>
                    <a:pt x="16867" y="7437"/>
                  </a:cubicBezTo>
                  <a:cubicBezTo>
                    <a:pt x="17211" y="7317"/>
                    <a:pt x="16747" y="7437"/>
                    <a:pt x="16610" y="7575"/>
                  </a:cubicBezTo>
                  <a:lnTo>
                    <a:pt x="16610" y="7575"/>
                  </a:lnTo>
                  <a:lnTo>
                    <a:pt x="16421" y="7678"/>
                  </a:lnTo>
                  <a:lnTo>
                    <a:pt x="16421" y="7678"/>
                  </a:lnTo>
                  <a:lnTo>
                    <a:pt x="16283" y="7678"/>
                  </a:lnTo>
                  <a:cubicBezTo>
                    <a:pt x="16438" y="7678"/>
                    <a:pt x="16283" y="7678"/>
                    <a:pt x="16283" y="7678"/>
                  </a:cubicBezTo>
                  <a:lnTo>
                    <a:pt x="16283" y="7678"/>
                  </a:lnTo>
                  <a:lnTo>
                    <a:pt x="16129" y="7678"/>
                  </a:lnTo>
                  <a:lnTo>
                    <a:pt x="16129" y="7678"/>
                  </a:lnTo>
                  <a:lnTo>
                    <a:pt x="16129" y="7678"/>
                  </a:lnTo>
                  <a:lnTo>
                    <a:pt x="16129" y="7678"/>
                  </a:lnTo>
                  <a:cubicBezTo>
                    <a:pt x="16026" y="7678"/>
                    <a:pt x="15923" y="7833"/>
                    <a:pt x="15820" y="7867"/>
                  </a:cubicBezTo>
                  <a:cubicBezTo>
                    <a:pt x="15717" y="7901"/>
                    <a:pt x="15974" y="7764"/>
                    <a:pt x="16043" y="7747"/>
                  </a:cubicBezTo>
                  <a:cubicBezTo>
                    <a:pt x="16112" y="7729"/>
                    <a:pt x="16043" y="7747"/>
                    <a:pt x="16043" y="7747"/>
                  </a:cubicBezTo>
                  <a:cubicBezTo>
                    <a:pt x="16131" y="7705"/>
                    <a:pt x="16223" y="7670"/>
                    <a:pt x="16318" y="7644"/>
                  </a:cubicBezTo>
                  <a:lnTo>
                    <a:pt x="16198" y="7644"/>
                  </a:lnTo>
                  <a:cubicBezTo>
                    <a:pt x="16386" y="7558"/>
                    <a:pt x="16558" y="7420"/>
                    <a:pt x="16747" y="7352"/>
                  </a:cubicBezTo>
                  <a:lnTo>
                    <a:pt x="16747" y="7352"/>
                  </a:lnTo>
                  <a:lnTo>
                    <a:pt x="16747" y="7352"/>
                  </a:lnTo>
                  <a:cubicBezTo>
                    <a:pt x="16976" y="7288"/>
                    <a:pt x="17195" y="7196"/>
                    <a:pt x="17400" y="7077"/>
                  </a:cubicBezTo>
                  <a:cubicBezTo>
                    <a:pt x="17400" y="7077"/>
                    <a:pt x="17400" y="7077"/>
                    <a:pt x="17262" y="7077"/>
                  </a:cubicBezTo>
                  <a:lnTo>
                    <a:pt x="17262" y="7077"/>
                  </a:lnTo>
                  <a:cubicBezTo>
                    <a:pt x="17366" y="7077"/>
                    <a:pt x="17761" y="6836"/>
                    <a:pt x="17520" y="6991"/>
                  </a:cubicBezTo>
                  <a:cubicBezTo>
                    <a:pt x="17692" y="6991"/>
                    <a:pt x="17692" y="6819"/>
                    <a:pt x="17846" y="6768"/>
                  </a:cubicBezTo>
                  <a:cubicBezTo>
                    <a:pt x="17692" y="6768"/>
                    <a:pt x="17846" y="6768"/>
                    <a:pt x="17846" y="6768"/>
                  </a:cubicBezTo>
                  <a:lnTo>
                    <a:pt x="17846" y="6768"/>
                  </a:lnTo>
                  <a:cubicBezTo>
                    <a:pt x="18036" y="6628"/>
                    <a:pt x="18252" y="6528"/>
                    <a:pt x="18482" y="6476"/>
                  </a:cubicBezTo>
                  <a:lnTo>
                    <a:pt x="18482" y="6476"/>
                  </a:lnTo>
                  <a:cubicBezTo>
                    <a:pt x="18662" y="6364"/>
                    <a:pt x="18859" y="6282"/>
                    <a:pt x="19066" y="6235"/>
                  </a:cubicBezTo>
                  <a:lnTo>
                    <a:pt x="18911" y="6321"/>
                  </a:lnTo>
                  <a:cubicBezTo>
                    <a:pt x="19100" y="6321"/>
                    <a:pt x="19238" y="6149"/>
                    <a:pt x="19427" y="6115"/>
                  </a:cubicBezTo>
                  <a:lnTo>
                    <a:pt x="19238" y="6252"/>
                  </a:lnTo>
                  <a:cubicBezTo>
                    <a:pt x="20286" y="5617"/>
                    <a:pt x="22038" y="4998"/>
                    <a:pt x="20303" y="5909"/>
                  </a:cubicBezTo>
                  <a:cubicBezTo>
                    <a:pt x="20578" y="5823"/>
                    <a:pt x="21230" y="5411"/>
                    <a:pt x="21024" y="5651"/>
                  </a:cubicBezTo>
                  <a:cubicBezTo>
                    <a:pt x="21780" y="5393"/>
                    <a:pt x="20629" y="6012"/>
                    <a:pt x="20303" y="6149"/>
                  </a:cubicBezTo>
                  <a:cubicBezTo>
                    <a:pt x="20698" y="6012"/>
                    <a:pt x="20303" y="6149"/>
                    <a:pt x="20303" y="6149"/>
                  </a:cubicBezTo>
                  <a:cubicBezTo>
                    <a:pt x="20303" y="6149"/>
                    <a:pt x="20560" y="5977"/>
                    <a:pt x="20406" y="6149"/>
                  </a:cubicBezTo>
                  <a:cubicBezTo>
                    <a:pt x="20663" y="5857"/>
                    <a:pt x="20921" y="6149"/>
                    <a:pt x="20492" y="6235"/>
                  </a:cubicBezTo>
                  <a:cubicBezTo>
                    <a:pt x="20448" y="6218"/>
                    <a:pt x="20398" y="6218"/>
                    <a:pt x="20354" y="6235"/>
                  </a:cubicBezTo>
                  <a:cubicBezTo>
                    <a:pt x="20612" y="6235"/>
                    <a:pt x="20251" y="6321"/>
                    <a:pt x="20165" y="6355"/>
                  </a:cubicBezTo>
                  <a:cubicBezTo>
                    <a:pt x="20818" y="6149"/>
                    <a:pt x="19616" y="6647"/>
                    <a:pt x="20337" y="6355"/>
                  </a:cubicBezTo>
                  <a:cubicBezTo>
                    <a:pt x="19427" y="6750"/>
                    <a:pt x="20749" y="6355"/>
                    <a:pt x="19856" y="6716"/>
                  </a:cubicBezTo>
                  <a:cubicBezTo>
                    <a:pt x="19856" y="6819"/>
                    <a:pt x="19856" y="6716"/>
                    <a:pt x="20097" y="6716"/>
                  </a:cubicBezTo>
                  <a:cubicBezTo>
                    <a:pt x="19967" y="6814"/>
                    <a:pt x="19822" y="6889"/>
                    <a:pt x="19667" y="6939"/>
                  </a:cubicBezTo>
                  <a:cubicBezTo>
                    <a:pt x="19564" y="6939"/>
                    <a:pt x="20423" y="6939"/>
                    <a:pt x="19495" y="7145"/>
                  </a:cubicBezTo>
                  <a:cubicBezTo>
                    <a:pt x="19392" y="7145"/>
                    <a:pt x="19959" y="7145"/>
                    <a:pt x="19358" y="7266"/>
                  </a:cubicBezTo>
                  <a:cubicBezTo>
                    <a:pt x="19856" y="7094"/>
                    <a:pt x="19925" y="7266"/>
                    <a:pt x="19358" y="7352"/>
                  </a:cubicBezTo>
                  <a:cubicBezTo>
                    <a:pt x="19581" y="7541"/>
                    <a:pt x="19255" y="7592"/>
                    <a:pt x="19358" y="7523"/>
                  </a:cubicBezTo>
                  <a:cubicBezTo>
                    <a:pt x="19083" y="7523"/>
                    <a:pt x="19358" y="7747"/>
                    <a:pt x="19049" y="7626"/>
                  </a:cubicBezTo>
                  <a:cubicBezTo>
                    <a:pt x="18860" y="7953"/>
                    <a:pt x="19186" y="7764"/>
                    <a:pt x="18860" y="7918"/>
                  </a:cubicBezTo>
                  <a:cubicBezTo>
                    <a:pt x="19118" y="7833"/>
                    <a:pt x="18654" y="8193"/>
                    <a:pt x="18860" y="8039"/>
                  </a:cubicBezTo>
                  <a:cubicBezTo>
                    <a:pt x="18534" y="8365"/>
                    <a:pt x="19152" y="7850"/>
                    <a:pt x="18705" y="8399"/>
                  </a:cubicBezTo>
                  <a:cubicBezTo>
                    <a:pt x="18482" y="8520"/>
                    <a:pt x="19066" y="8399"/>
                    <a:pt x="18551" y="8588"/>
                  </a:cubicBezTo>
                  <a:cubicBezTo>
                    <a:pt x="18929" y="8434"/>
                    <a:pt x="18637" y="8966"/>
                    <a:pt x="18396" y="8829"/>
                  </a:cubicBezTo>
                  <a:cubicBezTo>
                    <a:pt x="18396" y="8966"/>
                    <a:pt x="18242" y="9069"/>
                    <a:pt x="18190" y="8966"/>
                  </a:cubicBezTo>
                  <a:cubicBezTo>
                    <a:pt x="18138" y="8863"/>
                    <a:pt x="18018" y="9155"/>
                    <a:pt x="18190" y="8966"/>
                  </a:cubicBezTo>
                  <a:cubicBezTo>
                    <a:pt x="18362" y="8777"/>
                    <a:pt x="17692" y="9447"/>
                    <a:pt x="17846" y="9155"/>
                  </a:cubicBezTo>
                  <a:cubicBezTo>
                    <a:pt x="17709" y="8966"/>
                    <a:pt x="18173" y="8709"/>
                    <a:pt x="18224" y="8605"/>
                  </a:cubicBezTo>
                  <a:cubicBezTo>
                    <a:pt x="17915" y="8777"/>
                    <a:pt x="18104" y="8605"/>
                    <a:pt x="18224" y="8434"/>
                  </a:cubicBezTo>
                  <a:cubicBezTo>
                    <a:pt x="18345" y="8262"/>
                    <a:pt x="17967" y="8640"/>
                    <a:pt x="18053" y="8434"/>
                  </a:cubicBezTo>
                  <a:cubicBezTo>
                    <a:pt x="17761" y="8709"/>
                    <a:pt x="17589" y="8743"/>
                    <a:pt x="17486" y="9155"/>
                  </a:cubicBezTo>
                  <a:cubicBezTo>
                    <a:pt x="17383" y="9567"/>
                    <a:pt x="16816" y="10065"/>
                    <a:pt x="16747" y="9842"/>
                  </a:cubicBezTo>
                  <a:cubicBezTo>
                    <a:pt x="16678" y="9619"/>
                    <a:pt x="16867" y="9722"/>
                    <a:pt x="16747" y="9396"/>
                  </a:cubicBezTo>
                  <a:cubicBezTo>
                    <a:pt x="16524" y="9791"/>
                    <a:pt x="16524" y="10306"/>
                    <a:pt x="16524" y="10306"/>
                  </a:cubicBezTo>
                  <a:cubicBezTo>
                    <a:pt x="15820" y="10461"/>
                    <a:pt x="16644" y="9104"/>
                    <a:pt x="16799" y="9069"/>
                  </a:cubicBezTo>
                  <a:cubicBezTo>
                    <a:pt x="16524" y="9172"/>
                    <a:pt x="16799" y="9069"/>
                    <a:pt x="16558" y="9069"/>
                  </a:cubicBezTo>
                  <a:cubicBezTo>
                    <a:pt x="16678" y="8897"/>
                    <a:pt x="16386" y="9155"/>
                    <a:pt x="16301" y="9069"/>
                  </a:cubicBezTo>
                  <a:cubicBezTo>
                    <a:pt x="16215" y="8983"/>
                    <a:pt x="17005" y="8382"/>
                    <a:pt x="16850" y="8794"/>
                  </a:cubicBezTo>
                  <a:cubicBezTo>
                    <a:pt x="18310" y="8485"/>
                    <a:pt x="19203" y="7077"/>
                    <a:pt x="19530" y="6733"/>
                  </a:cubicBezTo>
                  <a:cubicBezTo>
                    <a:pt x="19032" y="7145"/>
                    <a:pt x="19169" y="6733"/>
                    <a:pt x="18980" y="6733"/>
                  </a:cubicBezTo>
                  <a:cubicBezTo>
                    <a:pt x="18791" y="6733"/>
                    <a:pt x="19238" y="6579"/>
                    <a:pt x="18980" y="6561"/>
                  </a:cubicBezTo>
                  <a:cubicBezTo>
                    <a:pt x="19203" y="6321"/>
                    <a:pt x="18980" y="6561"/>
                    <a:pt x="18980" y="6373"/>
                  </a:cubicBezTo>
                  <a:lnTo>
                    <a:pt x="19083" y="6373"/>
                  </a:lnTo>
                  <a:lnTo>
                    <a:pt x="18929" y="6458"/>
                  </a:lnTo>
                  <a:cubicBezTo>
                    <a:pt x="18671" y="6579"/>
                    <a:pt x="18430" y="6733"/>
                    <a:pt x="18173" y="6871"/>
                  </a:cubicBezTo>
                  <a:lnTo>
                    <a:pt x="18173" y="6871"/>
                  </a:lnTo>
                  <a:lnTo>
                    <a:pt x="18293" y="6871"/>
                  </a:lnTo>
                  <a:lnTo>
                    <a:pt x="18242" y="6871"/>
                  </a:lnTo>
                  <a:lnTo>
                    <a:pt x="18242" y="6871"/>
                  </a:lnTo>
                  <a:cubicBezTo>
                    <a:pt x="18242" y="6957"/>
                    <a:pt x="17984" y="6871"/>
                    <a:pt x="17898" y="7025"/>
                  </a:cubicBezTo>
                  <a:lnTo>
                    <a:pt x="17898" y="7025"/>
                  </a:lnTo>
                  <a:lnTo>
                    <a:pt x="17898" y="7025"/>
                  </a:lnTo>
                  <a:lnTo>
                    <a:pt x="18001" y="7025"/>
                  </a:lnTo>
                  <a:cubicBezTo>
                    <a:pt x="18001" y="7025"/>
                    <a:pt x="18001" y="7025"/>
                    <a:pt x="18001" y="7025"/>
                  </a:cubicBezTo>
                  <a:lnTo>
                    <a:pt x="18001" y="7025"/>
                  </a:lnTo>
                  <a:cubicBezTo>
                    <a:pt x="18001" y="7025"/>
                    <a:pt x="17881" y="7025"/>
                    <a:pt x="17829" y="7025"/>
                  </a:cubicBezTo>
                  <a:lnTo>
                    <a:pt x="17829" y="7025"/>
                  </a:lnTo>
                  <a:lnTo>
                    <a:pt x="17829" y="7025"/>
                  </a:lnTo>
                  <a:cubicBezTo>
                    <a:pt x="17623" y="7180"/>
                    <a:pt x="17400" y="7300"/>
                    <a:pt x="17177" y="7437"/>
                  </a:cubicBezTo>
                  <a:lnTo>
                    <a:pt x="17434" y="7334"/>
                  </a:lnTo>
                  <a:lnTo>
                    <a:pt x="17434" y="7334"/>
                  </a:lnTo>
                  <a:lnTo>
                    <a:pt x="17864" y="7111"/>
                  </a:lnTo>
                  <a:cubicBezTo>
                    <a:pt x="17702" y="7258"/>
                    <a:pt x="17523" y="7385"/>
                    <a:pt x="17331" y="7489"/>
                  </a:cubicBezTo>
                  <a:lnTo>
                    <a:pt x="17331" y="7489"/>
                  </a:lnTo>
                  <a:cubicBezTo>
                    <a:pt x="17075" y="7607"/>
                    <a:pt x="16843" y="7770"/>
                    <a:pt x="16644" y="7970"/>
                  </a:cubicBezTo>
                  <a:cubicBezTo>
                    <a:pt x="16644" y="7970"/>
                    <a:pt x="16747" y="7884"/>
                    <a:pt x="16799" y="7884"/>
                  </a:cubicBezTo>
                  <a:lnTo>
                    <a:pt x="16799" y="7884"/>
                  </a:lnTo>
                  <a:lnTo>
                    <a:pt x="17675" y="7437"/>
                  </a:lnTo>
                  <a:lnTo>
                    <a:pt x="17675" y="7437"/>
                  </a:lnTo>
                  <a:lnTo>
                    <a:pt x="17675" y="7437"/>
                  </a:lnTo>
                  <a:cubicBezTo>
                    <a:pt x="17675" y="7437"/>
                    <a:pt x="17675" y="7334"/>
                    <a:pt x="17812" y="7352"/>
                  </a:cubicBezTo>
                  <a:lnTo>
                    <a:pt x="17812" y="7352"/>
                  </a:lnTo>
                  <a:cubicBezTo>
                    <a:pt x="17812" y="7352"/>
                    <a:pt x="17812" y="7352"/>
                    <a:pt x="17932" y="7352"/>
                  </a:cubicBezTo>
                  <a:lnTo>
                    <a:pt x="17932" y="7352"/>
                  </a:lnTo>
                  <a:lnTo>
                    <a:pt x="18362" y="7111"/>
                  </a:lnTo>
                  <a:cubicBezTo>
                    <a:pt x="18362" y="7111"/>
                    <a:pt x="18362" y="7111"/>
                    <a:pt x="18362" y="7266"/>
                  </a:cubicBezTo>
                  <a:lnTo>
                    <a:pt x="18362" y="7266"/>
                  </a:lnTo>
                  <a:cubicBezTo>
                    <a:pt x="18341" y="7321"/>
                    <a:pt x="18297" y="7365"/>
                    <a:pt x="18242" y="7386"/>
                  </a:cubicBezTo>
                  <a:cubicBezTo>
                    <a:pt x="18242" y="7300"/>
                    <a:pt x="18242" y="7472"/>
                    <a:pt x="18104" y="7489"/>
                  </a:cubicBezTo>
                  <a:cubicBezTo>
                    <a:pt x="17967" y="7506"/>
                    <a:pt x="17967" y="7626"/>
                    <a:pt x="17898" y="7626"/>
                  </a:cubicBezTo>
                  <a:cubicBezTo>
                    <a:pt x="17829" y="7626"/>
                    <a:pt x="17898" y="7626"/>
                    <a:pt x="17898" y="7626"/>
                  </a:cubicBezTo>
                  <a:lnTo>
                    <a:pt x="17898" y="7626"/>
                  </a:lnTo>
                  <a:cubicBezTo>
                    <a:pt x="17898" y="7626"/>
                    <a:pt x="17606" y="7764"/>
                    <a:pt x="17692" y="7626"/>
                  </a:cubicBezTo>
                  <a:lnTo>
                    <a:pt x="17692" y="7626"/>
                  </a:lnTo>
                  <a:cubicBezTo>
                    <a:pt x="17692" y="7626"/>
                    <a:pt x="17692" y="7712"/>
                    <a:pt x="17537" y="7729"/>
                  </a:cubicBezTo>
                  <a:lnTo>
                    <a:pt x="17537" y="7729"/>
                  </a:lnTo>
                  <a:cubicBezTo>
                    <a:pt x="17537" y="7729"/>
                    <a:pt x="17417" y="7729"/>
                    <a:pt x="17537" y="7729"/>
                  </a:cubicBezTo>
                  <a:cubicBezTo>
                    <a:pt x="17222" y="8004"/>
                    <a:pt x="16845" y="8199"/>
                    <a:pt x="16438" y="8296"/>
                  </a:cubicBezTo>
                  <a:cubicBezTo>
                    <a:pt x="16466" y="8278"/>
                    <a:pt x="16495" y="8261"/>
                    <a:pt x="16524" y="8245"/>
                  </a:cubicBezTo>
                  <a:lnTo>
                    <a:pt x="16524" y="8245"/>
                  </a:lnTo>
                  <a:lnTo>
                    <a:pt x="16661" y="8125"/>
                  </a:lnTo>
                  <a:lnTo>
                    <a:pt x="16661" y="8125"/>
                  </a:lnTo>
                  <a:cubicBezTo>
                    <a:pt x="16661" y="8125"/>
                    <a:pt x="16490" y="8210"/>
                    <a:pt x="16661" y="8125"/>
                  </a:cubicBezTo>
                  <a:cubicBezTo>
                    <a:pt x="16557" y="8250"/>
                    <a:pt x="16436" y="8360"/>
                    <a:pt x="16301" y="8451"/>
                  </a:cubicBezTo>
                  <a:lnTo>
                    <a:pt x="16404" y="8296"/>
                  </a:lnTo>
                  <a:cubicBezTo>
                    <a:pt x="16404" y="8296"/>
                    <a:pt x="16404" y="8382"/>
                    <a:pt x="16283" y="8399"/>
                  </a:cubicBezTo>
                  <a:cubicBezTo>
                    <a:pt x="16163" y="8417"/>
                    <a:pt x="16283" y="8399"/>
                    <a:pt x="16283" y="8399"/>
                  </a:cubicBezTo>
                  <a:lnTo>
                    <a:pt x="16283" y="8399"/>
                  </a:lnTo>
                  <a:lnTo>
                    <a:pt x="16438" y="8279"/>
                  </a:lnTo>
                  <a:cubicBezTo>
                    <a:pt x="16438" y="8279"/>
                    <a:pt x="16335" y="8279"/>
                    <a:pt x="16438" y="8279"/>
                  </a:cubicBezTo>
                  <a:lnTo>
                    <a:pt x="16438" y="8279"/>
                  </a:lnTo>
                  <a:lnTo>
                    <a:pt x="16438" y="8279"/>
                  </a:lnTo>
                  <a:cubicBezTo>
                    <a:pt x="16260" y="8438"/>
                    <a:pt x="16057" y="8566"/>
                    <a:pt x="15837" y="8657"/>
                  </a:cubicBezTo>
                  <a:lnTo>
                    <a:pt x="15837" y="8657"/>
                  </a:lnTo>
                  <a:cubicBezTo>
                    <a:pt x="15510" y="8846"/>
                    <a:pt x="15837" y="8520"/>
                    <a:pt x="15837" y="8365"/>
                  </a:cubicBezTo>
                  <a:cubicBezTo>
                    <a:pt x="15545" y="8537"/>
                    <a:pt x="15614" y="8846"/>
                    <a:pt x="15287" y="8932"/>
                  </a:cubicBezTo>
                  <a:lnTo>
                    <a:pt x="15287" y="8932"/>
                  </a:lnTo>
                  <a:lnTo>
                    <a:pt x="14841" y="9138"/>
                  </a:lnTo>
                  <a:cubicBezTo>
                    <a:pt x="14841" y="9138"/>
                    <a:pt x="14841" y="9138"/>
                    <a:pt x="14841" y="9138"/>
                  </a:cubicBezTo>
                  <a:lnTo>
                    <a:pt x="14841" y="9138"/>
                  </a:lnTo>
                  <a:lnTo>
                    <a:pt x="14841" y="9138"/>
                  </a:lnTo>
                  <a:cubicBezTo>
                    <a:pt x="14841" y="9138"/>
                    <a:pt x="14841" y="9138"/>
                    <a:pt x="14961" y="9035"/>
                  </a:cubicBezTo>
                  <a:cubicBezTo>
                    <a:pt x="15081" y="8932"/>
                    <a:pt x="14841" y="9035"/>
                    <a:pt x="14806" y="9121"/>
                  </a:cubicBezTo>
                  <a:cubicBezTo>
                    <a:pt x="14849" y="9096"/>
                    <a:pt x="14884" y="9060"/>
                    <a:pt x="14909" y="9018"/>
                  </a:cubicBezTo>
                  <a:cubicBezTo>
                    <a:pt x="14909" y="9018"/>
                    <a:pt x="14514" y="9344"/>
                    <a:pt x="14686" y="9138"/>
                  </a:cubicBezTo>
                  <a:lnTo>
                    <a:pt x="14531" y="9258"/>
                  </a:lnTo>
                  <a:cubicBezTo>
                    <a:pt x="14601" y="9111"/>
                    <a:pt x="14687" y="8973"/>
                    <a:pt x="14789" y="8846"/>
                  </a:cubicBezTo>
                  <a:lnTo>
                    <a:pt x="14789" y="8846"/>
                  </a:lnTo>
                  <a:lnTo>
                    <a:pt x="14789" y="8846"/>
                  </a:lnTo>
                  <a:lnTo>
                    <a:pt x="14703" y="8949"/>
                  </a:lnTo>
                  <a:cubicBezTo>
                    <a:pt x="14909" y="8794"/>
                    <a:pt x="14600" y="9138"/>
                    <a:pt x="14549" y="9121"/>
                  </a:cubicBezTo>
                  <a:lnTo>
                    <a:pt x="14686" y="9121"/>
                  </a:lnTo>
                  <a:cubicBezTo>
                    <a:pt x="14549" y="9361"/>
                    <a:pt x="13999" y="9653"/>
                    <a:pt x="14411" y="9121"/>
                  </a:cubicBezTo>
                  <a:cubicBezTo>
                    <a:pt x="14274" y="9207"/>
                    <a:pt x="14205" y="9361"/>
                    <a:pt x="14085" y="9447"/>
                  </a:cubicBezTo>
                  <a:lnTo>
                    <a:pt x="14085" y="9447"/>
                  </a:lnTo>
                  <a:lnTo>
                    <a:pt x="14085" y="9447"/>
                  </a:lnTo>
                  <a:lnTo>
                    <a:pt x="14085" y="9447"/>
                  </a:lnTo>
                  <a:lnTo>
                    <a:pt x="13930" y="9585"/>
                  </a:lnTo>
                  <a:cubicBezTo>
                    <a:pt x="13930" y="9585"/>
                    <a:pt x="13930" y="9585"/>
                    <a:pt x="13930" y="9585"/>
                  </a:cubicBezTo>
                  <a:cubicBezTo>
                    <a:pt x="13930" y="9585"/>
                    <a:pt x="13810" y="9585"/>
                    <a:pt x="13776" y="9585"/>
                  </a:cubicBezTo>
                  <a:cubicBezTo>
                    <a:pt x="13741" y="9585"/>
                    <a:pt x="13260" y="9911"/>
                    <a:pt x="13123" y="9945"/>
                  </a:cubicBezTo>
                  <a:lnTo>
                    <a:pt x="13123" y="9945"/>
                  </a:lnTo>
                  <a:cubicBezTo>
                    <a:pt x="12737" y="10291"/>
                    <a:pt x="12330" y="10612"/>
                    <a:pt x="11903" y="10907"/>
                  </a:cubicBezTo>
                  <a:cubicBezTo>
                    <a:pt x="12900" y="10254"/>
                    <a:pt x="11749" y="11405"/>
                    <a:pt x="11525" y="11405"/>
                  </a:cubicBezTo>
                  <a:cubicBezTo>
                    <a:pt x="11972" y="11405"/>
                    <a:pt x="11732" y="11783"/>
                    <a:pt x="11525" y="12092"/>
                  </a:cubicBezTo>
                  <a:lnTo>
                    <a:pt x="11525" y="12092"/>
                  </a:lnTo>
                  <a:cubicBezTo>
                    <a:pt x="11512" y="12253"/>
                    <a:pt x="11471" y="12409"/>
                    <a:pt x="11405" y="12556"/>
                  </a:cubicBezTo>
                  <a:cubicBezTo>
                    <a:pt x="11525" y="12556"/>
                    <a:pt x="11508" y="12693"/>
                    <a:pt x="11629" y="12693"/>
                  </a:cubicBezTo>
                  <a:lnTo>
                    <a:pt x="11629" y="12693"/>
                  </a:lnTo>
                  <a:cubicBezTo>
                    <a:pt x="11143" y="13178"/>
                    <a:pt x="10727" y="13727"/>
                    <a:pt x="10392" y="14325"/>
                  </a:cubicBezTo>
                  <a:cubicBezTo>
                    <a:pt x="10598" y="14325"/>
                    <a:pt x="10546" y="14325"/>
                    <a:pt x="10753" y="14188"/>
                  </a:cubicBezTo>
                  <a:cubicBezTo>
                    <a:pt x="10753" y="14274"/>
                    <a:pt x="10546" y="14445"/>
                    <a:pt x="10649" y="14514"/>
                  </a:cubicBezTo>
                  <a:cubicBezTo>
                    <a:pt x="11067" y="13670"/>
                    <a:pt x="11757" y="12992"/>
                    <a:pt x="12608" y="12590"/>
                  </a:cubicBezTo>
                  <a:cubicBezTo>
                    <a:pt x="13106" y="12024"/>
                    <a:pt x="13484" y="11337"/>
                    <a:pt x="13999" y="11148"/>
                  </a:cubicBezTo>
                  <a:lnTo>
                    <a:pt x="13999" y="11148"/>
                  </a:lnTo>
                  <a:cubicBezTo>
                    <a:pt x="14085" y="11148"/>
                    <a:pt x="14119" y="10976"/>
                    <a:pt x="14205" y="10976"/>
                  </a:cubicBezTo>
                  <a:cubicBezTo>
                    <a:pt x="14291" y="10976"/>
                    <a:pt x="14205" y="10873"/>
                    <a:pt x="14325" y="10856"/>
                  </a:cubicBezTo>
                  <a:cubicBezTo>
                    <a:pt x="14446" y="10838"/>
                    <a:pt x="15493" y="9808"/>
                    <a:pt x="15081" y="10409"/>
                  </a:cubicBezTo>
                  <a:cubicBezTo>
                    <a:pt x="15081" y="10409"/>
                    <a:pt x="15253" y="10409"/>
                    <a:pt x="15201" y="10409"/>
                  </a:cubicBezTo>
                  <a:lnTo>
                    <a:pt x="15201" y="10409"/>
                  </a:lnTo>
                  <a:cubicBezTo>
                    <a:pt x="15510" y="10409"/>
                    <a:pt x="15201" y="10409"/>
                    <a:pt x="15304" y="10564"/>
                  </a:cubicBezTo>
                  <a:cubicBezTo>
                    <a:pt x="15407" y="10718"/>
                    <a:pt x="15201" y="10649"/>
                    <a:pt x="15167" y="10701"/>
                  </a:cubicBezTo>
                  <a:lnTo>
                    <a:pt x="15167" y="10701"/>
                  </a:lnTo>
                  <a:cubicBezTo>
                    <a:pt x="15167" y="10701"/>
                    <a:pt x="15167" y="10804"/>
                    <a:pt x="15167" y="10856"/>
                  </a:cubicBezTo>
                  <a:lnTo>
                    <a:pt x="15167" y="10856"/>
                  </a:lnTo>
                  <a:cubicBezTo>
                    <a:pt x="15167" y="10856"/>
                    <a:pt x="15167" y="10941"/>
                    <a:pt x="15167" y="10941"/>
                  </a:cubicBezTo>
                  <a:lnTo>
                    <a:pt x="15167" y="10941"/>
                  </a:lnTo>
                  <a:cubicBezTo>
                    <a:pt x="15167" y="10941"/>
                    <a:pt x="15167" y="11027"/>
                    <a:pt x="15047" y="11079"/>
                  </a:cubicBez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cubicBezTo>
                    <a:pt x="15201" y="11079"/>
                    <a:pt x="15047" y="11165"/>
                    <a:pt x="15047" y="11216"/>
                  </a:cubicBezTo>
                  <a:cubicBezTo>
                    <a:pt x="15047" y="11268"/>
                    <a:pt x="15150" y="11113"/>
                    <a:pt x="15201" y="11130"/>
                  </a:cubicBezTo>
                  <a:cubicBezTo>
                    <a:pt x="15253" y="11148"/>
                    <a:pt x="14909" y="11337"/>
                    <a:pt x="14789" y="11508"/>
                  </a:cubicBezTo>
                  <a:lnTo>
                    <a:pt x="14789" y="11508"/>
                  </a:lnTo>
                  <a:cubicBezTo>
                    <a:pt x="14789" y="11508"/>
                    <a:pt x="14652" y="11629"/>
                    <a:pt x="14583" y="11508"/>
                  </a:cubicBezTo>
                  <a:cubicBezTo>
                    <a:pt x="14772" y="11680"/>
                    <a:pt x="14308" y="12041"/>
                    <a:pt x="14325" y="11989"/>
                  </a:cubicBezTo>
                  <a:cubicBezTo>
                    <a:pt x="14342" y="11938"/>
                    <a:pt x="14325" y="12144"/>
                    <a:pt x="14325" y="11989"/>
                  </a:cubicBezTo>
                  <a:cubicBezTo>
                    <a:pt x="14325" y="11835"/>
                    <a:pt x="14119" y="12264"/>
                    <a:pt x="14016" y="12367"/>
                  </a:cubicBezTo>
                  <a:cubicBezTo>
                    <a:pt x="14291" y="12178"/>
                    <a:pt x="14360" y="12144"/>
                    <a:pt x="14016" y="12367"/>
                  </a:cubicBezTo>
                  <a:cubicBezTo>
                    <a:pt x="14016" y="12367"/>
                    <a:pt x="14308" y="12127"/>
                    <a:pt x="14308" y="12230"/>
                  </a:cubicBezTo>
                  <a:cubicBezTo>
                    <a:pt x="14308" y="12333"/>
                    <a:pt x="14463" y="12109"/>
                    <a:pt x="14549" y="12075"/>
                  </a:cubicBezTo>
                  <a:cubicBezTo>
                    <a:pt x="14564" y="12131"/>
                    <a:pt x="14564" y="12191"/>
                    <a:pt x="14549" y="12247"/>
                  </a:cubicBezTo>
                  <a:cubicBezTo>
                    <a:pt x="14549" y="12161"/>
                    <a:pt x="14961" y="11800"/>
                    <a:pt x="14995" y="11921"/>
                  </a:cubicBezTo>
                  <a:cubicBezTo>
                    <a:pt x="15030" y="12041"/>
                    <a:pt x="14995" y="11921"/>
                    <a:pt x="14995" y="11921"/>
                  </a:cubicBezTo>
                  <a:cubicBezTo>
                    <a:pt x="14995" y="11921"/>
                    <a:pt x="14995" y="11817"/>
                    <a:pt x="15133" y="11817"/>
                  </a:cubicBezTo>
                  <a:lnTo>
                    <a:pt x="15133" y="11817"/>
                  </a:lnTo>
                  <a:cubicBezTo>
                    <a:pt x="15133" y="11732"/>
                    <a:pt x="15579" y="11457"/>
                    <a:pt x="15442" y="11577"/>
                  </a:cubicBezTo>
                  <a:lnTo>
                    <a:pt x="15442" y="11577"/>
                  </a:lnTo>
                  <a:cubicBezTo>
                    <a:pt x="15442" y="11577"/>
                    <a:pt x="15442" y="11697"/>
                    <a:pt x="15322" y="11697"/>
                  </a:cubicBezTo>
                  <a:cubicBezTo>
                    <a:pt x="15201" y="11697"/>
                    <a:pt x="15322" y="11697"/>
                    <a:pt x="15322" y="11783"/>
                  </a:cubicBezTo>
                  <a:lnTo>
                    <a:pt x="15322" y="11783"/>
                  </a:lnTo>
                  <a:cubicBezTo>
                    <a:pt x="15218" y="11783"/>
                    <a:pt x="15322" y="11955"/>
                    <a:pt x="15150" y="12006"/>
                  </a:cubicBezTo>
                  <a:cubicBezTo>
                    <a:pt x="14978" y="12058"/>
                    <a:pt x="15150" y="12127"/>
                    <a:pt x="15150" y="12006"/>
                  </a:cubicBezTo>
                  <a:cubicBezTo>
                    <a:pt x="15150" y="11886"/>
                    <a:pt x="14789" y="12161"/>
                    <a:pt x="15150" y="12144"/>
                  </a:cubicBezTo>
                  <a:cubicBezTo>
                    <a:pt x="15510" y="12127"/>
                    <a:pt x="14961" y="12298"/>
                    <a:pt x="15150" y="12247"/>
                  </a:cubicBezTo>
                  <a:cubicBezTo>
                    <a:pt x="15339" y="12195"/>
                    <a:pt x="14995" y="12419"/>
                    <a:pt x="14978" y="12247"/>
                  </a:cubicBezTo>
                  <a:cubicBezTo>
                    <a:pt x="14961" y="12075"/>
                    <a:pt x="14978" y="12333"/>
                    <a:pt x="14978" y="12350"/>
                  </a:cubicBezTo>
                  <a:cubicBezTo>
                    <a:pt x="14978" y="12367"/>
                    <a:pt x="15098" y="12350"/>
                    <a:pt x="15150" y="12350"/>
                  </a:cubicBezTo>
                  <a:cubicBezTo>
                    <a:pt x="15201" y="12350"/>
                    <a:pt x="14961" y="12350"/>
                    <a:pt x="14892" y="12505"/>
                  </a:cubicBezTo>
                  <a:cubicBezTo>
                    <a:pt x="15133" y="12505"/>
                    <a:pt x="15047" y="12505"/>
                    <a:pt x="14892" y="12608"/>
                  </a:cubicBezTo>
                  <a:cubicBezTo>
                    <a:pt x="14738" y="12711"/>
                    <a:pt x="14892" y="12608"/>
                    <a:pt x="14995" y="12608"/>
                  </a:cubicBezTo>
                  <a:cubicBezTo>
                    <a:pt x="15011" y="12682"/>
                    <a:pt x="14963" y="12755"/>
                    <a:pt x="14889" y="12770"/>
                  </a:cubicBezTo>
                  <a:cubicBezTo>
                    <a:pt x="14861" y="12776"/>
                    <a:pt x="14832" y="12773"/>
                    <a:pt x="14806" y="12762"/>
                  </a:cubicBezTo>
                  <a:cubicBezTo>
                    <a:pt x="14806" y="12762"/>
                    <a:pt x="14961" y="12848"/>
                    <a:pt x="14806" y="12917"/>
                  </a:cubicBezTo>
                  <a:cubicBezTo>
                    <a:pt x="14995" y="13020"/>
                    <a:pt x="14600" y="13157"/>
                    <a:pt x="14566" y="13089"/>
                  </a:cubicBezTo>
                  <a:cubicBezTo>
                    <a:pt x="14531" y="13020"/>
                    <a:pt x="14566" y="13363"/>
                    <a:pt x="14411" y="13312"/>
                  </a:cubicBezTo>
                  <a:cubicBezTo>
                    <a:pt x="14257" y="13260"/>
                    <a:pt x="14669" y="13312"/>
                    <a:pt x="14531" y="13415"/>
                  </a:cubicBezTo>
                  <a:cubicBezTo>
                    <a:pt x="14394" y="13518"/>
                    <a:pt x="14531" y="13415"/>
                    <a:pt x="14531" y="13501"/>
                  </a:cubicBezTo>
                  <a:cubicBezTo>
                    <a:pt x="14531" y="13587"/>
                    <a:pt x="14531" y="13501"/>
                    <a:pt x="14531" y="13621"/>
                  </a:cubicBezTo>
                  <a:lnTo>
                    <a:pt x="14634" y="13621"/>
                  </a:lnTo>
                  <a:cubicBezTo>
                    <a:pt x="14634" y="13707"/>
                    <a:pt x="14428" y="13879"/>
                    <a:pt x="14325" y="13844"/>
                  </a:cubicBezTo>
                  <a:cubicBezTo>
                    <a:pt x="14222" y="13810"/>
                    <a:pt x="14480" y="13844"/>
                    <a:pt x="14549" y="13844"/>
                  </a:cubicBezTo>
                  <a:cubicBezTo>
                    <a:pt x="14325" y="14050"/>
                    <a:pt x="14549" y="13844"/>
                    <a:pt x="14549" y="13844"/>
                  </a:cubicBezTo>
                  <a:cubicBezTo>
                    <a:pt x="14549" y="13844"/>
                    <a:pt x="14549" y="13844"/>
                    <a:pt x="14394" y="13999"/>
                  </a:cubicBezTo>
                  <a:cubicBezTo>
                    <a:pt x="14394" y="13999"/>
                    <a:pt x="14686" y="13810"/>
                    <a:pt x="14549" y="13999"/>
                  </a:cubicBezTo>
                  <a:lnTo>
                    <a:pt x="14549" y="13999"/>
                  </a:lnTo>
                  <a:cubicBezTo>
                    <a:pt x="14549" y="13999"/>
                    <a:pt x="14463" y="14102"/>
                    <a:pt x="14446" y="14153"/>
                  </a:cubicBezTo>
                  <a:cubicBezTo>
                    <a:pt x="14428" y="14205"/>
                    <a:pt x="14755" y="14153"/>
                    <a:pt x="14549" y="14153"/>
                  </a:cubicBezTo>
                  <a:cubicBezTo>
                    <a:pt x="14806" y="14342"/>
                    <a:pt x="14205" y="14239"/>
                    <a:pt x="14119" y="14360"/>
                  </a:cubicBezTo>
                  <a:cubicBezTo>
                    <a:pt x="14566" y="14360"/>
                    <a:pt x="13982" y="14360"/>
                    <a:pt x="13896" y="14497"/>
                  </a:cubicBezTo>
                  <a:cubicBezTo>
                    <a:pt x="13870" y="14437"/>
                    <a:pt x="13870" y="14368"/>
                    <a:pt x="13896" y="14308"/>
                  </a:cubicBezTo>
                  <a:cubicBezTo>
                    <a:pt x="13896" y="14445"/>
                    <a:pt x="13896" y="14531"/>
                    <a:pt x="13793" y="14634"/>
                  </a:cubicBezTo>
                  <a:cubicBezTo>
                    <a:pt x="13982" y="14634"/>
                    <a:pt x="14188" y="14342"/>
                    <a:pt x="14428" y="14411"/>
                  </a:cubicBezTo>
                  <a:cubicBezTo>
                    <a:pt x="14308" y="14257"/>
                    <a:pt x="14806" y="14411"/>
                    <a:pt x="14428" y="14617"/>
                  </a:cubicBezTo>
                  <a:cubicBezTo>
                    <a:pt x="14428" y="14617"/>
                    <a:pt x="14428" y="14617"/>
                    <a:pt x="14428" y="14617"/>
                  </a:cubicBezTo>
                  <a:cubicBezTo>
                    <a:pt x="14428" y="14617"/>
                    <a:pt x="14703" y="14463"/>
                    <a:pt x="14566" y="14617"/>
                  </a:cubicBezTo>
                  <a:cubicBezTo>
                    <a:pt x="14428" y="14772"/>
                    <a:pt x="14669" y="14617"/>
                    <a:pt x="14652" y="14617"/>
                  </a:cubicBezTo>
                  <a:cubicBezTo>
                    <a:pt x="14634" y="14617"/>
                    <a:pt x="14652" y="14789"/>
                    <a:pt x="14497" y="14772"/>
                  </a:cubicBezTo>
                  <a:cubicBezTo>
                    <a:pt x="14600" y="14772"/>
                    <a:pt x="14360" y="14995"/>
                    <a:pt x="14360" y="14875"/>
                  </a:cubicBezTo>
                  <a:cubicBezTo>
                    <a:pt x="14360" y="14755"/>
                    <a:pt x="14549" y="15047"/>
                    <a:pt x="14360" y="15012"/>
                  </a:cubicBezTo>
                  <a:cubicBezTo>
                    <a:pt x="14583" y="15115"/>
                    <a:pt x="13879" y="15407"/>
                    <a:pt x="13844" y="15287"/>
                  </a:cubicBezTo>
                  <a:cubicBezTo>
                    <a:pt x="13810" y="15167"/>
                    <a:pt x="13724" y="15287"/>
                    <a:pt x="13844" y="15287"/>
                  </a:cubicBezTo>
                  <a:cubicBezTo>
                    <a:pt x="13381" y="15682"/>
                    <a:pt x="13003" y="15734"/>
                    <a:pt x="12590" y="15407"/>
                  </a:cubicBezTo>
                  <a:cubicBezTo>
                    <a:pt x="12590" y="15407"/>
                    <a:pt x="12213" y="15407"/>
                    <a:pt x="12247" y="15253"/>
                  </a:cubicBezTo>
                  <a:cubicBezTo>
                    <a:pt x="11629" y="15631"/>
                    <a:pt x="11062" y="16026"/>
                    <a:pt x="10426" y="16369"/>
                  </a:cubicBezTo>
                  <a:cubicBezTo>
                    <a:pt x="10849" y="16193"/>
                    <a:pt x="11326" y="16193"/>
                    <a:pt x="11749" y="16369"/>
                  </a:cubicBezTo>
                  <a:cubicBezTo>
                    <a:pt x="11704" y="16429"/>
                    <a:pt x="11645" y="16477"/>
                    <a:pt x="11577" y="16507"/>
                  </a:cubicBezTo>
                  <a:cubicBezTo>
                    <a:pt x="11749" y="16507"/>
                    <a:pt x="11354" y="16885"/>
                    <a:pt x="11577" y="16936"/>
                  </a:cubicBezTo>
                  <a:cubicBezTo>
                    <a:pt x="11405" y="17022"/>
                    <a:pt x="11732" y="17262"/>
                    <a:pt x="11835" y="17125"/>
                  </a:cubicBezTo>
                  <a:cubicBezTo>
                    <a:pt x="11835" y="17125"/>
                    <a:pt x="11972" y="17262"/>
                    <a:pt x="11835" y="17245"/>
                  </a:cubicBezTo>
                  <a:cubicBezTo>
                    <a:pt x="12075" y="17245"/>
                    <a:pt x="11182" y="17520"/>
                    <a:pt x="11251" y="17365"/>
                  </a:cubicBezTo>
                  <a:cubicBezTo>
                    <a:pt x="11101" y="17505"/>
                    <a:pt x="10940" y="17631"/>
                    <a:pt x="10770" y="17743"/>
                  </a:cubicBezTo>
                  <a:lnTo>
                    <a:pt x="10770" y="17743"/>
                  </a:lnTo>
                  <a:cubicBezTo>
                    <a:pt x="10667" y="17743"/>
                    <a:pt x="10770" y="17589"/>
                    <a:pt x="10770" y="17640"/>
                  </a:cubicBezTo>
                  <a:cubicBezTo>
                    <a:pt x="10770" y="17417"/>
                    <a:pt x="11371" y="16988"/>
                    <a:pt x="11371" y="17280"/>
                  </a:cubicBezTo>
                  <a:cubicBezTo>
                    <a:pt x="11371" y="17177"/>
                    <a:pt x="11491" y="17280"/>
                    <a:pt x="11543" y="17194"/>
                  </a:cubicBezTo>
                  <a:cubicBezTo>
                    <a:pt x="11233" y="17073"/>
                    <a:pt x="11233" y="17194"/>
                    <a:pt x="11543" y="16970"/>
                  </a:cubicBezTo>
                  <a:lnTo>
                    <a:pt x="11543" y="16970"/>
                  </a:lnTo>
                  <a:lnTo>
                    <a:pt x="11543" y="16970"/>
                  </a:lnTo>
                  <a:cubicBezTo>
                    <a:pt x="11543" y="17073"/>
                    <a:pt x="11045" y="17245"/>
                    <a:pt x="11233" y="16970"/>
                  </a:cubicBezTo>
                  <a:cubicBezTo>
                    <a:pt x="11096" y="17125"/>
                    <a:pt x="11045" y="17073"/>
                    <a:pt x="10924" y="16970"/>
                  </a:cubicBezTo>
                  <a:cubicBezTo>
                    <a:pt x="10804" y="16867"/>
                    <a:pt x="10924" y="17091"/>
                    <a:pt x="10924" y="17159"/>
                  </a:cubicBezTo>
                  <a:cubicBezTo>
                    <a:pt x="10924" y="17228"/>
                    <a:pt x="10924" y="17331"/>
                    <a:pt x="10924" y="17159"/>
                  </a:cubicBezTo>
                  <a:cubicBezTo>
                    <a:pt x="10924" y="16988"/>
                    <a:pt x="10598" y="17314"/>
                    <a:pt x="10667" y="17159"/>
                  </a:cubicBezTo>
                  <a:cubicBezTo>
                    <a:pt x="10735" y="17005"/>
                    <a:pt x="10478" y="17245"/>
                    <a:pt x="10667" y="17159"/>
                  </a:cubicBezTo>
                  <a:cubicBezTo>
                    <a:pt x="10856" y="17073"/>
                    <a:pt x="10546" y="17297"/>
                    <a:pt x="10478" y="17331"/>
                  </a:cubicBezTo>
                  <a:lnTo>
                    <a:pt x="10478" y="17331"/>
                  </a:lnTo>
                  <a:cubicBezTo>
                    <a:pt x="10478" y="17331"/>
                    <a:pt x="10478" y="17417"/>
                    <a:pt x="10478" y="17331"/>
                  </a:cubicBezTo>
                  <a:cubicBezTo>
                    <a:pt x="10478" y="17245"/>
                    <a:pt x="10357" y="17469"/>
                    <a:pt x="10478" y="17331"/>
                  </a:cubicBezTo>
                  <a:cubicBezTo>
                    <a:pt x="10254" y="17331"/>
                    <a:pt x="9722" y="18345"/>
                    <a:pt x="10083" y="18001"/>
                  </a:cubicBezTo>
                  <a:cubicBezTo>
                    <a:pt x="10083" y="18138"/>
                    <a:pt x="9842" y="18327"/>
                    <a:pt x="9911" y="18087"/>
                  </a:cubicBezTo>
                  <a:cubicBezTo>
                    <a:pt x="9773" y="18259"/>
                    <a:pt x="9791" y="18241"/>
                    <a:pt x="9808" y="18087"/>
                  </a:cubicBezTo>
                  <a:cubicBezTo>
                    <a:pt x="9360" y="18252"/>
                    <a:pt x="8984" y="18568"/>
                    <a:pt x="8743" y="18980"/>
                  </a:cubicBezTo>
                  <a:lnTo>
                    <a:pt x="8743" y="18980"/>
                  </a:lnTo>
                  <a:lnTo>
                    <a:pt x="8743" y="18980"/>
                  </a:lnTo>
                  <a:cubicBezTo>
                    <a:pt x="8743" y="18980"/>
                    <a:pt x="8743" y="18825"/>
                    <a:pt x="8743" y="18740"/>
                  </a:cubicBezTo>
                  <a:cubicBezTo>
                    <a:pt x="8605" y="18980"/>
                    <a:pt x="8588" y="19289"/>
                    <a:pt x="8365" y="19495"/>
                  </a:cubicBezTo>
                  <a:lnTo>
                    <a:pt x="8365" y="19495"/>
                  </a:lnTo>
                  <a:lnTo>
                    <a:pt x="8262" y="19650"/>
                  </a:lnTo>
                  <a:cubicBezTo>
                    <a:pt x="8298" y="19536"/>
                    <a:pt x="8356" y="19431"/>
                    <a:pt x="8434" y="19341"/>
                  </a:cubicBezTo>
                  <a:cubicBezTo>
                    <a:pt x="8434" y="19341"/>
                    <a:pt x="8434" y="19255"/>
                    <a:pt x="8434" y="19221"/>
                  </a:cubicBezTo>
                  <a:lnTo>
                    <a:pt x="8434" y="19221"/>
                  </a:lnTo>
                  <a:cubicBezTo>
                    <a:pt x="8434" y="19014"/>
                    <a:pt x="8605" y="18860"/>
                    <a:pt x="8674" y="18671"/>
                  </a:cubicBezTo>
                  <a:cubicBezTo>
                    <a:pt x="8545" y="18838"/>
                    <a:pt x="8441" y="19023"/>
                    <a:pt x="8365" y="19221"/>
                  </a:cubicBezTo>
                  <a:cubicBezTo>
                    <a:pt x="8365" y="19117"/>
                    <a:pt x="8365" y="19032"/>
                    <a:pt x="8365" y="18929"/>
                  </a:cubicBezTo>
                  <a:cubicBezTo>
                    <a:pt x="8365" y="18825"/>
                    <a:pt x="8365" y="19581"/>
                    <a:pt x="8365" y="19324"/>
                  </a:cubicBezTo>
                  <a:cubicBezTo>
                    <a:pt x="8365" y="19324"/>
                    <a:pt x="8365" y="19598"/>
                    <a:pt x="8365" y="19530"/>
                  </a:cubicBezTo>
                  <a:cubicBezTo>
                    <a:pt x="8365" y="19461"/>
                    <a:pt x="8365" y="19616"/>
                    <a:pt x="8365" y="19650"/>
                  </a:cubicBezTo>
                  <a:cubicBezTo>
                    <a:pt x="8374" y="19605"/>
                    <a:pt x="8374" y="19558"/>
                    <a:pt x="8365" y="19513"/>
                  </a:cubicBezTo>
                  <a:cubicBezTo>
                    <a:pt x="8365" y="19650"/>
                    <a:pt x="8502" y="19719"/>
                    <a:pt x="8365" y="19856"/>
                  </a:cubicBezTo>
                  <a:lnTo>
                    <a:pt x="8365" y="19856"/>
                  </a:lnTo>
                  <a:cubicBezTo>
                    <a:pt x="8365" y="19993"/>
                    <a:pt x="8176" y="20148"/>
                    <a:pt x="8210" y="19976"/>
                  </a:cubicBezTo>
                  <a:cubicBezTo>
                    <a:pt x="8245" y="19805"/>
                    <a:pt x="8210" y="20079"/>
                    <a:pt x="8210" y="20097"/>
                  </a:cubicBezTo>
                  <a:cubicBezTo>
                    <a:pt x="8210" y="20114"/>
                    <a:pt x="8296" y="20097"/>
                    <a:pt x="8313" y="20234"/>
                  </a:cubicBezTo>
                  <a:cubicBezTo>
                    <a:pt x="8304" y="20200"/>
                    <a:pt x="8304" y="20165"/>
                    <a:pt x="8313" y="20131"/>
                  </a:cubicBezTo>
                  <a:cubicBezTo>
                    <a:pt x="8313" y="20234"/>
                    <a:pt x="8313" y="20285"/>
                    <a:pt x="8176" y="20354"/>
                  </a:cubicBezTo>
                  <a:cubicBezTo>
                    <a:pt x="8039" y="20423"/>
                    <a:pt x="8176" y="20354"/>
                    <a:pt x="8176" y="20251"/>
                  </a:cubicBezTo>
                  <a:cubicBezTo>
                    <a:pt x="8176" y="20148"/>
                    <a:pt x="8176" y="20251"/>
                    <a:pt x="8176" y="20251"/>
                  </a:cubicBezTo>
                  <a:cubicBezTo>
                    <a:pt x="8176" y="20251"/>
                    <a:pt x="8176" y="20474"/>
                    <a:pt x="8176" y="20389"/>
                  </a:cubicBezTo>
                  <a:lnTo>
                    <a:pt x="8176" y="20389"/>
                  </a:lnTo>
                  <a:lnTo>
                    <a:pt x="8176" y="20389"/>
                  </a:lnTo>
                  <a:lnTo>
                    <a:pt x="8176" y="20389"/>
                  </a:lnTo>
                  <a:cubicBezTo>
                    <a:pt x="6991" y="20389"/>
                    <a:pt x="6458" y="24992"/>
                    <a:pt x="6579" y="22982"/>
                  </a:cubicBezTo>
                  <a:cubicBezTo>
                    <a:pt x="6579" y="22982"/>
                    <a:pt x="6579" y="22982"/>
                    <a:pt x="6579" y="22982"/>
                  </a:cubicBezTo>
                  <a:cubicBezTo>
                    <a:pt x="6579" y="22982"/>
                    <a:pt x="6579" y="22982"/>
                    <a:pt x="6579" y="22982"/>
                  </a:cubicBezTo>
                  <a:lnTo>
                    <a:pt x="6579" y="22982"/>
                  </a:lnTo>
                  <a:cubicBezTo>
                    <a:pt x="6579" y="22879"/>
                    <a:pt x="6579" y="22707"/>
                    <a:pt x="6579" y="22604"/>
                  </a:cubicBezTo>
                  <a:cubicBezTo>
                    <a:pt x="6579" y="22501"/>
                    <a:pt x="6579" y="22604"/>
                    <a:pt x="6579" y="22707"/>
                  </a:cubicBezTo>
                  <a:cubicBezTo>
                    <a:pt x="6579" y="22810"/>
                    <a:pt x="6853" y="21780"/>
                    <a:pt x="6579" y="21745"/>
                  </a:cubicBezTo>
                  <a:cubicBezTo>
                    <a:pt x="6304" y="21711"/>
                    <a:pt x="6476" y="21849"/>
                    <a:pt x="6579" y="21745"/>
                  </a:cubicBezTo>
                  <a:lnTo>
                    <a:pt x="6579" y="21745"/>
                  </a:lnTo>
                  <a:lnTo>
                    <a:pt x="6579" y="21745"/>
                  </a:lnTo>
                  <a:cubicBezTo>
                    <a:pt x="6579" y="21745"/>
                    <a:pt x="6579" y="21574"/>
                    <a:pt x="6579" y="21642"/>
                  </a:cubicBezTo>
                  <a:cubicBezTo>
                    <a:pt x="6587" y="21603"/>
                    <a:pt x="6587" y="21562"/>
                    <a:pt x="6579" y="21522"/>
                  </a:cubicBezTo>
                  <a:lnTo>
                    <a:pt x="6579" y="21522"/>
                  </a:lnTo>
                  <a:cubicBezTo>
                    <a:pt x="6579" y="21522"/>
                    <a:pt x="6579" y="21436"/>
                    <a:pt x="6579" y="21385"/>
                  </a:cubicBezTo>
                  <a:lnTo>
                    <a:pt x="6579" y="21385"/>
                  </a:lnTo>
                  <a:cubicBezTo>
                    <a:pt x="6579" y="21385"/>
                    <a:pt x="6579" y="21385"/>
                    <a:pt x="6579" y="21385"/>
                  </a:cubicBezTo>
                  <a:cubicBezTo>
                    <a:pt x="6579" y="21385"/>
                    <a:pt x="6579" y="21385"/>
                    <a:pt x="6579" y="21385"/>
                  </a:cubicBezTo>
                  <a:cubicBezTo>
                    <a:pt x="6579" y="21385"/>
                    <a:pt x="6579" y="21282"/>
                    <a:pt x="6579" y="21230"/>
                  </a:cubicBezTo>
                  <a:lnTo>
                    <a:pt x="6579" y="21333"/>
                  </a:lnTo>
                  <a:cubicBezTo>
                    <a:pt x="6579" y="21230"/>
                    <a:pt x="6390" y="21333"/>
                    <a:pt x="6373" y="21453"/>
                  </a:cubicBezTo>
                  <a:lnTo>
                    <a:pt x="6373" y="21453"/>
                  </a:lnTo>
                  <a:cubicBezTo>
                    <a:pt x="6373" y="21642"/>
                    <a:pt x="6373" y="21763"/>
                    <a:pt x="6373" y="21849"/>
                  </a:cubicBezTo>
                  <a:cubicBezTo>
                    <a:pt x="6373" y="21934"/>
                    <a:pt x="6373" y="21471"/>
                    <a:pt x="6373" y="21763"/>
                  </a:cubicBezTo>
                  <a:lnTo>
                    <a:pt x="6373" y="21660"/>
                  </a:lnTo>
                  <a:cubicBezTo>
                    <a:pt x="6373" y="21539"/>
                    <a:pt x="6373" y="21471"/>
                    <a:pt x="6373" y="21350"/>
                  </a:cubicBezTo>
                  <a:cubicBezTo>
                    <a:pt x="6373" y="21230"/>
                    <a:pt x="6373" y="21350"/>
                    <a:pt x="6373" y="21350"/>
                  </a:cubicBezTo>
                  <a:cubicBezTo>
                    <a:pt x="6373" y="21591"/>
                    <a:pt x="6373" y="21076"/>
                    <a:pt x="6184" y="21350"/>
                  </a:cubicBezTo>
                  <a:cubicBezTo>
                    <a:pt x="6184" y="21350"/>
                    <a:pt x="6184" y="21196"/>
                    <a:pt x="6184" y="21127"/>
                  </a:cubicBezTo>
                  <a:cubicBezTo>
                    <a:pt x="6184" y="21058"/>
                    <a:pt x="6184" y="21247"/>
                    <a:pt x="6184" y="21127"/>
                  </a:cubicBezTo>
                  <a:cubicBezTo>
                    <a:pt x="6193" y="21213"/>
                    <a:pt x="6193" y="21299"/>
                    <a:pt x="6184" y="21385"/>
                  </a:cubicBezTo>
                  <a:lnTo>
                    <a:pt x="6184" y="21385"/>
                  </a:lnTo>
                  <a:lnTo>
                    <a:pt x="6184" y="21505"/>
                  </a:lnTo>
                  <a:lnTo>
                    <a:pt x="6184" y="21505"/>
                  </a:lnTo>
                  <a:cubicBezTo>
                    <a:pt x="6184" y="21591"/>
                    <a:pt x="6184" y="21505"/>
                    <a:pt x="6184" y="21505"/>
                  </a:cubicBezTo>
                  <a:lnTo>
                    <a:pt x="6184" y="21505"/>
                  </a:lnTo>
                  <a:cubicBezTo>
                    <a:pt x="6184" y="21505"/>
                    <a:pt x="6184" y="21505"/>
                    <a:pt x="6184" y="21505"/>
                  </a:cubicBezTo>
                  <a:lnTo>
                    <a:pt x="6184" y="21505"/>
                  </a:lnTo>
                  <a:cubicBezTo>
                    <a:pt x="6184" y="21505"/>
                    <a:pt x="6184" y="21608"/>
                    <a:pt x="6184" y="21608"/>
                  </a:cubicBezTo>
                  <a:lnTo>
                    <a:pt x="6184" y="21608"/>
                  </a:lnTo>
                  <a:cubicBezTo>
                    <a:pt x="6085" y="21918"/>
                    <a:pt x="6005" y="22233"/>
                    <a:pt x="5943" y="22553"/>
                  </a:cubicBezTo>
                  <a:cubicBezTo>
                    <a:pt x="5943" y="22553"/>
                    <a:pt x="5943" y="22433"/>
                    <a:pt x="5943" y="22398"/>
                  </a:cubicBezTo>
                  <a:cubicBezTo>
                    <a:pt x="5943" y="22364"/>
                    <a:pt x="5840" y="22862"/>
                    <a:pt x="5943" y="22621"/>
                  </a:cubicBezTo>
                  <a:cubicBezTo>
                    <a:pt x="5838" y="23115"/>
                    <a:pt x="5758" y="23614"/>
                    <a:pt x="5703" y="24116"/>
                  </a:cubicBezTo>
                  <a:cubicBezTo>
                    <a:pt x="5668" y="24579"/>
                    <a:pt x="5668" y="25044"/>
                    <a:pt x="5703" y="25507"/>
                  </a:cubicBezTo>
                  <a:cubicBezTo>
                    <a:pt x="5703" y="25507"/>
                    <a:pt x="5703" y="25507"/>
                    <a:pt x="5703" y="25507"/>
                  </a:cubicBezTo>
                  <a:cubicBezTo>
                    <a:pt x="5709" y="25479"/>
                    <a:pt x="5709" y="25449"/>
                    <a:pt x="5703" y="25421"/>
                  </a:cubicBezTo>
                  <a:lnTo>
                    <a:pt x="5703" y="25421"/>
                  </a:lnTo>
                  <a:cubicBezTo>
                    <a:pt x="5703" y="25421"/>
                    <a:pt x="5703" y="25421"/>
                    <a:pt x="5703" y="25421"/>
                  </a:cubicBezTo>
                  <a:lnTo>
                    <a:pt x="5703" y="25421"/>
                  </a:lnTo>
                  <a:cubicBezTo>
                    <a:pt x="5703" y="25421"/>
                    <a:pt x="5703" y="25559"/>
                    <a:pt x="5703" y="25627"/>
                  </a:cubicBezTo>
                  <a:lnTo>
                    <a:pt x="5703" y="25627"/>
                  </a:lnTo>
                  <a:lnTo>
                    <a:pt x="5703" y="25627"/>
                  </a:lnTo>
                  <a:cubicBezTo>
                    <a:pt x="5711" y="25553"/>
                    <a:pt x="5711" y="25478"/>
                    <a:pt x="5703" y="25404"/>
                  </a:cubicBezTo>
                  <a:lnTo>
                    <a:pt x="5703" y="25404"/>
                  </a:lnTo>
                  <a:cubicBezTo>
                    <a:pt x="5857" y="25249"/>
                    <a:pt x="5703" y="24511"/>
                    <a:pt x="5995" y="24665"/>
                  </a:cubicBezTo>
                  <a:cubicBezTo>
                    <a:pt x="5995" y="24665"/>
                    <a:pt x="5995" y="24562"/>
                    <a:pt x="5995" y="24665"/>
                  </a:cubicBezTo>
                  <a:cubicBezTo>
                    <a:pt x="5995" y="24769"/>
                    <a:pt x="5995" y="24665"/>
                    <a:pt x="5995" y="24665"/>
                  </a:cubicBezTo>
                  <a:cubicBezTo>
                    <a:pt x="5995" y="24665"/>
                    <a:pt x="5995" y="24820"/>
                    <a:pt x="5995" y="24665"/>
                  </a:cubicBezTo>
                  <a:cubicBezTo>
                    <a:pt x="6098" y="24957"/>
                    <a:pt x="5806" y="25284"/>
                    <a:pt x="5857" y="25593"/>
                  </a:cubicBezTo>
                  <a:cubicBezTo>
                    <a:pt x="5857" y="25593"/>
                    <a:pt x="5857" y="25868"/>
                    <a:pt x="5857" y="25919"/>
                  </a:cubicBezTo>
                  <a:cubicBezTo>
                    <a:pt x="5814" y="26294"/>
                    <a:pt x="5476" y="26563"/>
                    <a:pt x="5101" y="26521"/>
                  </a:cubicBezTo>
                  <a:cubicBezTo>
                    <a:pt x="4727" y="26478"/>
                    <a:pt x="4457" y="26140"/>
                    <a:pt x="4500" y="25765"/>
                  </a:cubicBezTo>
                  <a:cubicBezTo>
                    <a:pt x="4500" y="25954"/>
                    <a:pt x="4500" y="26349"/>
                    <a:pt x="4397" y="26658"/>
                  </a:cubicBezTo>
                  <a:lnTo>
                    <a:pt x="4397" y="26658"/>
                  </a:lnTo>
                  <a:cubicBezTo>
                    <a:pt x="4380" y="26726"/>
                    <a:pt x="4380" y="26796"/>
                    <a:pt x="4397" y="26864"/>
                  </a:cubicBezTo>
                  <a:lnTo>
                    <a:pt x="4397" y="26864"/>
                  </a:lnTo>
                  <a:cubicBezTo>
                    <a:pt x="4397" y="26864"/>
                    <a:pt x="4397" y="26864"/>
                    <a:pt x="4397" y="26950"/>
                  </a:cubicBezTo>
                  <a:cubicBezTo>
                    <a:pt x="4397" y="27036"/>
                    <a:pt x="4603" y="27139"/>
                    <a:pt x="4586" y="26950"/>
                  </a:cubicBezTo>
                  <a:cubicBezTo>
                    <a:pt x="4586" y="27053"/>
                    <a:pt x="4586" y="27105"/>
                    <a:pt x="4724" y="27190"/>
                  </a:cubicBezTo>
                  <a:lnTo>
                    <a:pt x="4724" y="27190"/>
                  </a:lnTo>
                  <a:cubicBezTo>
                    <a:pt x="4738" y="27241"/>
                    <a:pt x="4738" y="27295"/>
                    <a:pt x="4724" y="27345"/>
                  </a:cubicBezTo>
                  <a:cubicBezTo>
                    <a:pt x="4724" y="27208"/>
                    <a:pt x="4724" y="27345"/>
                    <a:pt x="4724" y="27448"/>
                  </a:cubicBezTo>
                  <a:lnTo>
                    <a:pt x="4724" y="27448"/>
                  </a:lnTo>
                  <a:cubicBezTo>
                    <a:pt x="4767" y="27681"/>
                    <a:pt x="4767" y="27920"/>
                    <a:pt x="4724" y="28152"/>
                  </a:cubicBezTo>
                  <a:lnTo>
                    <a:pt x="4724" y="28152"/>
                  </a:lnTo>
                  <a:cubicBezTo>
                    <a:pt x="4732" y="28307"/>
                    <a:pt x="4732" y="28462"/>
                    <a:pt x="4724" y="28616"/>
                  </a:cubicBezTo>
                  <a:cubicBezTo>
                    <a:pt x="4724" y="28616"/>
                    <a:pt x="4724" y="28513"/>
                    <a:pt x="4724" y="28444"/>
                  </a:cubicBezTo>
                  <a:cubicBezTo>
                    <a:pt x="4715" y="28564"/>
                    <a:pt x="4715" y="28685"/>
                    <a:pt x="4724" y="28805"/>
                  </a:cubicBezTo>
                  <a:cubicBezTo>
                    <a:pt x="4734" y="28777"/>
                    <a:pt x="4734" y="28747"/>
                    <a:pt x="4724" y="28719"/>
                  </a:cubicBezTo>
                  <a:cubicBezTo>
                    <a:pt x="4697" y="28861"/>
                    <a:pt x="4697" y="29007"/>
                    <a:pt x="4724" y="29149"/>
                  </a:cubicBezTo>
                  <a:cubicBezTo>
                    <a:pt x="4724" y="29063"/>
                    <a:pt x="4947" y="30042"/>
                    <a:pt x="4930" y="29733"/>
                  </a:cubicBezTo>
                  <a:cubicBezTo>
                    <a:pt x="5136" y="30265"/>
                    <a:pt x="5170" y="29131"/>
                    <a:pt x="5634" y="30471"/>
                  </a:cubicBezTo>
                  <a:cubicBezTo>
                    <a:pt x="5634" y="30368"/>
                    <a:pt x="5634" y="29337"/>
                    <a:pt x="5960" y="29595"/>
                  </a:cubicBezTo>
                  <a:cubicBezTo>
                    <a:pt x="5960" y="29818"/>
                    <a:pt x="5960" y="29595"/>
                    <a:pt x="5960" y="29475"/>
                  </a:cubicBezTo>
                  <a:cubicBezTo>
                    <a:pt x="5960" y="29355"/>
                    <a:pt x="6252" y="29303"/>
                    <a:pt x="6355" y="29234"/>
                  </a:cubicBezTo>
                  <a:cubicBezTo>
                    <a:pt x="6476" y="29458"/>
                    <a:pt x="6355" y="29836"/>
                    <a:pt x="6355" y="30145"/>
                  </a:cubicBezTo>
                  <a:cubicBezTo>
                    <a:pt x="6630" y="30901"/>
                    <a:pt x="6355" y="29681"/>
                    <a:pt x="6665" y="29664"/>
                  </a:cubicBezTo>
                  <a:cubicBezTo>
                    <a:pt x="6974" y="29647"/>
                    <a:pt x="6527" y="29544"/>
                    <a:pt x="6665" y="29441"/>
                  </a:cubicBezTo>
                  <a:cubicBezTo>
                    <a:pt x="6802" y="29337"/>
                    <a:pt x="6665" y="29664"/>
                    <a:pt x="6785" y="29733"/>
                  </a:cubicBezTo>
                  <a:cubicBezTo>
                    <a:pt x="6933" y="29741"/>
                    <a:pt x="7051" y="29859"/>
                    <a:pt x="7060" y="30007"/>
                  </a:cubicBezTo>
                  <a:cubicBezTo>
                    <a:pt x="6939" y="30213"/>
                    <a:pt x="7352" y="30145"/>
                    <a:pt x="7472" y="30196"/>
                  </a:cubicBezTo>
                  <a:cubicBezTo>
                    <a:pt x="7558" y="30660"/>
                    <a:pt x="8090" y="30042"/>
                    <a:pt x="8262" y="30402"/>
                  </a:cubicBezTo>
                  <a:cubicBezTo>
                    <a:pt x="8004" y="30402"/>
                    <a:pt x="8073" y="30402"/>
                    <a:pt x="8262" y="30643"/>
                  </a:cubicBezTo>
                  <a:cubicBezTo>
                    <a:pt x="8262" y="30471"/>
                    <a:pt x="8863" y="31107"/>
                    <a:pt x="8434" y="31107"/>
                  </a:cubicBezTo>
                  <a:cubicBezTo>
                    <a:pt x="8885" y="31152"/>
                    <a:pt x="9220" y="31547"/>
                    <a:pt x="9189" y="32000"/>
                  </a:cubicBezTo>
                  <a:cubicBezTo>
                    <a:pt x="9189" y="31673"/>
                    <a:pt x="9550" y="32154"/>
                    <a:pt x="9550" y="32309"/>
                  </a:cubicBezTo>
                  <a:cubicBezTo>
                    <a:pt x="9464" y="32103"/>
                    <a:pt x="10461" y="32309"/>
                    <a:pt x="10220" y="32532"/>
                  </a:cubicBezTo>
                  <a:cubicBezTo>
                    <a:pt x="10443" y="32361"/>
                    <a:pt x="10976" y="33030"/>
                    <a:pt x="10856" y="33151"/>
                  </a:cubicBezTo>
                  <a:cubicBezTo>
                    <a:pt x="11010" y="32893"/>
                    <a:pt x="11130" y="33735"/>
                    <a:pt x="11302" y="33924"/>
                  </a:cubicBezTo>
                  <a:cubicBezTo>
                    <a:pt x="11474" y="34113"/>
                    <a:pt x="10976" y="34559"/>
                    <a:pt x="11045" y="34868"/>
                  </a:cubicBezTo>
                  <a:cubicBezTo>
                    <a:pt x="11045" y="34611"/>
                    <a:pt x="11233" y="34628"/>
                    <a:pt x="11148" y="34868"/>
                  </a:cubicBezTo>
                  <a:cubicBezTo>
                    <a:pt x="11148" y="34868"/>
                    <a:pt x="11268" y="34559"/>
                    <a:pt x="11337" y="34731"/>
                  </a:cubicBezTo>
                  <a:cubicBezTo>
                    <a:pt x="11405" y="34903"/>
                    <a:pt x="11337" y="34731"/>
                    <a:pt x="11337" y="34731"/>
                  </a:cubicBezTo>
                  <a:cubicBezTo>
                    <a:pt x="11337" y="34216"/>
                    <a:pt x="12401" y="35143"/>
                    <a:pt x="11337" y="35092"/>
                  </a:cubicBezTo>
                  <a:cubicBezTo>
                    <a:pt x="11749" y="35092"/>
                    <a:pt x="11543" y="35315"/>
                    <a:pt x="11680" y="35624"/>
                  </a:cubicBezTo>
                  <a:cubicBezTo>
                    <a:pt x="11543" y="35074"/>
                    <a:pt x="12075" y="34576"/>
                    <a:pt x="12419" y="35074"/>
                  </a:cubicBezTo>
                  <a:cubicBezTo>
                    <a:pt x="12419" y="35074"/>
                    <a:pt x="12608" y="35177"/>
                    <a:pt x="12642" y="35263"/>
                  </a:cubicBezTo>
                  <a:cubicBezTo>
                    <a:pt x="12676" y="35349"/>
                    <a:pt x="12986" y="35366"/>
                    <a:pt x="12882" y="35469"/>
                  </a:cubicBezTo>
                  <a:cubicBezTo>
                    <a:pt x="12779" y="35573"/>
                    <a:pt x="12882" y="35727"/>
                    <a:pt x="12968" y="35830"/>
                  </a:cubicBezTo>
                  <a:cubicBezTo>
                    <a:pt x="13054" y="35933"/>
                    <a:pt x="12968" y="35487"/>
                    <a:pt x="12968" y="35710"/>
                  </a:cubicBezTo>
                  <a:cubicBezTo>
                    <a:pt x="12968" y="35555"/>
                    <a:pt x="13106" y="35607"/>
                    <a:pt x="12968" y="35504"/>
                  </a:cubicBezTo>
                  <a:cubicBezTo>
                    <a:pt x="12831" y="35401"/>
                    <a:pt x="13363" y="35761"/>
                    <a:pt x="13363" y="35641"/>
                  </a:cubicBezTo>
                  <a:cubicBezTo>
                    <a:pt x="13363" y="35521"/>
                    <a:pt x="13363" y="35641"/>
                    <a:pt x="13466" y="35744"/>
                  </a:cubicBezTo>
                  <a:cubicBezTo>
                    <a:pt x="13569" y="35847"/>
                    <a:pt x="13466" y="35744"/>
                    <a:pt x="13466" y="35744"/>
                  </a:cubicBezTo>
                  <a:lnTo>
                    <a:pt x="13466" y="35744"/>
                  </a:lnTo>
                  <a:lnTo>
                    <a:pt x="13466" y="35744"/>
                  </a:lnTo>
                  <a:cubicBezTo>
                    <a:pt x="14841" y="36157"/>
                    <a:pt x="16438" y="37462"/>
                    <a:pt x="14926" y="38922"/>
                  </a:cubicBezTo>
                  <a:cubicBezTo>
                    <a:pt x="14926" y="38836"/>
                    <a:pt x="14926" y="38682"/>
                    <a:pt x="14926" y="38819"/>
                  </a:cubicBezTo>
                  <a:cubicBezTo>
                    <a:pt x="14926" y="38956"/>
                    <a:pt x="14823" y="38819"/>
                    <a:pt x="14806" y="38819"/>
                  </a:cubicBezTo>
                  <a:lnTo>
                    <a:pt x="14806" y="38819"/>
                  </a:lnTo>
                  <a:cubicBezTo>
                    <a:pt x="15133" y="39386"/>
                    <a:pt x="15717" y="41619"/>
                    <a:pt x="14806" y="41447"/>
                  </a:cubicBezTo>
                  <a:cubicBezTo>
                    <a:pt x="14806" y="41447"/>
                    <a:pt x="14514" y="41447"/>
                    <a:pt x="14806" y="41447"/>
                  </a:cubicBezTo>
                  <a:cubicBezTo>
                    <a:pt x="15098" y="41447"/>
                    <a:pt x="14652" y="41447"/>
                    <a:pt x="14600" y="41447"/>
                  </a:cubicBezTo>
                  <a:cubicBezTo>
                    <a:pt x="14549" y="41447"/>
                    <a:pt x="14600" y="41533"/>
                    <a:pt x="14600" y="41687"/>
                  </a:cubicBezTo>
                  <a:cubicBezTo>
                    <a:pt x="14360" y="41498"/>
                    <a:pt x="14257" y="41997"/>
                    <a:pt x="14154" y="41962"/>
                  </a:cubicBezTo>
                  <a:cubicBezTo>
                    <a:pt x="14050" y="41928"/>
                    <a:pt x="14154" y="41962"/>
                    <a:pt x="14154" y="41962"/>
                  </a:cubicBezTo>
                  <a:cubicBezTo>
                    <a:pt x="14154" y="41962"/>
                    <a:pt x="14291" y="42048"/>
                    <a:pt x="14154" y="42048"/>
                  </a:cubicBezTo>
                  <a:cubicBezTo>
                    <a:pt x="14016" y="42048"/>
                    <a:pt x="14154" y="42048"/>
                    <a:pt x="14154" y="42048"/>
                  </a:cubicBezTo>
                  <a:cubicBezTo>
                    <a:pt x="14154" y="42048"/>
                    <a:pt x="14446" y="42426"/>
                    <a:pt x="14411" y="42529"/>
                  </a:cubicBezTo>
                  <a:cubicBezTo>
                    <a:pt x="14377" y="42632"/>
                    <a:pt x="14411" y="43697"/>
                    <a:pt x="14411" y="43336"/>
                  </a:cubicBezTo>
                  <a:cubicBezTo>
                    <a:pt x="14411" y="43336"/>
                    <a:pt x="14411" y="43336"/>
                    <a:pt x="14411" y="43250"/>
                  </a:cubicBezTo>
                  <a:cubicBezTo>
                    <a:pt x="14411" y="43165"/>
                    <a:pt x="14411" y="43113"/>
                    <a:pt x="14411" y="43113"/>
                  </a:cubicBezTo>
                  <a:cubicBezTo>
                    <a:pt x="14338" y="43042"/>
                    <a:pt x="14257" y="42979"/>
                    <a:pt x="14171" y="42924"/>
                  </a:cubicBezTo>
                  <a:cubicBezTo>
                    <a:pt x="14231" y="42979"/>
                    <a:pt x="14283" y="43043"/>
                    <a:pt x="14325" y="43113"/>
                  </a:cubicBezTo>
                  <a:cubicBezTo>
                    <a:pt x="14325" y="43113"/>
                    <a:pt x="14446" y="43354"/>
                    <a:pt x="14325" y="43250"/>
                  </a:cubicBezTo>
                  <a:cubicBezTo>
                    <a:pt x="14858" y="44041"/>
                    <a:pt x="14325" y="44264"/>
                    <a:pt x="13844" y="43817"/>
                  </a:cubicBezTo>
                  <a:lnTo>
                    <a:pt x="14549" y="44418"/>
                  </a:lnTo>
                  <a:lnTo>
                    <a:pt x="14549" y="44418"/>
                  </a:lnTo>
                  <a:cubicBezTo>
                    <a:pt x="14637" y="44494"/>
                    <a:pt x="14707" y="44587"/>
                    <a:pt x="14755" y="44693"/>
                  </a:cubicBezTo>
                  <a:lnTo>
                    <a:pt x="14755" y="44693"/>
                  </a:lnTo>
                  <a:cubicBezTo>
                    <a:pt x="14755" y="44693"/>
                    <a:pt x="14944" y="44951"/>
                    <a:pt x="14755" y="44882"/>
                  </a:cubicBezTo>
                  <a:cubicBezTo>
                    <a:pt x="14566" y="44814"/>
                    <a:pt x="14394" y="44882"/>
                    <a:pt x="14291" y="44882"/>
                  </a:cubicBezTo>
                  <a:cubicBezTo>
                    <a:pt x="14188" y="44882"/>
                    <a:pt x="14480" y="45037"/>
                    <a:pt x="14566" y="45123"/>
                  </a:cubicBezTo>
                  <a:lnTo>
                    <a:pt x="14566" y="45123"/>
                  </a:lnTo>
                  <a:cubicBezTo>
                    <a:pt x="14909" y="45466"/>
                    <a:pt x="14995" y="45569"/>
                    <a:pt x="14463" y="45294"/>
                  </a:cubicBezTo>
                  <a:cubicBezTo>
                    <a:pt x="14621" y="45462"/>
                    <a:pt x="14807" y="45602"/>
                    <a:pt x="15012" y="45707"/>
                  </a:cubicBezTo>
                  <a:cubicBezTo>
                    <a:pt x="15012" y="45707"/>
                    <a:pt x="15012" y="45707"/>
                    <a:pt x="15012" y="45707"/>
                  </a:cubicBezTo>
                  <a:lnTo>
                    <a:pt x="15012" y="45707"/>
                  </a:lnTo>
                  <a:cubicBezTo>
                    <a:pt x="15304" y="45930"/>
                    <a:pt x="15133" y="45947"/>
                    <a:pt x="15717" y="46359"/>
                  </a:cubicBezTo>
                  <a:lnTo>
                    <a:pt x="15717" y="46359"/>
                  </a:lnTo>
                  <a:lnTo>
                    <a:pt x="15717" y="46359"/>
                  </a:lnTo>
                  <a:lnTo>
                    <a:pt x="15717" y="46359"/>
                  </a:lnTo>
                  <a:cubicBezTo>
                    <a:pt x="15991" y="46669"/>
                    <a:pt x="16438" y="46737"/>
                    <a:pt x="16730" y="47012"/>
                  </a:cubicBezTo>
                  <a:lnTo>
                    <a:pt x="16730" y="47012"/>
                  </a:lnTo>
                  <a:lnTo>
                    <a:pt x="16730" y="47012"/>
                  </a:lnTo>
                  <a:lnTo>
                    <a:pt x="16730" y="47012"/>
                  </a:lnTo>
                  <a:lnTo>
                    <a:pt x="16885" y="47132"/>
                  </a:lnTo>
                  <a:lnTo>
                    <a:pt x="16885" y="47132"/>
                  </a:lnTo>
                  <a:lnTo>
                    <a:pt x="17091" y="47270"/>
                  </a:lnTo>
                  <a:cubicBezTo>
                    <a:pt x="17091" y="47270"/>
                    <a:pt x="17091" y="47270"/>
                    <a:pt x="16988" y="47270"/>
                  </a:cubicBezTo>
                  <a:cubicBezTo>
                    <a:pt x="17278" y="47454"/>
                    <a:pt x="17582" y="47614"/>
                    <a:pt x="17898" y="47751"/>
                  </a:cubicBezTo>
                  <a:lnTo>
                    <a:pt x="17898" y="47751"/>
                  </a:lnTo>
                  <a:cubicBezTo>
                    <a:pt x="17795" y="47751"/>
                    <a:pt x="17898" y="47751"/>
                    <a:pt x="17898" y="47751"/>
                  </a:cubicBezTo>
                  <a:lnTo>
                    <a:pt x="17898" y="47751"/>
                  </a:lnTo>
                  <a:cubicBezTo>
                    <a:pt x="18059" y="47847"/>
                    <a:pt x="18225" y="47933"/>
                    <a:pt x="18396" y="48008"/>
                  </a:cubicBezTo>
                  <a:lnTo>
                    <a:pt x="18173" y="48008"/>
                  </a:lnTo>
                  <a:close/>
                  <a:moveTo>
                    <a:pt x="20560" y="10117"/>
                  </a:moveTo>
                  <a:cubicBezTo>
                    <a:pt x="20286" y="10409"/>
                    <a:pt x="20560" y="10014"/>
                    <a:pt x="20560" y="9980"/>
                  </a:cubicBezTo>
                  <a:cubicBezTo>
                    <a:pt x="20560" y="9945"/>
                    <a:pt x="20423" y="10134"/>
                    <a:pt x="20286" y="10323"/>
                  </a:cubicBezTo>
                  <a:cubicBezTo>
                    <a:pt x="19822" y="10083"/>
                    <a:pt x="19581" y="10976"/>
                    <a:pt x="19289" y="10907"/>
                  </a:cubicBezTo>
                  <a:cubicBezTo>
                    <a:pt x="19530" y="11165"/>
                    <a:pt x="19100" y="10907"/>
                    <a:pt x="19152" y="11165"/>
                  </a:cubicBezTo>
                  <a:cubicBezTo>
                    <a:pt x="19014" y="10959"/>
                    <a:pt x="19152" y="11165"/>
                    <a:pt x="19152" y="11165"/>
                  </a:cubicBezTo>
                  <a:cubicBezTo>
                    <a:pt x="19152" y="10907"/>
                    <a:pt x="19152" y="11457"/>
                    <a:pt x="18997" y="11165"/>
                  </a:cubicBezTo>
                  <a:cubicBezTo>
                    <a:pt x="18688" y="11165"/>
                    <a:pt x="18997" y="11577"/>
                    <a:pt x="18585" y="11577"/>
                  </a:cubicBezTo>
                  <a:cubicBezTo>
                    <a:pt x="18585" y="11577"/>
                    <a:pt x="18327" y="12024"/>
                    <a:pt x="18259" y="11903"/>
                  </a:cubicBezTo>
                  <a:cubicBezTo>
                    <a:pt x="18190" y="11783"/>
                    <a:pt x="17846" y="12453"/>
                    <a:pt x="18001" y="12109"/>
                  </a:cubicBezTo>
                  <a:cubicBezTo>
                    <a:pt x="17537" y="12401"/>
                    <a:pt x="18104" y="11938"/>
                    <a:pt x="17743" y="12006"/>
                  </a:cubicBezTo>
                  <a:cubicBezTo>
                    <a:pt x="18173" y="11680"/>
                    <a:pt x="18070" y="11749"/>
                    <a:pt x="17503" y="11783"/>
                  </a:cubicBezTo>
                  <a:cubicBezTo>
                    <a:pt x="17588" y="11313"/>
                    <a:pt x="17763" y="10864"/>
                    <a:pt x="18018" y="10461"/>
                  </a:cubicBezTo>
                  <a:cubicBezTo>
                    <a:pt x="18018" y="10220"/>
                    <a:pt x="18224" y="10461"/>
                    <a:pt x="18448" y="10134"/>
                  </a:cubicBezTo>
                  <a:cubicBezTo>
                    <a:pt x="17984" y="10306"/>
                    <a:pt x="17984" y="10134"/>
                    <a:pt x="18448" y="9739"/>
                  </a:cubicBezTo>
                  <a:cubicBezTo>
                    <a:pt x="18345" y="9739"/>
                    <a:pt x="18207" y="9739"/>
                    <a:pt x="18345" y="9739"/>
                  </a:cubicBezTo>
                  <a:cubicBezTo>
                    <a:pt x="18482" y="9739"/>
                    <a:pt x="18345" y="9636"/>
                    <a:pt x="18963" y="9344"/>
                  </a:cubicBezTo>
                  <a:cubicBezTo>
                    <a:pt x="17709" y="9808"/>
                    <a:pt x="19392" y="8966"/>
                    <a:pt x="18774" y="9104"/>
                  </a:cubicBezTo>
                  <a:cubicBezTo>
                    <a:pt x="19272" y="8657"/>
                    <a:pt x="19152" y="9293"/>
                    <a:pt x="19324" y="9104"/>
                  </a:cubicBezTo>
                  <a:cubicBezTo>
                    <a:pt x="18997" y="9104"/>
                    <a:pt x="19667" y="8863"/>
                    <a:pt x="19324" y="8966"/>
                  </a:cubicBezTo>
                  <a:cubicBezTo>
                    <a:pt x="19444" y="8846"/>
                    <a:pt x="19169" y="8966"/>
                    <a:pt x="18946" y="8966"/>
                  </a:cubicBezTo>
                  <a:cubicBezTo>
                    <a:pt x="19427" y="8537"/>
                    <a:pt x="19238" y="9086"/>
                    <a:pt x="19598" y="8674"/>
                  </a:cubicBezTo>
                  <a:cubicBezTo>
                    <a:pt x="19289" y="8846"/>
                    <a:pt x="19341" y="8554"/>
                    <a:pt x="19598" y="8674"/>
                  </a:cubicBezTo>
                  <a:cubicBezTo>
                    <a:pt x="19808" y="8533"/>
                    <a:pt x="20004" y="8372"/>
                    <a:pt x="20182" y="8193"/>
                  </a:cubicBezTo>
                  <a:cubicBezTo>
                    <a:pt x="19994" y="8193"/>
                    <a:pt x="20182" y="7266"/>
                    <a:pt x="20354" y="7953"/>
                  </a:cubicBezTo>
                  <a:cubicBezTo>
                    <a:pt x="20354" y="7953"/>
                    <a:pt x="20509" y="7712"/>
                    <a:pt x="20560" y="7764"/>
                  </a:cubicBezTo>
                  <a:cubicBezTo>
                    <a:pt x="20612" y="7815"/>
                    <a:pt x="21144" y="6991"/>
                    <a:pt x="20681" y="7386"/>
                  </a:cubicBezTo>
                  <a:cubicBezTo>
                    <a:pt x="20217" y="7781"/>
                    <a:pt x="21162" y="6922"/>
                    <a:pt x="21746" y="6338"/>
                  </a:cubicBezTo>
                  <a:cubicBezTo>
                    <a:pt x="23154" y="5256"/>
                    <a:pt x="21746" y="5497"/>
                    <a:pt x="22914" y="4981"/>
                  </a:cubicBezTo>
                  <a:cubicBezTo>
                    <a:pt x="23085" y="4981"/>
                    <a:pt x="23206" y="5067"/>
                    <a:pt x="23326" y="4844"/>
                  </a:cubicBezTo>
                  <a:cubicBezTo>
                    <a:pt x="26332" y="3556"/>
                    <a:pt x="25576" y="4260"/>
                    <a:pt x="26761" y="3693"/>
                  </a:cubicBezTo>
                  <a:cubicBezTo>
                    <a:pt x="26418" y="3882"/>
                    <a:pt x="26761" y="3693"/>
                    <a:pt x="26881" y="3693"/>
                  </a:cubicBezTo>
                  <a:cubicBezTo>
                    <a:pt x="26503" y="3951"/>
                    <a:pt x="26710" y="3693"/>
                    <a:pt x="26607" y="3951"/>
                  </a:cubicBezTo>
                  <a:cubicBezTo>
                    <a:pt x="26761" y="4140"/>
                    <a:pt x="25765" y="4243"/>
                    <a:pt x="26211" y="4208"/>
                  </a:cubicBezTo>
                  <a:cubicBezTo>
                    <a:pt x="26658" y="4174"/>
                    <a:pt x="26057" y="4346"/>
                    <a:pt x="26211" y="4329"/>
                  </a:cubicBezTo>
                  <a:cubicBezTo>
                    <a:pt x="26555" y="4054"/>
                    <a:pt x="26211" y="4483"/>
                    <a:pt x="26074" y="4500"/>
                  </a:cubicBezTo>
                  <a:cubicBezTo>
                    <a:pt x="25284" y="5119"/>
                    <a:pt x="27036" y="3744"/>
                    <a:pt x="26383" y="4621"/>
                  </a:cubicBezTo>
                  <a:cubicBezTo>
                    <a:pt x="26108" y="4844"/>
                    <a:pt x="25816" y="4861"/>
                    <a:pt x="26057" y="4947"/>
                  </a:cubicBezTo>
                  <a:cubicBezTo>
                    <a:pt x="25672" y="5283"/>
                    <a:pt x="25406" y="5735"/>
                    <a:pt x="25301" y="6235"/>
                  </a:cubicBezTo>
                  <a:cubicBezTo>
                    <a:pt x="25198" y="5874"/>
                    <a:pt x="24751" y="6424"/>
                    <a:pt x="25112" y="6373"/>
                  </a:cubicBezTo>
                  <a:cubicBezTo>
                    <a:pt x="24837" y="6596"/>
                    <a:pt x="25112" y="6373"/>
                    <a:pt x="25009" y="6596"/>
                  </a:cubicBezTo>
                  <a:cubicBezTo>
                    <a:pt x="24906" y="6819"/>
                    <a:pt x="24837" y="6596"/>
                    <a:pt x="24751" y="6596"/>
                  </a:cubicBezTo>
                  <a:cubicBezTo>
                    <a:pt x="24666" y="6596"/>
                    <a:pt x="24751" y="6957"/>
                    <a:pt x="24751" y="6768"/>
                  </a:cubicBezTo>
                  <a:cubicBezTo>
                    <a:pt x="24751" y="6871"/>
                    <a:pt x="25061" y="7128"/>
                    <a:pt x="24751" y="7180"/>
                  </a:cubicBezTo>
                  <a:cubicBezTo>
                    <a:pt x="24271" y="6750"/>
                    <a:pt x="24751" y="7575"/>
                    <a:pt x="24442" y="7489"/>
                  </a:cubicBezTo>
                  <a:cubicBezTo>
                    <a:pt x="23961" y="7729"/>
                    <a:pt x="24442" y="7060"/>
                    <a:pt x="24133" y="7489"/>
                  </a:cubicBezTo>
                  <a:cubicBezTo>
                    <a:pt x="24133" y="7283"/>
                    <a:pt x="23807" y="7609"/>
                    <a:pt x="23738" y="7626"/>
                  </a:cubicBezTo>
                  <a:cubicBezTo>
                    <a:pt x="24150" y="7626"/>
                    <a:pt x="23738" y="7764"/>
                    <a:pt x="23738" y="7781"/>
                  </a:cubicBezTo>
                  <a:cubicBezTo>
                    <a:pt x="24236" y="7781"/>
                    <a:pt x="23738" y="7918"/>
                    <a:pt x="23824" y="7987"/>
                  </a:cubicBezTo>
                  <a:cubicBezTo>
                    <a:pt x="24442" y="8090"/>
                    <a:pt x="23515" y="9705"/>
                    <a:pt x="23583" y="8262"/>
                  </a:cubicBezTo>
                  <a:cubicBezTo>
                    <a:pt x="23034" y="7901"/>
                    <a:pt x="23978" y="8657"/>
                    <a:pt x="23137" y="8520"/>
                  </a:cubicBezTo>
                  <a:cubicBezTo>
                    <a:pt x="23291" y="8640"/>
                    <a:pt x="22673" y="8777"/>
                    <a:pt x="22931" y="8726"/>
                  </a:cubicBezTo>
                  <a:cubicBezTo>
                    <a:pt x="23188" y="8674"/>
                    <a:pt x="23326" y="8915"/>
                    <a:pt x="22931" y="8846"/>
                  </a:cubicBezTo>
                  <a:cubicBezTo>
                    <a:pt x="22536" y="8777"/>
                    <a:pt x="24082" y="8846"/>
                    <a:pt x="23446" y="9121"/>
                  </a:cubicBezTo>
                  <a:cubicBezTo>
                    <a:pt x="23446" y="9121"/>
                    <a:pt x="23171" y="9327"/>
                    <a:pt x="23137" y="9275"/>
                  </a:cubicBezTo>
                  <a:cubicBezTo>
                    <a:pt x="23103" y="9224"/>
                    <a:pt x="21866" y="9859"/>
                    <a:pt x="21952" y="9396"/>
                  </a:cubicBezTo>
                  <a:cubicBezTo>
                    <a:pt x="22038" y="8932"/>
                    <a:pt x="21952" y="9636"/>
                    <a:pt x="21831" y="9653"/>
                  </a:cubicBezTo>
                  <a:cubicBezTo>
                    <a:pt x="21385" y="9688"/>
                    <a:pt x="20612" y="10529"/>
                    <a:pt x="20560" y="10117"/>
                  </a:cubicBezTo>
                  <a:close/>
                  <a:moveTo>
                    <a:pt x="23669" y="11440"/>
                  </a:moveTo>
                  <a:cubicBezTo>
                    <a:pt x="23669" y="11577"/>
                    <a:pt x="23463" y="11543"/>
                    <a:pt x="23412" y="11440"/>
                  </a:cubicBezTo>
                  <a:cubicBezTo>
                    <a:pt x="23360" y="11337"/>
                    <a:pt x="23223" y="11440"/>
                    <a:pt x="23274" y="11319"/>
                  </a:cubicBezTo>
                  <a:cubicBezTo>
                    <a:pt x="23326" y="11199"/>
                    <a:pt x="23188" y="11319"/>
                    <a:pt x="23274" y="11319"/>
                  </a:cubicBezTo>
                  <a:cubicBezTo>
                    <a:pt x="23173" y="11345"/>
                    <a:pt x="23067" y="11345"/>
                    <a:pt x="22965" y="11319"/>
                  </a:cubicBezTo>
                  <a:cubicBezTo>
                    <a:pt x="22965" y="11319"/>
                    <a:pt x="22965" y="11319"/>
                    <a:pt x="22965" y="11319"/>
                  </a:cubicBezTo>
                  <a:cubicBezTo>
                    <a:pt x="22965" y="11319"/>
                    <a:pt x="22965" y="11319"/>
                    <a:pt x="22965" y="11233"/>
                  </a:cubicBezTo>
                  <a:cubicBezTo>
                    <a:pt x="22965" y="11148"/>
                    <a:pt x="22965" y="11233"/>
                    <a:pt x="22965" y="11233"/>
                  </a:cubicBezTo>
                  <a:cubicBezTo>
                    <a:pt x="22965" y="11233"/>
                    <a:pt x="23120" y="11096"/>
                    <a:pt x="23206" y="11148"/>
                  </a:cubicBezTo>
                  <a:cubicBezTo>
                    <a:pt x="23291" y="11199"/>
                    <a:pt x="22948" y="11251"/>
                    <a:pt x="23206" y="11027"/>
                  </a:cubicBezTo>
                  <a:cubicBezTo>
                    <a:pt x="23206" y="11113"/>
                    <a:pt x="23051" y="11027"/>
                    <a:pt x="23206" y="10941"/>
                  </a:cubicBezTo>
                  <a:cubicBezTo>
                    <a:pt x="23360" y="10856"/>
                    <a:pt x="22948" y="10941"/>
                    <a:pt x="22948" y="10821"/>
                  </a:cubicBezTo>
                  <a:cubicBezTo>
                    <a:pt x="22948" y="10701"/>
                    <a:pt x="23206" y="10735"/>
                    <a:pt x="23223" y="10821"/>
                  </a:cubicBezTo>
                  <a:cubicBezTo>
                    <a:pt x="23240" y="10907"/>
                    <a:pt x="23395" y="10821"/>
                    <a:pt x="23412" y="10718"/>
                  </a:cubicBezTo>
                  <a:cubicBezTo>
                    <a:pt x="23429" y="10615"/>
                    <a:pt x="23291" y="10718"/>
                    <a:pt x="23412" y="10718"/>
                  </a:cubicBezTo>
                  <a:cubicBezTo>
                    <a:pt x="23532" y="10718"/>
                    <a:pt x="23291" y="10718"/>
                    <a:pt x="23412" y="10632"/>
                  </a:cubicBezTo>
                  <a:cubicBezTo>
                    <a:pt x="23532" y="10546"/>
                    <a:pt x="23412" y="10632"/>
                    <a:pt x="23412" y="10632"/>
                  </a:cubicBezTo>
                  <a:cubicBezTo>
                    <a:pt x="23412" y="10632"/>
                    <a:pt x="23412" y="10718"/>
                    <a:pt x="23412" y="10632"/>
                  </a:cubicBezTo>
                  <a:cubicBezTo>
                    <a:pt x="23412" y="10546"/>
                    <a:pt x="23412" y="10632"/>
                    <a:pt x="23412" y="10632"/>
                  </a:cubicBezTo>
                  <a:cubicBezTo>
                    <a:pt x="23223" y="10873"/>
                    <a:pt x="23120" y="10478"/>
                    <a:pt x="23291" y="10632"/>
                  </a:cubicBezTo>
                  <a:cubicBezTo>
                    <a:pt x="23463" y="10787"/>
                    <a:pt x="23291" y="10478"/>
                    <a:pt x="23291" y="10632"/>
                  </a:cubicBezTo>
                  <a:cubicBezTo>
                    <a:pt x="23291" y="10787"/>
                    <a:pt x="23291" y="10632"/>
                    <a:pt x="23291" y="10632"/>
                  </a:cubicBezTo>
                  <a:cubicBezTo>
                    <a:pt x="23291" y="10632"/>
                    <a:pt x="23291" y="10529"/>
                    <a:pt x="23291" y="10632"/>
                  </a:cubicBezTo>
                  <a:cubicBezTo>
                    <a:pt x="23291" y="10735"/>
                    <a:pt x="23291" y="10478"/>
                    <a:pt x="23291" y="10632"/>
                  </a:cubicBezTo>
                  <a:cubicBezTo>
                    <a:pt x="23291" y="10787"/>
                    <a:pt x="23412" y="10632"/>
                    <a:pt x="23291" y="10632"/>
                  </a:cubicBezTo>
                  <a:cubicBezTo>
                    <a:pt x="23171" y="10632"/>
                    <a:pt x="23395" y="10632"/>
                    <a:pt x="23291" y="10632"/>
                  </a:cubicBezTo>
                  <a:cubicBezTo>
                    <a:pt x="23188" y="10632"/>
                    <a:pt x="23120" y="10478"/>
                    <a:pt x="23291" y="10478"/>
                  </a:cubicBezTo>
                  <a:cubicBezTo>
                    <a:pt x="22999" y="10375"/>
                    <a:pt x="23395" y="10375"/>
                    <a:pt x="23291" y="10581"/>
                  </a:cubicBezTo>
                  <a:cubicBezTo>
                    <a:pt x="23291" y="10581"/>
                    <a:pt x="23291" y="10581"/>
                    <a:pt x="23291" y="10581"/>
                  </a:cubicBezTo>
                  <a:cubicBezTo>
                    <a:pt x="23291" y="10581"/>
                    <a:pt x="23291" y="10701"/>
                    <a:pt x="23291" y="10581"/>
                  </a:cubicBezTo>
                  <a:cubicBezTo>
                    <a:pt x="23302" y="10608"/>
                    <a:pt x="23302" y="10639"/>
                    <a:pt x="23291" y="10667"/>
                  </a:cubicBezTo>
                  <a:cubicBezTo>
                    <a:pt x="23291" y="10667"/>
                    <a:pt x="23291" y="10753"/>
                    <a:pt x="23291" y="10787"/>
                  </a:cubicBezTo>
                  <a:cubicBezTo>
                    <a:pt x="23291" y="10821"/>
                    <a:pt x="23291" y="10787"/>
                    <a:pt x="23291" y="10873"/>
                  </a:cubicBezTo>
                  <a:cubicBezTo>
                    <a:pt x="23311" y="10799"/>
                    <a:pt x="23361" y="10737"/>
                    <a:pt x="23429" y="10701"/>
                  </a:cubicBezTo>
                  <a:cubicBezTo>
                    <a:pt x="23429" y="10907"/>
                    <a:pt x="23429" y="10478"/>
                    <a:pt x="23601" y="10461"/>
                  </a:cubicBezTo>
                  <a:cubicBezTo>
                    <a:pt x="23772" y="10443"/>
                    <a:pt x="23601" y="10581"/>
                    <a:pt x="23601" y="10598"/>
                  </a:cubicBezTo>
                  <a:cubicBezTo>
                    <a:pt x="23601" y="10615"/>
                    <a:pt x="23687" y="10461"/>
                    <a:pt x="23790" y="10478"/>
                  </a:cubicBezTo>
                  <a:cubicBezTo>
                    <a:pt x="23832" y="10576"/>
                    <a:pt x="23832" y="10688"/>
                    <a:pt x="23790" y="10787"/>
                  </a:cubicBezTo>
                  <a:cubicBezTo>
                    <a:pt x="23893" y="10701"/>
                    <a:pt x="23790" y="10461"/>
                    <a:pt x="23961" y="10512"/>
                  </a:cubicBezTo>
                  <a:cubicBezTo>
                    <a:pt x="24133" y="10564"/>
                    <a:pt x="24116" y="10375"/>
                    <a:pt x="24099" y="10512"/>
                  </a:cubicBezTo>
                  <a:cubicBezTo>
                    <a:pt x="24082" y="10649"/>
                    <a:pt x="24356" y="10220"/>
                    <a:pt x="24322" y="10512"/>
                  </a:cubicBezTo>
                  <a:cubicBezTo>
                    <a:pt x="24288" y="10804"/>
                    <a:pt x="24442" y="10357"/>
                    <a:pt x="24528" y="10512"/>
                  </a:cubicBezTo>
                  <a:cubicBezTo>
                    <a:pt x="24614" y="10667"/>
                    <a:pt x="24356" y="10667"/>
                    <a:pt x="24528" y="10632"/>
                  </a:cubicBezTo>
                  <a:cubicBezTo>
                    <a:pt x="24700" y="10598"/>
                    <a:pt x="24425" y="10632"/>
                    <a:pt x="24528" y="10804"/>
                  </a:cubicBezTo>
                  <a:cubicBezTo>
                    <a:pt x="24631" y="10976"/>
                    <a:pt x="24528" y="10804"/>
                    <a:pt x="24528" y="10804"/>
                  </a:cubicBezTo>
                  <a:cubicBezTo>
                    <a:pt x="24751" y="10804"/>
                    <a:pt x="24614" y="10804"/>
                    <a:pt x="24528" y="10924"/>
                  </a:cubicBezTo>
                  <a:cubicBezTo>
                    <a:pt x="24442" y="11045"/>
                    <a:pt x="24528" y="11079"/>
                    <a:pt x="24528" y="11148"/>
                  </a:cubicBezTo>
                  <a:cubicBezTo>
                    <a:pt x="24374" y="10924"/>
                    <a:pt x="24528" y="11440"/>
                    <a:pt x="24288" y="11148"/>
                  </a:cubicBezTo>
                  <a:cubicBezTo>
                    <a:pt x="24288" y="11268"/>
                    <a:pt x="24064" y="11268"/>
                    <a:pt x="23978" y="11388"/>
                  </a:cubicBezTo>
                  <a:lnTo>
                    <a:pt x="23978" y="11388"/>
                  </a:lnTo>
                  <a:cubicBezTo>
                    <a:pt x="23978" y="11388"/>
                    <a:pt x="23841" y="11388"/>
                    <a:pt x="23790" y="11388"/>
                  </a:cubicBezTo>
                  <a:cubicBezTo>
                    <a:pt x="23738" y="11388"/>
                    <a:pt x="23790" y="11388"/>
                    <a:pt x="23790" y="11388"/>
                  </a:cubicBezTo>
                  <a:cubicBezTo>
                    <a:pt x="23790" y="11388"/>
                    <a:pt x="23738" y="11594"/>
                    <a:pt x="23669" y="11440"/>
                  </a:cubicBezTo>
                  <a:close/>
                  <a:moveTo>
                    <a:pt x="38184" y="41533"/>
                  </a:moveTo>
                  <a:cubicBezTo>
                    <a:pt x="38063" y="41224"/>
                    <a:pt x="38579" y="40880"/>
                    <a:pt x="38802" y="40640"/>
                  </a:cubicBezTo>
                  <a:cubicBezTo>
                    <a:pt x="39025" y="40399"/>
                    <a:pt x="39025" y="39729"/>
                    <a:pt x="39540" y="39523"/>
                  </a:cubicBezTo>
                  <a:lnTo>
                    <a:pt x="39540" y="39523"/>
                  </a:lnTo>
                  <a:cubicBezTo>
                    <a:pt x="39540" y="39523"/>
                    <a:pt x="39540" y="39523"/>
                    <a:pt x="39540" y="39523"/>
                  </a:cubicBezTo>
                  <a:cubicBezTo>
                    <a:pt x="39540" y="39523"/>
                    <a:pt x="39644" y="39523"/>
                    <a:pt x="39781" y="39386"/>
                  </a:cubicBezTo>
                  <a:cubicBezTo>
                    <a:pt x="39661" y="39678"/>
                    <a:pt x="40073" y="39077"/>
                    <a:pt x="39953" y="39386"/>
                  </a:cubicBezTo>
                  <a:cubicBezTo>
                    <a:pt x="39832" y="39695"/>
                    <a:pt x="39953" y="39386"/>
                    <a:pt x="39953" y="39386"/>
                  </a:cubicBezTo>
                  <a:cubicBezTo>
                    <a:pt x="39953" y="39386"/>
                    <a:pt x="39953" y="39386"/>
                    <a:pt x="39953" y="39248"/>
                  </a:cubicBezTo>
                  <a:cubicBezTo>
                    <a:pt x="39953" y="39111"/>
                    <a:pt x="40073" y="39248"/>
                    <a:pt x="39953" y="39248"/>
                  </a:cubicBezTo>
                  <a:lnTo>
                    <a:pt x="39953" y="39248"/>
                  </a:lnTo>
                  <a:cubicBezTo>
                    <a:pt x="39953" y="39248"/>
                    <a:pt x="39953" y="39248"/>
                    <a:pt x="39953" y="39369"/>
                  </a:cubicBezTo>
                  <a:cubicBezTo>
                    <a:pt x="39953" y="39489"/>
                    <a:pt x="40090" y="39197"/>
                    <a:pt x="40107" y="39266"/>
                  </a:cubicBezTo>
                  <a:cubicBezTo>
                    <a:pt x="40124" y="39334"/>
                    <a:pt x="40107" y="39266"/>
                    <a:pt x="40107" y="39145"/>
                  </a:cubicBezTo>
                  <a:cubicBezTo>
                    <a:pt x="40107" y="39025"/>
                    <a:pt x="40262" y="39145"/>
                    <a:pt x="40107" y="39042"/>
                  </a:cubicBezTo>
                  <a:cubicBezTo>
                    <a:pt x="39953" y="38939"/>
                    <a:pt x="40107" y="39145"/>
                    <a:pt x="40262" y="38939"/>
                  </a:cubicBezTo>
                  <a:cubicBezTo>
                    <a:pt x="40416" y="38733"/>
                    <a:pt x="40537" y="38733"/>
                    <a:pt x="40485" y="38561"/>
                  </a:cubicBezTo>
                  <a:cubicBezTo>
                    <a:pt x="40434" y="38389"/>
                    <a:pt x="40588" y="38561"/>
                    <a:pt x="40674" y="38441"/>
                  </a:cubicBezTo>
                  <a:cubicBezTo>
                    <a:pt x="40760" y="38321"/>
                    <a:pt x="40674" y="38664"/>
                    <a:pt x="40674" y="38664"/>
                  </a:cubicBezTo>
                  <a:cubicBezTo>
                    <a:pt x="41344" y="38922"/>
                    <a:pt x="37514" y="43560"/>
                    <a:pt x="38184" y="41533"/>
                  </a:cubicBezTo>
                  <a:close/>
                  <a:moveTo>
                    <a:pt x="49159" y="26589"/>
                  </a:moveTo>
                  <a:cubicBezTo>
                    <a:pt x="49159" y="26589"/>
                    <a:pt x="49159" y="26589"/>
                    <a:pt x="49159" y="26589"/>
                  </a:cubicBezTo>
                  <a:cubicBezTo>
                    <a:pt x="48810" y="27921"/>
                    <a:pt x="48552" y="29276"/>
                    <a:pt x="48386" y="30643"/>
                  </a:cubicBezTo>
                  <a:cubicBezTo>
                    <a:pt x="48386" y="30540"/>
                    <a:pt x="48215" y="30780"/>
                    <a:pt x="48215" y="30849"/>
                  </a:cubicBezTo>
                  <a:cubicBezTo>
                    <a:pt x="48026" y="31570"/>
                    <a:pt x="47579" y="26864"/>
                    <a:pt x="47613" y="26452"/>
                  </a:cubicBezTo>
                  <a:cubicBezTo>
                    <a:pt x="47459" y="26452"/>
                    <a:pt x="47613" y="26263"/>
                    <a:pt x="47613" y="26160"/>
                  </a:cubicBezTo>
                  <a:cubicBezTo>
                    <a:pt x="47613" y="26057"/>
                    <a:pt x="47528" y="26160"/>
                    <a:pt x="47528" y="26160"/>
                  </a:cubicBezTo>
                  <a:cubicBezTo>
                    <a:pt x="47528" y="26555"/>
                    <a:pt x="47373" y="27362"/>
                    <a:pt x="47098" y="26606"/>
                  </a:cubicBezTo>
                  <a:cubicBezTo>
                    <a:pt x="47098" y="26606"/>
                    <a:pt x="46909" y="26332"/>
                    <a:pt x="46995" y="26383"/>
                  </a:cubicBezTo>
                  <a:lnTo>
                    <a:pt x="46995" y="26383"/>
                  </a:lnTo>
                  <a:cubicBezTo>
                    <a:pt x="46995" y="26538"/>
                    <a:pt x="46995" y="26383"/>
                    <a:pt x="46995" y="26383"/>
                  </a:cubicBezTo>
                  <a:cubicBezTo>
                    <a:pt x="46995" y="26383"/>
                    <a:pt x="47201" y="26074"/>
                    <a:pt x="47081" y="26040"/>
                  </a:cubicBezTo>
                  <a:cubicBezTo>
                    <a:pt x="47081" y="26383"/>
                    <a:pt x="46583" y="26040"/>
                    <a:pt x="46806" y="25833"/>
                  </a:cubicBezTo>
                  <a:cubicBezTo>
                    <a:pt x="46806" y="25833"/>
                    <a:pt x="46806" y="25937"/>
                    <a:pt x="46686" y="25971"/>
                  </a:cubicBezTo>
                  <a:cubicBezTo>
                    <a:pt x="46566" y="26005"/>
                    <a:pt x="46686" y="25885"/>
                    <a:pt x="46549" y="25971"/>
                  </a:cubicBezTo>
                  <a:cubicBezTo>
                    <a:pt x="46411" y="26057"/>
                    <a:pt x="46549" y="25696"/>
                    <a:pt x="46428" y="25559"/>
                  </a:cubicBezTo>
                  <a:cubicBezTo>
                    <a:pt x="46239" y="25730"/>
                    <a:pt x="46428" y="25318"/>
                    <a:pt x="46119" y="25438"/>
                  </a:cubicBezTo>
                  <a:cubicBezTo>
                    <a:pt x="46119" y="25438"/>
                    <a:pt x="45965" y="25524"/>
                    <a:pt x="45913" y="25610"/>
                  </a:cubicBezTo>
                  <a:cubicBezTo>
                    <a:pt x="45861" y="25696"/>
                    <a:pt x="45810" y="25610"/>
                    <a:pt x="45741" y="25610"/>
                  </a:cubicBezTo>
                  <a:cubicBezTo>
                    <a:pt x="45673" y="25610"/>
                    <a:pt x="45604" y="25610"/>
                    <a:pt x="45552" y="25765"/>
                  </a:cubicBezTo>
                  <a:cubicBezTo>
                    <a:pt x="45501" y="25919"/>
                    <a:pt x="45552" y="25765"/>
                    <a:pt x="45432" y="25765"/>
                  </a:cubicBezTo>
                  <a:cubicBezTo>
                    <a:pt x="45312" y="25765"/>
                    <a:pt x="45260" y="25885"/>
                    <a:pt x="45209" y="25679"/>
                  </a:cubicBezTo>
                  <a:cubicBezTo>
                    <a:pt x="45209" y="25782"/>
                    <a:pt x="44814" y="25679"/>
                    <a:pt x="44728" y="25679"/>
                  </a:cubicBezTo>
                  <a:cubicBezTo>
                    <a:pt x="44642" y="25679"/>
                    <a:pt x="44573" y="25679"/>
                    <a:pt x="44453" y="25679"/>
                  </a:cubicBezTo>
                  <a:cubicBezTo>
                    <a:pt x="44178" y="24683"/>
                    <a:pt x="44144" y="25541"/>
                    <a:pt x="43663" y="25404"/>
                  </a:cubicBezTo>
                  <a:cubicBezTo>
                    <a:pt x="43560" y="25404"/>
                    <a:pt x="43251" y="25284"/>
                    <a:pt x="43285" y="25146"/>
                  </a:cubicBezTo>
                  <a:cubicBezTo>
                    <a:pt x="43319" y="25009"/>
                    <a:pt x="42838" y="25146"/>
                    <a:pt x="42804" y="24803"/>
                  </a:cubicBezTo>
                  <a:cubicBezTo>
                    <a:pt x="42804" y="24803"/>
                    <a:pt x="42684" y="24803"/>
                    <a:pt x="42804" y="24803"/>
                  </a:cubicBezTo>
                  <a:cubicBezTo>
                    <a:pt x="42632" y="24803"/>
                    <a:pt x="42564" y="24185"/>
                    <a:pt x="42375" y="24425"/>
                  </a:cubicBezTo>
                  <a:cubicBezTo>
                    <a:pt x="42375" y="24339"/>
                    <a:pt x="42220" y="24425"/>
                    <a:pt x="42272" y="24270"/>
                  </a:cubicBezTo>
                  <a:cubicBezTo>
                    <a:pt x="42323" y="24116"/>
                    <a:pt x="42272" y="24270"/>
                    <a:pt x="42272" y="24270"/>
                  </a:cubicBezTo>
                  <a:cubicBezTo>
                    <a:pt x="42272" y="24270"/>
                    <a:pt x="42272" y="24494"/>
                    <a:pt x="42272" y="24270"/>
                  </a:cubicBezTo>
                  <a:cubicBezTo>
                    <a:pt x="42272" y="24047"/>
                    <a:pt x="42272" y="24580"/>
                    <a:pt x="42100" y="24597"/>
                  </a:cubicBezTo>
                  <a:lnTo>
                    <a:pt x="42220" y="24597"/>
                  </a:lnTo>
                  <a:lnTo>
                    <a:pt x="42220" y="24597"/>
                  </a:lnTo>
                  <a:cubicBezTo>
                    <a:pt x="42220" y="24597"/>
                    <a:pt x="42220" y="24700"/>
                    <a:pt x="42220" y="24734"/>
                  </a:cubicBezTo>
                  <a:cubicBezTo>
                    <a:pt x="42220" y="24769"/>
                    <a:pt x="42220" y="24837"/>
                    <a:pt x="42220" y="24734"/>
                  </a:cubicBezTo>
                  <a:cubicBezTo>
                    <a:pt x="42259" y="24896"/>
                    <a:pt x="42365" y="25033"/>
                    <a:pt x="42512" y="25112"/>
                  </a:cubicBezTo>
                  <a:cubicBezTo>
                    <a:pt x="42512" y="25112"/>
                    <a:pt x="42821" y="25438"/>
                    <a:pt x="42770" y="25610"/>
                  </a:cubicBezTo>
                  <a:lnTo>
                    <a:pt x="42770" y="25610"/>
                  </a:lnTo>
                  <a:cubicBezTo>
                    <a:pt x="42993" y="25851"/>
                    <a:pt x="43027" y="26314"/>
                    <a:pt x="43045" y="25782"/>
                  </a:cubicBezTo>
                  <a:cubicBezTo>
                    <a:pt x="43045" y="25645"/>
                    <a:pt x="43045" y="25438"/>
                    <a:pt x="43165" y="25627"/>
                  </a:cubicBezTo>
                  <a:cubicBezTo>
                    <a:pt x="43133" y="25786"/>
                    <a:pt x="43133" y="25950"/>
                    <a:pt x="43165" y="26108"/>
                  </a:cubicBezTo>
                  <a:cubicBezTo>
                    <a:pt x="43165" y="26108"/>
                    <a:pt x="43165" y="26297"/>
                    <a:pt x="43165" y="26211"/>
                  </a:cubicBezTo>
                  <a:lnTo>
                    <a:pt x="43165" y="26366"/>
                  </a:lnTo>
                  <a:cubicBezTo>
                    <a:pt x="43371" y="26177"/>
                    <a:pt x="43646" y="26366"/>
                    <a:pt x="43766" y="26091"/>
                  </a:cubicBezTo>
                  <a:lnTo>
                    <a:pt x="43766" y="26091"/>
                  </a:lnTo>
                  <a:cubicBezTo>
                    <a:pt x="43766" y="25833"/>
                    <a:pt x="44024" y="25593"/>
                    <a:pt x="44058" y="25318"/>
                  </a:cubicBezTo>
                  <a:lnTo>
                    <a:pt x="44058" y="25318"/>
                  </a:lnTo>
                  <a:cubicBezTo>
                    <a:pt x="44058" y="25318"/>
                    <a:pt x="44058" y="25146"/>
                    <a:pt x="44058" y="25215"/>
                  </a:cubicBezTo>
                  <a:cubicBezTo>
                    <a:pt x="44058" y="25284"/>
                    <a:pt x="44058" y="25559"/>
                    <a:pt x="44058" y="25507"/>
                  </a:cubicBezTo>
                  <a:cubicBezTo>
                    <a:pt x="44058" y="25851"/>
                    <a:pt x="44247" y="26280"/>
                    <a:pt x="44642" y="26091"/>
                  </a:cubicBezTo>
                  <a:cubicBezTo>
                    <a:pt x="44947" y="26440"/>
                    <a:pt x="44947" y="26961"/>
                    <a:pt x="44642" y="27311"/>
                  </a:cubicBezTo>
                  <a:cubicBezTo>
                    <a:pt x="44642" y="27105"/>
                    <a:pt x="44487" y="27757"/>
                    <a:pt x="44642" y="27877"/>
                  </a:cubicBezTo>
                  <a:cubicBezTo>
                    <a:pt x="44230" y="27877"/>
                    <a:pt x="44505" y="28290"/>
                    <a:pt x="44109" y="28376"/>
                  </a:cubicBezTo>
                  <a:cubicBezTo>
                    <a:pt x="44109" y="28496"/>
                    <a:pt x="44109" y="28599"/>
                    <a:pt x="44109" y="28719"/>
                  </a:cubicBezTo>
                  <a:cubicBezTo>
                    <a:pt x="43847" y="28757"/>
                    <a:pt x="43612" y="28900"/>
                    <a:pt x="43457" y="29114"/>
                  </a:cubicBezTo>
                  <a:cubicBezTo>
                    <a:pt x="43457" y="29475"/>
                    <a:pt x="42924" y="29595"/>
                    <a:pt x="42684" y="29767"/>
                  </a:cubicBezTo>
                  <a:cubicBezTo>
                    <a:pt x="42443" y="29939"/>
                    <a:pt x="42495" y="30042"/>
                    <a:pt x="42357" y="29990"/>
                  </a:cubicBezTo>
                  <a:cubicBezTo>
                    <a:pt x="42248" y="30193"/>
                    <a:pt x="42016" y="30299"/>
                    <a:pt x="41791" y="30248"/>
                  </a:cubicBezTo>
                  <a:cubicBezTo>
                    <a:pt x="41649" y="30457"/>
                    <a:pt x="41423" y="30595"/>
                    <a:pt x="41172" y="30626"/>
                  </a:cubicBezTo>
                  <a:cubicBezTo>
                    <a:pt x="41035" y="30317"/>
                    <a:pt x="41172" y="29904"/>
                    <a:pt x="40897" y="29629"/>
                  </a:cubicBezTo>
                  <a:cubicBezTo>
                    <a:pt x="41155" y="29011"/>
                    <a:pt x="40262" y="28204"/>
                    <a:pt x="39850" y="27706"/>
                  </a:cubicBezTo>
                  <a:cubicBezTo>
                    <a:pt x="39850" y="27293"/>
                    <a:pt x="39747" y="26589"/>
                    <a:pt x="39283" y="26606"/>
                  </a:cubicBezTo>
                  <a:cubicBezTo>
                    <a:pt x="39111" y="25799"/>
                    <a:pt x="38166" y="25370"/>
                    <a:pt x="38338" y="24751"/>
                  </a:cubicBezTo>
                  <a:cubicBezTo>
                    <a:pt x="38218" y="24975"/>
                    <a:pt x="38338" y="25249"/>
                    <a:pt x="38201" y="25438"/>
                  </a:cubicBezTo>
                  <a:cubicBezTo>
                    <a:pt x="37948" y="25233"/>
                    <a:pt x="37727" y="24989"/>
                    <a:pt x="37548" y="24717"/>
                  </a:cubicBezTo>
                  <a:cubicBezTo>
                    <a:pt x="37840" y="25370"/>
                    <a:pt x="38304" y="26022"/>
                    <a:pt x="38682" y="26692"/>
                  </a:cubicBezTo>
                  <a:lnTo>
                    <a:pt x="38682" y="26692"/>
                  </a:lnTo>
                  <a:cubicBezTo>
                    <a:pt x="38718" y="26746"/>
                    <a:pt x="38765" y="26793"/>
                    <a:pt x="38819" y="26830"/>
                  </a:cubicBezTo>
                  <a:cubicBezTo>
                    <a:pt x="38819" y="26830"/>
                    <a:pt x="38716" y="26830"/>
                    <a:pt x="38699" y="26830"/>
                  </a:cubicBezTo>
                  <a:cubicBezTo>
                    <a:pt x="38699" y="27328"/>
                    <a:pt x="39231" y="27311"/>
                    <a:pt x="39317" y="27826"/>
                  </a:cubicBezTo>
                  <a:cubicBezTo>
                    <a:pt x="39180" y="27826"/>
                    <a:pt x="39420" y="28187"/>
                    <a:pt x="39317" y="28376"/>
                  </a:cubicBezTo>
                  <a:cubicBezTo>
                    <a:pt x="39214" y="28565"/>
                    <a:pt x="39644" y="28719"/>
                    <a:pt x="39712" y="28891"/>
                  </a:cubicBezTo>
                  <a:cubicBezTo>
                    <a:pt x="39781" y="29063"/>
                    <a:pt x="39884" y="29561"/>
                    <a:pt x="40021" y="29715"/>
                  </a:cubicBezTo>
                  <a:cubicBezTo>
                    <a:pt x="40159" y="29870"/>
                    <a:pt x="40142" y="30007"/>
                    <a:pt x="40021" y="29801"/>
                  </a:cubicBezTo>
                  <a:cubicBezTo>
                    <a:pt x="39901" y="29595"/>
                    <a:pt x="40021" y="30042"/>
                    <a:pt x="40193" y="29939"/>
                  </a:cubicBezTo>
                  <a:cubicBezTo>
                    <a:pt x="40571" y="29939"/>
                    <a:pt x="40708" y="30591"/>
                    <a:pt x="40932" y="30626"/>
                  </a:cubicBezTo>
                  <a:cubicBezTo>
                    <a:pt x="41155" y="30660"/>
                    <a:pt x="40932" y="30746"/>
                    <a:pt x="41035" y="30746"/>
                  </a:cubicBezTo>
                  <a:cubicBezTo>
                    <a:pt x="41037" y="30889"/>
                    <a:pt x="40935" y="31013"/>
                    <a:pt x="40794" y="31038"/>
                  </a:cubicBezTo>
                  <a:cubicBezTo>
                    <a:pt x="41035" y="31038"/>
                    <a:pt x="41086" y="31364"/>
                    <a:pt x="41327" y="31450"/>
                  </a:cubicBezTo>
                  <a:cubicBezTo>
                    <a:pt x="41782" y="31205"/>
                    <a:pt x="42267" y="31020"/>
                    <a:pt x="42770" y="30901"/>
                  </a:cubicBezTo>
                  <a:cubicBezTo>
                    <a:pt x="42857" y="30834"/>
                    <a:pt x="42933" y="30752"/>
                    <a:pt x="42993" y="30660"/>
                  </a:cubicBezTo>
                  <a:cubicBezTo>
                    <a:pt x="43165" y="30660"/>
                    <a:pt x="42993" y="31021"/>
                    <a:pt x="42993" y="31210"/>
                  </a:cubicBezTo>
                  <a:cubicBezTo>
                    <a:pt x="42993" y="31399"/>
                    <a:pt x="42993" y="31210"/>
                    <a:pt x="42993" y="31210"/>
                  </a:cubicBezTo>
                  <a:cubicBezTo>
                    <a:pt x="42684" y="33580"/>
                    <a:pt x="39163" y="34989"/>
                    <a:pt x="38922" y="37033"/>
                  </a:cubicBezTo>
                  <a:cubicBezTo>
                    <a:pt x="38922" y="37033"/>
                    <a:pt x="38716" y="37204"/>
                    <a:pt x="38802" y="37307"/>
                  </a:cubicBezTo>
                  <a:cubicBezTo>
                    <a:pt x="38888" y="37410"/>
                    <a:pt x="38596" y="37874"/>
                    <a:pt x="38802" y="38012"/>
                  </a:cubicBezTo>
                  <a:cubicBezTo>
                    <a:pt x="38630" y="38407"/>
                    <a:pt x="38493" y="38991"/>
                    <a:pt x="38355" y="39248"/>
                  </a:cubicBezTo>
                  <a:cubicBezTo>
                    <a:pt x="38218" y="39506"/>
                    <a:pt x="38149" y="39369"/>
                    <a:pt x="38355" y="39351"/>
                  </a:cubicBezTo>
                  <a:cubicBezTo>
                    <a:pt x="38063" y="39781"/>
                    <a:pt x="37514" y="39901"/>
                    <a:pt x="37119" y="40193"/>
                  </a:cubicBezTo>
                  <a:lnTo>
                    <a:pt x="37119" y="40193"/>
                  </a:lnTo>
                  <a:cubicBezTo>
                    <a:pt x="36902" y="40432"/>
                    <a:pt x="36622" y="40604"/>
                    <a:pt x="36311" y="40691"/>
                  </a:cubicBezTo>
                  <a:cubicBezTo>
                    <a:pt x="36339" y="40751"/>
                    <a:pt x="36339" y="40820"/>
                    <a:pt x="36311" y="40880"/>
                  </a:cubicBezTo>
                  <a:cubicBezTo>
                    <a:pt x="36311" y="40880"/>
                    <a:pt x="36311" y="41000"/>
                    <a:pt x="36311" y="41035"/>
                  </a:cubicBezTo>
                  <a:cubicBezTo>
                    <a:pt x="36311" y="41069"/>
                    <a:pt x="36311" y="41292"/>
                    <a:pt x="36311" y="41395"/>
                  </a:cubicBezTo>
                  <a:cubicBezTo>
                    <a:pt x="36311" y="41498"/>
                    <a:pt x="36311" y="41310"/>
                    <a:pt x="36311" y="41292"/>
                  </a:cubicBezTo>
                  <a:lnTo>
                    <a:pt x="36311" y="41292"/>
                  </a:lnTo>
                  <a:lnTo>
                    <a:pt x="36311" y="41292"/>
                  </a:lnTo>
                  <a:cubicBezTo>
                    <a:pt x="36311" y="41447"/>
                    <a:pt x="36122" y="41567"/>
                    <a:pt x="36054" y="41705"/>
                  </a:cubicBezTo>
                  <a:lnTo>
                    <a:pt x="36054" y="41705"/>
                  </a:lnTo>
                  <a:cubicBezTo>
                    <a:pt x="35865" y="42117"/>
                    <a:pt x="35126" y="41997"/>
                    <a:pt x="35006" y="42392"/>
                  </a:cubicBezTo>
                  <a:lnTo>
                    <a:pt x="35126" y="42392"/>
                  </a:lnTo>
                  <a:cubicBezTo>
                    <a:pt x="35084" y="42471"/>
                    <a:pt x="35025" y="42542"/>
                    <a:pt x="34954" y="42598"/>
                  </a:cubicBezTo>
                  <a:lnTo>
                    <a:pt x="34954" y="42598"/>
                  </a:lnTo>
                  <a:cubicBezTo>
                    <a:pt x="34162" y="43425"/>
                    <a:pt x="33158" y="44019"/>
                    <a:pt x="32051" y="44315"/>
                  </a:cubicBezTo>
                  <a:cubicBezTo>
                    <a:pt x="31588" y="44161"/>
                    <a:pt x="31124" y="44453"/>
                    <a:pt x="30660" y="44418"/>
                  </a:cubicBezTo>
                  <a:cubicBezTo>
                    <a:pt x="30660" y="44333"/>
                    <a:pt x="30660" y="44418"/>
                    <a:pt x="30660" y="44418"/>
                  </a:cubicBezTo>
                  <a:cubicBezTo>
                    <a:pt x="30660" y="44418"/>
                    <a:pt x="30557" y="44333"/>
                    <a:pt x="30660" y="44418"/>
                  </a:cubicBezTo>
                  <a:cubicBezTo>
                    <a:pt x="30763" y="44504"/>
                    <a:pt x="30798" y="44230"/>
                    <a:pt x="30660" y="44092"/>
                  </a:cubicBezTo>
                  <a:cubicBezTo>
                    <a:pt x="30987" y="43938"/>
                    <a:pt x="30660" y="43508"/>
                    <a:pt x="30660" y="43199"/>
                  </a:cubicBezTo>
                  <a:cubicBezTo>
                    <a:pt x="30128" y="42392"/>
                    <a:pt x="30437" y="41189"/>
                    <a:pt x="29836" y="40296"/>
                  </a:cubicBezTo>
                  <a:cubicBezTo>
                    <a:pt x="29836" y="39369"/>
                    <a:pt x="31210" y="38956"/>
                    <a:pt x="30591" y="38046"/>
                  </a:cubicBezTo>
                  <a:cubicBezTo>
                    <a:pt x="30866" y="37840"/>
                    <a:pt x="30591" y="37428"/>
                    <a:pt x="30471" y="37204"/>
                  </a:cubicBezTo>
                  <a:lnTo>
                    <a:pt x="30574" y="37204"/>
                  </a:lnTo>
                  <a:cubicBezTo>
                    <a:pt x="30574" y="37204"/>
                    <a:pt x="30334" y="37204"/>
                    <a:pt x="30454" y="37050"/>
                  </a:cubicBezTo>
                  <a:cubicBezTo>
                    <a:pt x="30248" y="36449"/>
                    <a:pt x="29561" y="36242"/>
                    <a:pt x="29423" y="35607"/>
                  </a:cubicBezTo>
                  <a:cubicBezTo>
                    <a:pt x="29578" y="35607"/>
                    <a:pt x="29612" y="35487"/>
                    <a:pt x="29630" y="35298"/>
                  </a:cubicBezTo>
                  <a:cubicBezTo>
                    <a:pt x="29647" y="35109"/>
                    <a:pt x="29767" y="35298"/>
                    <a:pt x="29819" y="35298"/>
                  </a:cubicBezTo>
                  <a:cubicBezTo>
                    <a:pt x="29741" y="35301"/>
                    <a:pt x="29670" y="35252"/>
                    <a:pt x="29647" y="35177"/>
                  </a:cubicBezTo>
                  <a:cubicBezTo>
                    <a:pt x="29767" y="35177"/>
                    <a:pt x="29750" y="35057"/>
                    <a:pt x="29647" y="35040"/>
                  </a:cubicBezTo>
                  <a:cubicBezTo>
                    <a:pt x="29897" y="34793"/>
                    <a:pt x="29972" y="34419"/>
                    <a:pt x="29836" y="34095"/>
                  </a:cubicBezTo>
                  <a:cubicBezTo>
                    <a:pt x="29681" y="34198"/>
                    <a:pt x="29612" y="34095"/>
                    <a:pt x="29612" y="33906"/>
                  </a:cubicBezTo>
                  <a:cubicBezTo>
                    <a:pt x="29559" y="33957"/>
                    <a:pt x="29477" y="33957"/>
                    <a:pt x="29423" y="33906"/>
                  </a:cubicBezTo>
                  <a:cubicBezTo>
                    <a:pt x="29269" y="34095"/>
                    <a:pt x="28771" y="34078"/>
                    <a:pt x="28496" y="34044"/>
                  </a:cubicBezTo>
                  <a:cubicBezTo>
                    <a:pt x="28118" y="32807"/>
                    <a:pt x="26778" y="33529"/>
                    <a:pt x="25937" y="33821"/>
                  </a:cubicBezTo>
                  <a:cubicBezTo>
                    <a:pt x="24219" y="33305"/>
                    <a:pt x="23961" y="34490"/>
                    <a:pt x="22501" y="32687"/>
                  </a:cubicBezTo>
                  <a:cubicBezTo>
                    <a:pt x="22330" y="32687"/>
                    <a:pt x="22364" y="32429"/>
                    <a:pt x="22226" y="32361"/>
                  </a:cubicBezTo>
                  <a:cubicBezTo>
                    <a:pt x="22089" y="32292"/>
                    <a:pt x="22226" y="32240"/>
                    <a:pt x="22226" y="32137"/>
                  </a:cubicBezTo>
                  <a:cubicBezTo>
                    <a:pt x="22226" y="32034"/>
                    <a:pt x="21883" y="31897"/>
                    <a:pt x="21986" y="31828"/>
                  </a:cubicBezTo>
                  <a:cubicBezTo>
                    <a:pt x="21608" y="31828"/>
                    <a:pt x="21814" y="31485"/>
                    <a:pt x="21591" y="31536"/>
                  </a:cubicBezTo>
                  <a:cubicBezTo>
                    <a:pt x="21368" y="31588"/>
                    <a:pt x="21591" y="31450"/>
                    <a:pt x="21436" y="31450"/>
                  </a:cubicBezTo>
                  <a:lnTo>
                    <a:pt x="21436" y="31450"/>
                  </a:lnTo>
                  <a:lnTo>
                    <a:pt x="21436" y="31450"/>
                  </a:lnTo>
                  <a:cubicBezTo>
                    <a:pt x="21436" y="31450"/>
                    <a:pt x="21436" y="31450"/>
                    <a:pt x="21436" y="31347"/>
                  </a:cubicBezTo>
                  <a:cubicBezTo>
                    <a:pt x="21436" y="31244"/>
                    <a:pt x="21625" y="31347"/>
                    <a:pt x="21642" y="31347"/>
                  </a:cubicBezTo>
                  <a:cubicBezTo>
                    <a:pt x="21660" y="31347"/>
                    <a:pt x="21076" y="31347"/>
                    <a:pt x="21247" y="31158"/>
                  </a:cubicBezTo>
                  <a:cubicBezTo>
                    <a:pt x="21110" y="31158"/>
                    <a:pt x="21076" y="31158"/>
                    <a:pt x="21041" y="30986"/>
                  </a:cubicBezTo>
                  <a:cubicBezTo>
                    <a:pt x="21007" y="30815"/>
                    <a:pt x="21162" y="30986"/>
                    <a:pt x="21213" y="30986"/>
                  </a:cubicBezTo>
                  <a:cubicBezTo>
                    <a:pt x="21265" y="30986"/>
                    <a:pt x="21076" y="30986"/>
                    <a:pt x="21024" y="30986"/>
                  </a:cubicBezTo>
                  <a:cubicBezTo>
                    <a:pt x="20973" y="30986"/>
                    <a:pt x="21024" y="30849"/>
                    <a:pt x="21024" y="30780"/>
                  </a:cubicBezTo>
                  <a:cubicBezTo>
                    <a:pt x="21024" y="30712"/>
                    <a:pt x="21179" y="30935"/>
                    <a:pt x="21299" y="30780"/>
                  </a:cubicBezTo>
                  <a:cubicBezTo>
                    <a:pt x="21419" y="30626"/>
                    <a:pt x="21024" y="30694"/>
                    <a:pt x="21144" y="30626"/>
                  </a:cubicBezTo>
                  <a:lnTo>
                    <a:pt x="21144" y="30626"/>
                  </a:lnTo>
                  <a:cubicBezTo>
                    <a:pt x="21144" y="30626"/>
                    <a:pt x="20990" y="30368"/>
                    <a:pt x="20921" y="30299"/>
                  </a:cubicBezTo>
                  <a:cubicBezTo>
                    <a:pt x="21365" y="29847"/>
                    <a:pt x="21523" y="29187"/>
                    <a:pt x="21333" y="28582"/>
                  </a:cubicBezTo>
                  <a:cubicBezTo>
                    <a:pt x="21471" y="28582"/>
                    <a:pt x="21333" y="28393"/>
                    <a:pt x="21436" y="28358"/>
                  </a:cubicBezTo>
                  <a:cubicBezTo>
                    <a:pt x="21539" y="28324"/>
                    <a:pt x="21265" y="28255"/>
                    <a:pt x="21247" y="28135"/>
                  </a:cubicBezTo>
                  <a:lnTo>
                    <a:pt x="21247" y="28221"/>
                  </a:lnTo>
                  <a:cubicBezTo>
                    <a:pt x="21228" y="27927"/>
                    <a:pt x="21357" y="27644"/>
                    <a:pt x="21591" y="27465"/>
                  </a:cubicBezTo>
                  <a:cubicBezTo>
                    <a:pt x="21952" y="26297"/>
                    <a:pt x="23103" y="25833"/>
                    <a:pt x="23927" y="25043"/>
                  </a:cubicBezTo>
                  <a:cubicBezTo>
                    <a:pt x="23935" y="24883"/>
                    <a:pt x="23935" y="24723"/>
                    <a:pt x="23927" y="24562"/>
                  </a:cubicBezTo>
                  <a:cubicBezTo>
                    <a:pt x="23927" y="24373"/>
                    <a:pt x="24288" y="24288"/>
                    <a:pt x="24133" y="24081"/>
                  </a:cubicBezTo>
                  <a:cubicBezTo>
                    <a:pt x="24677" y="23812"/>
                    <a:pt x="25139" y="23403"/>
                    <a:pt x="25473" y="22896"/>
                  </a:cubicBezTo>
                  <a:cubicBezTo>
                    <a:pt x="25473" y="23240"/>
                    <a:pt x="26005" y="23223"/>
                    <a:pt x="26194" y="23102"/>
                  </a:cubicBezTo>
                  <a:cubicBezTo>
                    <a:pt x="26521" y="23497"/>
                    <a:pt x="27225" y="22828"/>
                    <a:pt x="27586" y="22725"/>
                  </a:cubicBezTo>
                  <a:cubicBezTo>
                    <a:pt x="27946" y="22621"/>
                    <a:pt x="28771" y="22725"/>
                    <a:pt x="29063" y="22587"/>
                  </a:cubicBezTo>
                  <a:cubicBezTo>
                    <a:pt x="29355" y="22450"/>
                    <a:pt x="29286" y="22828"/>
                    <a:pt x="29372" y="22587"/>
                  </a:cubicBezTo>
                  <a:cubicBezTo>
                    <a:pt x="29647" y="22828"/>
                    <a:pt x="29939" y="22450"/>
                    <a:pt x="30162" y="22587"/>
                  </a:cubicBezTo>
                  <a:cubicBezTo>
                    <a:pt x="30162" y="22398"/>
                    <a:pt x="30299" y="22725"/>
                    <a:pt x="30385" y="22776"/>
                  </a:cubicBezTo>
                  <a:cubicBezTo>
                    <a:pt x="30746" y="22415"/>
                    <a:pt x="30488" y="22862"/>
                    <a:pt x="30385" y="23017"/>
                  </a:cubicBezTo>
                  <a:cubicBezTo>
                    <a:pt x="31021" y="23446"/>
                    <a:pt x="29956" y="23618"/>
                    <a:pt x="30385" y="23910"/>
                  </a:cubicBezTo>
                  <a:cubicBezTo>
                    <a:pt x="30385" y="23910"/>
                    <a:pt x="30385" y="23910"/>
                    <a:pt x="30506" y="23910"/>
                  </a:cubicBezTo>
                  <a:cubicBezTo>
                    <a:pt x="30626" y="23910"/>
                    <a:pt x="30506" y="23824"/>
                    <a:pt x="30506" y="23910"/>
                  </a:cubicBezTo>
                  <a:cubicBezTo>
                    <a:pt x="30677" y="24322"/>
                    <a:pt x="31313" y="24013"/>
                    <a:pt x="31622" y="24236"/>
                  </a:cubicBezTo>
                  <a:cubicBezTo>
                    <a:pt x="34851" y="26469"/>
                    <a:pt x="32343" y="23566"/>
                    <a:pt x="34473" y="24236"/>
                  </a:cubicBezTo>
                  <a:cubicBezTo>
                    <a:pt x="34834" y="24580"/>
                    <a:pt x="35641" y="24477"/>
                    <a:pt x="36191" y="24700"/>
                  </a:cubicBezTo>
                  <a:cubicBezTo>
                    <a:pt x="36741" y="24923"/>
                    <a:pt x="36724" y="24597"/>
                    <a:pt x="37084" y="24494"/>
                  </a:cubicBezTo>
                  <a:cubicBezTo>
                    <a:pt x="36844" y="24580"/>
                    <a:pt x="37084" y="24494"/>
                    <a:pt x="37187" y="24494"/>
                  </a:cubicBezTo>
                  <a:cubicBezTo>
                    <a:pt x="37290" y="24494"/>
                    <a:pt x="37187" y="24494"/>
                    <a:pt x="37187" y="24494"/>
                  </a:cubicBezTo>
                  <a:cubicBezTo>
                    <a:pt x="37187" y="24494"/>
                    <a:pt x="37411" y="24494"/>
                    <a:pt x="37462" y="24494"/>
                  </a:cubicBezTo>
                  <a:cubicBezTo>
                    <a:pt x="37514" y="24494"/>
                    <a:pt x="37565" y="24614"/>
                    <a:pt x="37565" y="24665"/>
                  </a:cubicBezTo>
                  <a:cubicBezTo>
                    <a:pt x="37565" y="24717"/>
                    <a:pt x="37565" y="24562"/>
                    <a:pt x="37565" y="24494"/>
                  </a:cubicBezTo>
                  <a:cubicBezTo>
                    <a:pt x="38733" y="24889"/>
                    <a:pt x="38338" y="22776"/>
                    <a:pt x="38407" y="22381"/>
                  </a:cubicBezTo>
                  <a:cubicBezTo>
                    <a:pt x="38218" y="22536"/>
                    <a:pt x="37892" y="22381"/>
                    <a:pt x="37840" y="22656"/>
                  </a:cubicBezTo>
                  <a:cubicBezTo>
                    <a:pt x="37496" y="23051"/>
                    <a:pt x="36775" y="22106"/>
                    <a:pt x="36775" y="22656"/>
                  </a:cubicBezTo>
                  <a:cubicBezTo>
                    <a:pt x="36620" y="22656"/>
                    <a:pt x="36225" y="22828"/>
                    <a:pt x="36277" y="22536"/>
                  </a:cubicBezTo>
                  <a:cubicBezTo>
                    <a:pt x="36277" y="22536"/>
                    <a:pt x="36277" y="22536"/>
                    <a:pt x="36140" y="22536"/>
                  </a:cubicBezTo>
                  <a:cubicBezTo>
                    <a:pt x="36002" y="22536"/>
                    <a:pt x="35951" y="22690"/>
                    <a:pt x="35933" y="22536"/>
                  </a:cubicBezTo>
                  <a:lnTo>
                    <a:pt x="35727" y="22536"/>
                  </a:lnTo>
                  <a:cubicBezTo>
                    <a:pt x="35727" y="22450"/>
                    <a:pt x="35951" y="22536"/>
                    <a:pt x="35951" y="22398"/>
                  </a:cubicBezTo>
                  <a:cubicBezTo>
                    <a:pt x="35951" y="22261"/>
                    <a:pt x="35556" y="22501"/>
                    <a:pt x="35762" y="22398"/>
                  </a:cubicBezTo>
                  <a:cubicBezTo>
                    <a:pt x="35521" y="22244"/>
                    <a:pt x="35762" y="22106"/>
                    <a:pt x="35401" y="22020"/>
                  </a:cubicBezTo>
                  <a:cubicBezTo>
                    <a:pt x="35040" y="21934"/>
                    <a:pt x="35401" y="21883"/>
                    <a:pt x="35401" y="21831"/>
                  </a:cubicBezTo>
                  <a:cubicBezTo>
                    <a:pt x="35401" y="21780"/>
                    <a:pt x="35401" y="21952"/>
                    <a:pt x="35573" y="21831"/>
                  </a:cubicBezTo>
                  <a:lnTo>
                    <a:pt x="35573" y="21831"/>
                  </a:lnTo>
                  <a:cubicBezTo>
                    <a:pt x="35573" y="21831"/>
                    <a:pt x="35710" y="21831"/>
                    <a:pt x="35676" y="21694"/>
                  </a:cubicBezTo>
                  <a:cubicBezTo>
                    <a:pt x="35641" y="21557"/>
                    <a:pt x="35504" y="21522"/>
                    <a:pt x="35676" y="21488"/>
                  </a:cubicBezTo>
                  <a:cubicBezTo>
                    <a:pt x="35195" y="21660"/>
                    <a:pt x="35435" y="20938"/>
                    <a:pt x="35779" y="21179"/>
                  </a:cubicBezTo>
                  <a:cubicBezTo>
                    <a:pt x="35779" y="21041"/>
                    <a:pt x="36071" y="21179"/>
                    <a:pt x="36225" y="21179"/>
                  </a:cubicBezTo>
                  <a:cubicBezTo>
                    <a:pt x="35916" y="21058"/>
                    <a:pt x="36363" y="21076"/>
                    <a:pt x="36397" y="20990"/>
                  </a:cubicBezTo>
                  <a:cubicBezTo>
                    <a:pt x="35676" y="20766"/>
                    <a:pt x="36775" y="20869"/>
                    <a:pt x="36827" y="20784"/>
                  </a:cubicBezTo>
                  <a:cubicBezTo>
                    <a:pt x="36964" y="20406"/>
                    <a:pt x="37479" y="20457"/>
                    <a:pt x="37788" y="20371"/>
                  </a:cubicBezTo>
                  <a:cubicBezTo>
                    <a:pt x="37788" y="20543"/>
                    <a:pt x="37960" y="20560"/>
                    <a:pt x="38063" y="20371"/>
                  </a:cubicBezTo>
                  <a:cubicBezTo>
                    <a:pt x="38166" y="20182"/>
                    <a:pt x="38201" y="20663"/>
                    <a:pt x="38287" y="20526"/>
                  </a:cubicBezTo>
                  <a:cubicBezTo>
                    <a:pt x="40760" y="21024"/>
                    <a:pt x="38991" y="19324"/>
                    <a:pt x="37857" y="19049"/>
                  </a:cubicBezTo>
                  <a:cubicBezTo>
                    <a:pt x="37857" y="19049"/>
                    <a:pt x="37857" y="19049"/>
                    <a:pt x="37857" y="18911"/>
                  </a:cubicBezTo>
                  <a:cubicBezTo>
                    <a:pt x="37857" y="18774"/>
                    <a:pt x="38063" y="18911"/>
                    <a:pt x="37977" y="18791"/>
                  </a:cubicBezTo>
                  <a:cubicBezTo>
                    <a:pt x="37892" y="18671"/>
                    <a:pt x="38201" y="18637"/>
                    <a:pt x="37977" y="18551"/>
                  </a:cubicBezTo>
                  <a:cubicBezTo>
                    <a:pt x="37754" y="18465"/>
                    <a:pt x="37874" y="18551"/>
                    <a:pt x="37857" y="18448"/>
                  </a:cubicBezTo>
                  <a:cubicBezTo>
                    <a:pt x="37840" y="18345"/>
                    <a:pt x="38029" y="18448"/>
                    <a:pt x="38029" y="18448"/>
                  </a:cubicBezTo>
                  <a:cubicBezTo>
                    <a:pt x="38029" y="18448"/>
                    <a:pt x="38166" y="18310"/>
                    <a:pt x="38132" y="18224"/>
                  </a:cubicBezTo>
                  <a:cubicBezTo>
                    <a:pt x="38098" y="18138"/>
                    <a:pt x="37651" y="18224"/>
                    <a:pt x="37548" y="18499"/>
                  </a:cubicBezTo>
                  <a:cubicBezTo>
                    <a:pt x="37548" y="18499"/>
                    <a:pt x="37445" y="18585"/>
                    <a:pt x="37359" y="18499"/>
                  </a:cubicBezTo>
                  <a:cubicBezTo>
                    <a:pt x="37273" y="18413"/>
                    <a:pt x="37256" y="18499"/>
                    <a:pt x="37204" y="18499"/>
                  </a:cubicBezTo>
                  <a:cubicBezTo>
                    <a:pt x="37153" y="18499"/>
                    <a:pt x="37204" y="18774"/>
                    <a:pt x="37204" y="18705"/>
                  </a:cubicBezTo>
                  <a:cubicBezTo>
                    <a:pt x="37204" y="18637"/>
                    <a:pt x="37204" y="18585"/>
                    <a:pt x="37204" y="18568"/>
                  </a:cubicBezTo>
                  <a:cubicBezTo>
                    <a:pt x="37204" y="18551"/>
                    <a:pt x="36964" y="18722"/>
                    <a:pt x="36878" y="18791"/>
                  </a:cubicBezTo>
                  <a:cubicBezTo>
                    <a:pt x="36792" y="18860"/>
                    <a:pt x="37170" y="18791"/>
                    <a:pt x="37136" y="18946"/>
                  </a:cubicBezTo>
                  <a:cubicBezTo>
                    <a:pt x="37101" y="19100"/>
                    <a:pt x="37136" y="18946"/>
                    <a:pt x="37136" y="18946"/>
                  </a:cubicBezTo>
                  <a:cubicBezTo>
                    <a:pt x="37136" y="18946"/>
                    <a:pt x="37136" y="19066"/>
                    <a:pt x="37325" y="19049"/>
                  </a:cubicBezTo>
                  <a:cubicBezTo>
                    <a:pt x="37514" y="19032"/>
                    <a:pt x="37016" y="18825"/>
                    <a:pt x="37084" y="18705"/>
                  </a:cubicBezTo>
                  <a:cubicBezTo>
                    <a:pt x="37153" y="18585"/>
                    <a:pt x="37273" y="18980"/>
                    <a:pt x="37393" y="19014"/>
                  </a:cubicBezTo>
                  <a:cubicBezTo>
                    <a:pt x="37514" y="19049"/>
                    <a:pt x="37393" y="19014"/>
                    <a:pt x="37514" y="19014"/>
                  </a:cubicBezTo>
                  <a:cubicBezTo>
                    <a:pt x="37634" y="19014"/>
                    <a:pt x="37617" y="18929"/>
                    <a:pt x="37685" y="18929"/>
                  </a:cubicBezTo>
                  <a:cubicBezTo>
                    <a:pt x="37754" y="18929"/>
                    <a:pt x="37685" y="19152"/>
                    <a:pt x="37462" y="19100"/>
                  </a:cubicBezTo>
                  <a:cubicBezTo>
                    <a:pt x="37239" y="19049"/>
                    <a:pt x="36861" y="19650"/>
                    <a:pt x="36912" y="19100"/>
                  </a:cubicBezTo>
                  <a:cubicBezTo>
                    <a:pt x="36775" y="18980"/>
                    <a:pt x="36466" y="19100"/>
                    <a:pt x="36758" y="18860"/>
                  </a:cubicBezTo>
                  <a:cubicBezTo>
                    <a:pt x="37050" y="18619"/>
                    <a:pt x="36620" y="18602"/>
                    <a:pt x="36500" y="18740"/>
                  </a:cubicBezTo>
                  <a:cubicBezTo>
                    <a:pt x="36380" y="18877"/>
                    <a:pt x="36311" y="18740"/>
                    <a:pt x="36380" y="18619"/>
                  </a:cubicBezTo>
                  <a:cubicBezTo>
                    <a:pt x="36449" y="18499"/>
                    <a:pt x="36191" y="18619"/>
                    <a:pt x="36157" y="18619"/>
                  </a:cubicBezTo>
                  <a:cubicBezTo>
                    <a:pt x="36122" y="18619"/>
                    <a:pt x="36380" y="18619"/>
                    <a:pt x="36449" y="18619"/>
                  </a:cubicBezTo>
                  <a:cubicBezTo>
                    <a:pt x="36396" y="18670"/>
                    <a:pt x="36313" y="18670"/>
                    <a:pt x="36260" y="18619"/>
                  </a:cubicBezTo>
                  <a:cubicBezTo>
                    <a:pt x="36260" y="18791"/>
                    <a:pt x="36122" y="18619"/>
                    <a:pt x="36088" y="18740"/>
                  </a:cubicBezTo>
                  <a:cubicBezTo>
                    <a:pt x="36054" y="18860"/>
                    <a:pt x="36088" y="18929"/>
                    <a:pt x="35916" y="18946"/>
                  </a:cubicBezTo>
                  <a:cubicBezTo>
                    <a:pt x="35744" y="18963"/>
                    <a:pt x="35916" y="19221"/>
                    <a:pt x="35796" y="19083"/>
                  </a:cubicBezTo>
                  <a:cubicBezTo>
                    <a:pt x="35916" y="19392"/>
                    <a:pt x="35796" y="19409"/>
                    <a:pt x="35607" y="19598"/>
                  </a:cubicBezTo>
                  <a:cubicBezTo>
                    <a:pt x="35418" y="19787"/>
                    <a:pt x="35607" y="19856"/>
                    <a:pt x="35607" y="19993"/>
                  </a:cubicBezTo>
                  <a:cubicBezTo>
                    <a:pt x="35607" y="20131"/>
                    <a:pt x="35401" y="20097"/>
                    <a:pt x="35470" y="20251"/>
                  </a:cubicBezTo>
                  <a:cubicBezTo>
                    <a:pt x="35538" y="20406"/>
                    <a:pt x="35607" y="20440"/>
                    <a:pt x="35607" y="20698"/>
                  </a:cubicBezTo>
                  <a:cubicBezTo>
                    <a:pt x="35607" y="20955"/>
                    <a:pt x="36054" y="20835"/>
                    <a:pt x="35899" y="20990"/>
                  </a:cubicBezTo>
                  <a:cubicBezTo>
                    <a:pt x="35744" y="21144"/>
                    <a:pt x="35435" y="21144"/>
                    <a:pt x="35212" y="21333"/>
                  </a:cubicBezTo>
                  <a:cubicBezTo>
                    <a:pt x="35212" y="21230"/>
                    <a:pt x="35212" y="21179"/>
                    <a:pt x="35315" y="21144"/>
                  </a:cubicBezTo>
                  <a:cubicBezTo>
                    <a:pt x="35109" y="21144"/>
                    <a:pt x="34851" y="20887"/>
                    <a:pt x="34731" y="21144"/>
                  </a:cubicBezTo>
                  <a:cubicBezTo>
                    <a:pt x="34559" y="21144"/>
                    <a:pt x="34611" y="21144"/>
                    <a:pt x="34491" y="21230"/>
                  </a:cubicBezTo>
                  <a:cubicBezTo>
                    <a:pt x="34370" y="21316"/>
                    <a:pt x="34491" y="21333"/>
                    <a:pt x="34611" y="21385"/>
                  </a:cubicBezTo>
                  <a:cubicBezTo>
                    <a:pt x="34731" y="21436"/>
                    <a:pt x="34422" y="21299"/>
                    <a:pt x="34439" y="21385"/>
                  </a:cubicBezTo>
                  <a:cubicBezTo>
                    <a:pt x="34456" y="21471"/>
                    <a:pt x="34559" y="21385"/>
                    <a:pt x="34439" y="21471"/>
                  </a:cubicBezTo>
                  <a:cubicBezTo>
                    <a:pt x="34319" y="21557"/>
                    <a:pt x="34164" y="21350"/>
                    <a:pt x="34439" y="21471"/>
                  </a:cubicBezTo>
                  <a:cubicBezTo>
                    <a:pt x="34302" y="21471"/>
                    <a:pt x="34250" y="21333"/>
                    <a:pt x="34164" y="21282"/>
                  </a:cubicBezTo>
                  <a:cubicBezTo>
                    <a:pt x="34078" y="21230"/>
                    <a:pt x="33924" y="21402"/>
                    <a:pt x="34164" y="21522"/>
                  </a:cubicBezTo>
                  <a:cubicBezTo>
                    <a:pt x="34405" y="21642"/>
                    <a:pt x="34542" y="21986"/>
                    <a:pt x="34164" y="21728"/>
                  </a:cubicBezTo>
                  <a:cubicBezTo>
                    <a:pt x="34164" y="21728"/>
                    <a:pt x="34164" y="21728"/>
                    <a:pt x="34164" y="21728"/>
                  </a:cubicBezTo>
                  <a:cubicBezTo>
                    <a:pt x="34164" y="21728"/>
                    <a:pt x="34164" y="21849"/>
                    <a:pt x="34164" y="21831"/>
                  </a:cubicBezTo>
                  <a:cubicBezTo>
                    <a:pt x="34353" y="21969"/>
                    <a:pt x="34680" y="22020"/>
                    <a:pt x="34662" y="22295"/>
                  </a:cubicBezTo>
                  <a:cubicBezTo>
                    <a:pt x="34542" y="22295"/>
                    <a:pt x="34473" y="22175"/>
                    <a:pt x="34336" y="22295"/>
                  </a:cubicBezTo>
                  <a:cubicBezTo>
                    <a:pt x="34199" y="22415"/>
                    <a:pt x="34645" y="22536"/>
                    <a:pt x="34456" y="22467"/>
                  </a:cubicBezTo>
                  <a:cubicBezTo>
                    <a:pt x="34267" y="22398"/>
                    <a:pt x="34456" y="22467"/>
                    <a:pt x="34456" y="22467"/>
                  </a:cubicBezTo>
                  <a:cubicBezTo>
                    <a:pt x="34456" y="22467"/>
                    <a:pt x="34456" y="22707"/>
                    <a:pt x="34456" y="22776"/>
                  </a:cubicBezTo>
                  <a:cubicBezTo>
                    <a:pt x="34456" y="22845"/>
                    <a:pt x="34216" y="22587"/>
                    <a:pt x="34250" y="22776"/>
                  </a:cubicBezTo>
                  <a:cubicBezTo>
                    <a:pt x="34250" y="22621"/>
                    <a:pt x="34147" y="22639"/>
                    <a:pt x="34078" y="22518"/>
                  </a:cubicBezTo>
                  <a:cubicBezTo>
                    <a:pt x="34010" y="22398"/>
                    <a:pt x="34078" y="22604"/>
                    <a:pt x="34078" y="22656"/>
                  </a:cubicBezTo>
                  <a:cubicBezTo>
                    <a:pt x="33988" y="22604"/>
                    <a:pt x="33946" y="22498"/>
                    <a:pt x="33975" y="22398"/>
                  </a:cubicBezTo>
                  <a:cubicBezTo>
                    <a:pt x="33855" y="22295"/>
                    <a:pt x="33666" y="22226"/>
                    <a:pt x="33855" y="22089"/>
                  </a:cubicBezTo>
                  <a:cubicBezTo>
                    <a:pt x="34044" y="21952"/>
                    <a:pt x="34199" y="22261"/>
                    <a:pt x="34353" y="22089"/>
                  </a:cubicBezTo>
                  <a:cubicBezTo>
                    <a:pt x="34216" y="22089"/>
                    <a:pt x="34061" y="21917"/>
                    <a:pt x="33958" y="22089"/>
                  </a:cubicBezTo>
                  <a:cubicBezTo>
                    <a:pt x="33855" y="22261"/>
                    <a:pt x="33838" y="21969"/>
                    <a:pt x="33786" y="22089"/>
                  </a:cubicBezTo>
                  <a:cubicBezTo>
                    <a:pt x="33546" y="21849"/>
                    <a:pt x="33374" y="21471"/>
                    <a:pt x="33065" y="21316"/>
                  </a:cubicBezTo>
                  <a:cubicBezTo>
                    <a:pt x="33065" y="21127"/>
                    <a:pt x="33065" y="20921"/>
                    <a:pt x="33065" y="20732"/>
                  </a:cubicBezTo>
                  <a:cubicBezTo>
                    <a:pt x="32859" y="20732"/>
                    <a:pt x="32739" y="20457"/>
                    <a:pt x="32584" y="20320"/>
                  </a:cubicBezTo>
                  <a:cubicBezTo>
                    <a:pt x="32429" y="20182"/>
                    <a:pt x="32326" y="20320"/>
                    <a:pt x="32275" y="20320"/>
                  </a:cubicBezTo>
                  <a:cubicBezTo>
                    <a:pt x="32223" y="20320"/>
                    <a:pt x="32275" y="20320"/>
                    <a:pt x="32395" y="20320"/>
                  </a:cubicBezTo>
                  <a:cubicBezTo>
                    <a:pt x="32515" y="20320"/>
                    <a:pt x="32103" y="20062"/>
                    <a:pt x="31931" y="20131"/>
                  </a:cubicBezTo>
                  <a:cubicBezTo>
                    <a:pt x="31759" y="20200"/>
                    <a:pt x="31416" y="19839"/>
                    <a:pt x="31742" y="19856"/>
                  </a:cubicBezTo>
                  <a:cubicBezTo>
                    <a:pt x="31347" y="19616"/>
                    <a:pt x="31536" y="19135"/>
                    <a:pt x="31175" y="19633"/>
                  </a:cubicBezTo>
                  <a:cubicBezTo>
                    <a:pt x="31175" y="19530"/>
                    <a:pt x="31038" y="19409"/>
                    <a:pt x="31175" y="19306"/>
                  </a:cubicBezTo>
                  <a:cubicBezTo>
                    <a:pt x="31313" y="19203"/>
                    <a:pt x="30832" y="19306"/>
                    <a:pt x="30746" y="19427"/>
                  </a:cubicBezTo>
                  <a:cubicBezTo>
                    <a:pt x="30746" y="19942"/>
                    <a:pt x="31347" y="20268"/>
                    <a:pt x="31656" y="20681"/>
                  </a:cubicBezTo>
                  <a:cubicBezTo>
                    <a:pt x="31811" y="20681"/>
                    <a:pt x="32223" y="20681"/>
                    <a:pt x="31983" y="20887"/>
                  </a:cubicBezTo>
                  <a:cubicBezTo>
                    <a:pt x="32223" y="21024"/>
                    <a:pt x="32979" y="21161"/>
                    <a:pt x="32807" y="21539"/>
                  </a:cubicBezTo>
                  <a:cubicBezTo>
                    <a:pt x="32653" y="21539"/>
                    <a:pt x="32807" y="21282"/>
                    <a:pt x="32532" y="21333"/>
                  </a:cubicBezTo>
                  <a:cubicBezTo>
                    <a:pt x="32258" y="21385"/>
                    <a:pt x="32258" y="21539"/>
                    <a:pt x="32309" y="21625"/>
                  </a:cubicBezTo>
                  <a:cubicBezTo>
                    <a:pt x="32670" y="21728"/>
                    <a:pt x="32309" y="21934"/>
                    <a:pt x="32309" y="22141"/>
                  </a:cubicBezTo>
                  <a:cubicBezTo>
                    <a:pt x="32309" y="22347"/>
                    <a:pt x="31845" y="22415"/>
                    <a:pt x="32086" y="22141"/>
                  </a:cubicBezTo>
                  <a:cubicBezTo>
                    <a:pt x="32197" y="21856"/>
                    <a:pt x="32069" y="21534"/>
                    <a:pt x="31794" y="21402"/>
                  </a:cubicBezTo>
                  <a:cubicBezTo>
                    <a:pt x="31639" y="21402"/>
                    <a:pt x="31794" y="21282"/>
                    <a:pt x="31656" y="21230"/>
                  </a:cubicBezTo>
                  <a:cubicBezTo>
                    <a:pt x="31518" y="21226"/>
                    <a:pt x="31393" y="21147"/>
                    <a:pt x="31330" y="21024"/>
                  </a:cubicBezTo>
                  <a:cubicBezTo>
                    <a:pt x="30317" y="21024"/>
                    <a:pt x="30145" y="18980"/>
                    <a:pt x="29080" y="20217"/>
                  </a:cubicBezTo>
                  <a:cubicBezTo>
                    <a:pt x="29080" y="20423"/>
                    <a:pt x="28736" y="20217"/>
                    <a:pt x="28633" y="20114"/>
                  </a:cubicBezTo>
                  <a:cubicBezTo>
                    <a:pt x="27568" y="19993"/>
                    <a:pt x="28633" y="20921"/>
                    <a:pt x="27448" y="21093"/>
                  </a:cubicBezTo>
                  <a:cubicBezTo>
                    <a:pt x="27534" y="21093"/>
                    <a:pt x="27448" y="21265"/>
                    <a:pt x="27448" y="21213"/>
                  </a:cubicBezTo>
                  <a:cubicBezTo>
                    <a:pt x="26744" y="21763"/>
                    <a:pt x="27448" y="21728"/>
                    <a:pt x="27191" y="22003"/>
                  </a:cubicBezTo>
                  <a:cubicBezTo>
                    <a:pt x="26950" y="22003"/>
                    <a:pt x="27070" y="22450"/>
                    <a:pt x="26847" y="22398"/>
                  </a:cubicBezTo>
                  <a:cubicBezTo>
                    <a:pt x="26418" y="22862"/>
                    <a:pt x="25919" y="22398"/>
                    <a:pt x="25421" y="22896"/>
                  </a:cubicBezTo>
                  <a:cubicBezTo>
                    <a:pt x="25095" y="22896"/>
                    <a:pt x="25147" y="22192"/>
                    <a:pt x="24700" y="22501"/>
                  </a:cubicBezTo>
                  <a:cubicBezTo>
                    <a:pt x="24700" y="22501"/>
                    <a:pt x="24494" y="22364"/>
                    <a:pt x="24408" y="22501"/>
                  </a:cubicBezTo>
                  <a:cubicBezTo>
                    <a:pt x="24426" y="22310"/>
                    <a:pt x="24460" y="22120"/>
                    <a:pt x="24511" y="21934"/>
                  </a:cubicBezTo>
                  <a:cubicBezTo>
                    <a:pt x="24185" y="21934"/>
                    <a:pt x="24511" y="21934"/>
                    <a:pt x="24511" y="21763"/>
                  </a:cubicBezTo>
                  <a:cubicBezTo>
                    <a:pt x="24099" y="22020"/>
                    <a:pt x="24614" y="21299"/>
                    <a:pt x="24631" y="21144"/>
                  </a:cubicBezTo>
                  <a:cubicBezTo>
                    <a:pt x="24648" y="20990"/>
                    <a:pt x="24631" y="20595"/>
                    <a:pt x="24734" y="20457"/>
                  </a:cubicBezTo>
                  <a:lnTo>
                    <a:pt x="24734" y="20457"/>
                  </a:lnTo>
                  <a:cubicBezTo>
                    <a:pt x="24734" y="20457"/>
                    <a:pt x="24734" y="20457"/>
                    <a:pt x="24734" y="20337"/>
                  </a:cubicBezTo>
                  <a:cubicBezTo>
                    <a:pt x="24734" y="20217"/>
                    <a:pt x="24734" y="20337"/>
                    <a:pt x="24734" y="20234"/>
                  </a:cubicBezTo>
                  <a:cubicBezTo>
                    <a:pt x="24734" y="20131"/>
                    <a:pt x="24940" y="20097"/>
                    <a:pt x="25026" y="20045"/>
                  </a:cubicBezTo>
                  <a:cubicBezTo>
                    <a:pt x="25112" y="19993"/>
                    <a:pt x="25404" y="20045"/>
                    <a:pt x="25490" y="20045"/>
                  </a:cubicBezTo>
                  <a:cubicBezTo>
                    <a:pt x="25851" y="20045"/>
                    <a:pt x="26246" y="20217"/>
                    <a:pt x="26607" y="20131"/>
                  </a:cubicBezTo>
                  <a:cubicBezTo>
                    <a:pt x="27242" y="20629"/>
                    <a:pt x="26847" y="18911"/>
                    <a:pt x="27276" y="19564"/>
                  </a:cubicBezTo>
                  <a:cubicBezTo>
                    <a:pt x="27276" y="19461"/>
                    <a:pt x="27173" y="19306"/>
                    <a:pt x="27053" y="19289"/>
                  </a:cubicBezTo>
                  <a:cubicBezTo>
                    <a:pt x="27225" y="19066"/>
                    <a:pt x="26899" y="19014"/>
                    <a:pt x="26813" y="18860"/>
                  </a:cubicBezTo>
                  <a:cubicBezTo>
                    <a:pt x="26727" y="18705"/>
                    <a:pt x="26813" y="18619"/>
                    <a:pt x="26950" y="18722"/>
                  </a:cubicBezTo>
                  <a:cubicBezTo>
                    <a:pt x="26847" y="18568"/>
                    <a:pt x="26727" y="18825"/>
                    <a:pt x="26727" y="18551"/>
                  </a:cubicBezTo>
                  <a:cubicBezTo>
                    <a:pt x="26607" y="18551"/>
                    <a:pt x="26400" y="18345"/>
                    <a:pt x="26229" y="18465"/>
                  </a:cubicBezTo>
                  <a:cubicBezTo>
                    <a:pt x="26057" y="18585"/>
                    <a:pt x="26229" y="18465"/>
                    <a:pt x="26229" y="18345"/>
                  </a:cubicBezTo>
                  <a:cubicBezTo>
                    <a:pt x="26229" y="18224"/>
                    <a:pt x="26332" y="18190"/>
                    <a:pt x="26229" y="18345"/>
                  </a:cubicBezTo>
                  <a:cubicBezTo>
                    <a:pt x="26126" y="18499"/>
                    <a:pt x="26229" y="18345"/>
                    <a:pt x="26229" y="18345"/>
                  </a:cubicBezTo>
                  <a:cubicBezTo>
                    <a:pt x="25851" y="18224"/>
                    <a:pt x="26435" y="18207"/>
                    <a:pt x="26555" y="18121"/>
                  </a:cubicBezTo>
                  <a:cubicBezTo>
                    <a:pt x="26692" y="18293"/>
                    <a:pt x="26795" y="18121"/>
                    <a:pt x="27019" y="18241"/>
                  </a:cubicBezTo>
                  <a:cubicBezTo>
                    <a:pt x="26989" y="18096"/>
                    <a:pt x="26949" y="17952"/>
                    <a:pt x="26899" y="17812"/>
                  </a:cubicBezTo>
                  <a:cubicBezTo>
                    <a:pt x="26899" y="17812"/>
                    <a:pt x="27053" y="17812"/>
                    <a:pt x="27105" y="17812"/>
                  </a:cubicBezTo>
                  <a:cubicBezTo>
                    <a:pt x="27156" y="17812"/>
                    <a:pt x="27397" y="18001"/>
                    <a:pt x="27500" y="17812"/>
                  </a:cubicBezTo>
                  <a:cubicBezTo>
                    <a:pt x="27259" y="17623"/>
                    <a:pt x="27775" y="17709"/>
                    <a:pt x="27775" y="17606"/>
                  </a:cubicBezTo>
                  <a:cubicBezTo>
                    <a:pt x="27775" y="17503"/>
                    <a:pt x="27860" y="17383"/>
                    <a:pt x="27895" y="17280"/>
                  </a:cubicBezTo>
                  <a:cubicBezTo>
                    <a:pt x="27929" y="17177"/>
                    <a:pt x="28204" y="16988"/>
                    <a:pt x="28444" y="17125"/>
                  </a:cubicBezTo>
                  <a:cubicBezTo>
                    <a:pt x="28273" y="17125"/>
                    <a:pt x="28221" y="16919"/>
                    <a:pt x="28444" y="17125"/>
                  </a:cubicBezTo>
                  <a:cubicBezTo>
                    <a:pt x="28668" y="17331"/>
                    <a:pt x="28324" y="17005"/>
                    <a:pt x="28547" y="17022"/>
                  </a:cubicBezTo>
                  <a:cubicBezTo>
                    <a:pt x="28187" y="16764"/>
                    <a:pt x="28925" y="16112"/>
                    <a:pt x="29286" y="16438"/>
                  </a:cubicBezTo>
                  <a:cubicBezTo>
                    <a:pt x="29028" y="16249"/>
                    <a:pt x="29389" y="16112"/>
                    <a:pt x="29458" y="16438"/>
                  </a:cubicBezTo>
                  <a:cubicBezTo>
                    <a:pt x="29458" y="16197"/>
                    <a:pt x="29458" y="16438"/>
                    <a:pt x="29595" y="16438"/>
                  </a:cubicBezTo>
                  <a:cubicBezTo>
                    <a:pt x="29441" y="16026"/>
                    <a:pt x="29750" y="16232"/>
                    <a:pt x="29956" y="16301"/>
                  </a:cubicBezTo>
                  <a:cubicBezTo>
                    <a:pt x="29389" y="16043"/>
                    <a:pt x="29544" y="15493"/>
                    <a:pt x="29389" y="15115"/>
                  </a:cubicBezTo>
                  <a:cubicBezTo>
                    <a:pt x="29630" y="15115"/>
                    <a:pt x="29527" y="14961"/>
                    <a:pt x="29664" y="15115"/>
                  </a:cubicBezTo>
                  <a:cubicBezTo>
                    <a:pt x="29664" y="14634"/>
                    <a:pt x="29836" y="15115"/>
                    <a:pt x="30025" y="15115"/>
                  </a:cubicBezTo>
                  <a:cubicBezTo>
                    <a:pt x="30025" y="15373"/>
                    <a:pt x="29527" y="15528"/>
                    <a:pt x="29922" y="16009"/>
                  </a:cubicBezTo>
                  <a:cubicBezTo>
                    <a:pt x="29922" y="15888"/>
                    <a:pt x="30334" y="16009"/>
                    <a:pt x="30059" y="16094"/>
                  </a:cubicBezTo>
                  <a:cubicBezTo>
                    <a:pt x="30591" y="16094"/>
                    <a:pt x="30385" y="15768"/>
                    <a:pt x="30883" y="16094"/>
                  </a:cubicBezTo>
                  <a:cubicBezTo>
                    <a:pt x="31124" y="16472"/>
                    <a:pt x="31656" y="15356"/>
                    <a:pt x="32103" y="15768"/>
                  </a:cubicBezTo>
                  <a:cubicBezTo>
                    <a:pt x="31828" y="15768"/>
                    <a:pt x="32103" y="16043"/>
                    <a:pt x="32326" y="15768"/>
                  </a:cubicBezTo>
                  <a:cubicBezTo>
                    <a:pt x="32299" y="15829"/>
                    <a:pt x="32250" y="15878"/>
                    <a:pt x="32189" y="15905"/>
                  </a:cubicBezTo>
                  <a:cubicBezTo>
                    <a:pt x="34078" y="15820"/>
                    <a:pt x="31656" y="15270"/>
                    <a:pt x="32704" y="14497"/>
                  </a:cubicBezTo>
                  <a:cubicBezTo>
                    <a:pt x="33082" y="15081"/>
                    <a:pt x="33202" y="14686"/>
                    <a:pt x="33031" y="14222"/>
                  </a:cubicBezTo>
                  <a:cubicBezTo>
                    <a:pt x="33031" y="14428"/>
                    <a:pt x="32739" y="14222"/>
                    <a:pt x="32842" y="14068"/>
                  </a:cubicBezTo>
                  <a:cubicBezTo>
                    <a:pt x="32532" y="14068"/>
                    <a:pt x="32842" y="13758"/>
                    <a:pt x="32842" y="13690"/>
                  </a:cubicBezTo>
                  <a:cubicBezTo>
                    <a:pt x="32842" y="13621"/>
                    <a:pt x="33082" y="13690"/>
                    <a:pt x="32979" y="13690"/>
                  </a:cubicBezTo>
                  <a:lnTo>
                    <a:pt x="33615" y="13793"/>
                  </a:lnTo>
                  <a:cubicBezTo>
                    <a:pt x="33426" y="13501"/>
                    <a:pt x="33615" y="13690"/>
                    <a:pt x="33752" y="13466"/>
                  </a:cubicBezTo>
                  <a:cubicBezTo>
                    <a:pt x="33889" y="13243"/>
                    <a:pt x="33305" y="13363"/>
                    <a:pt x="33546" y="13192"/>
                  </a:cubicBezTo>
                  <a:cubicBezTo>
                    <a:pt x="33546" y="13192"/>
                    <a:pt x="33426" y="13295"/>
                    <a:pt x="33408" y="13192"/>
                  </a:cubicBezTo>
                  <a:cubicBezTo>
                    <a:pt x="33408" y="13346"/>
                    <a:pt x="33099" y="13363"/>
                    <a:pt x="33031" y="13312"/>
                  </a:cubicBezTo>
                  <a:cubicBezTo>
                    <a:pt x="32962" y="13260"/>
                    <a:pt x="33031" y="13312"/>
                    <a:pt x="33031" y="13312"/>
                  </a:cubicBezTo>
                  <a:cubicBezTo>
                    <a:pt x="33031" y="13312"/>
                    <a:pt x="33031" y="13552"/>
                    <a:pt x="33031" y="13312"/>
                  </a:cubicBezTo>
                  <a:cubicBezTo>
                    <a:pt x="33031" y="13449"/>
                    <a:pt x="32601" y="13466"/>
                    <a:pt x="32567" y="13621"/>
                  </a:cubicBezTo>
                  <a:cubicBezTo>
                    <a:pt x="32567" y="13312"/>
                    <a:pt x="32412" y="13415"/>
                    <a:pt x="32172" y="13260"/>
                  </a:cubicBezTo>
                  <a:cubicBezTo>
                    <a:pt x="31931" y="13106"/>
                    <a:pt x="31691" y="12144"/>
                    <a:pt x="31914" y="12058"/>
                  </a:cubicBezTo>
                  <a:cubicBezTo>
                    <a:pt x="32137" y="11972"/>
                    <a:pt x="31914" y="11972"/>
                    <a:pt x="32017" y="12058"/>
                  </a:cubicBezTo>
                  <a:cubicBezTo>
                    <a:pt x="32120" y="12144"/>
                    <a:pt x="32017" y="11921"/>
                    <a:pt x="32017" y="11817"/>
                  </a:cubicBezTo>
                  <a:cubicBezTo>
                    <a:pt x="32017" y="11714"/>
                    <a:pt x="32240" y="11354"/>
                    <a:pt x="32309" y="11457"/>
                  </a:cubicBezTo>
                  <a:cubicBezTo>
                    <a:pt x="32103" y="11010"/>
                    <a:pt x="31708" y="11148"/>
                    <a:pt x="31502" y="11182"/>
                  </a:cubicBezTo>
                  <a:cubicBezTo>
                    <a:pt x="31622" y="11354"/>
                    <a:pt x="31502" y="11577"/>
                    <a:pt x="31656" y="11714"/>
                  </a:cubicBezTo>
                  <a:cubicBezTo>
                    <a:pt x="31532" y="12056"/>
                    <a:pt x="31318" y="12359"/>
                    <a:pt x="31038" y="12590"/>
                  </a:cubicBezTo>
                  <a:cubicBezTo>
                    <a:pt x="31158" y="12676"/>
                    <a:pt x="31038" y="12848"/>
                    <a:pt x="31175" y="12968"/>
                  </a:cubicBezTo>
                  <a:cubicBezTo>
                    <a:pt x="30883" y="13123"/>
                    <a:pt x="32189" y="13999"/>
                    <a:pt x="31382" y="13793"/>
                  </a:cubicBezTo>
                  <a:cubicBezTo>
                    <a:pt x="31382" y="13793"/>
                    <a:pt x="30901" y="13793"/>
                    <a:pt x="31210" y="13913"/>
                  </a:cubicBezTo>
                  <a:cubicBezTo>
                    <a:pt x="31519" y="14033"/>
                    <a:pt x="31811" y="14119"/>
                    <a:pt x="31485" y="14050"/>
                  </a:cubicBezTo>
                  <a:cubicBezTo>
                    <a:pt x="31485" y="14050"/>
                    <a:pt x="31485" y="14257"/>
                    <a:pt x="31364" y="14188"/>
                  </a:cubicBezTo>
                  <a:cubicBezTo>
                    <a:pt x="31244" y="14119"/>
                    <a:pt x="31467" y="14325"/>
                    <a:pt x="31364" y="14342"/>
                  </a:cubicBezTo>
                  <a:cubicBezTo>
                    <a:pt x="31485" y="14342"/>
                    <a:pt x="31519" y="14600"/>
                    <a:pt x="31364" y="14514"/>
                  </a:cubicBezTo>
                  <a:cubicBezTo>
                    <a:pt x="31502" y="14789"/>
                    <a:pt x="31519" y="15510"/>
                    <a:pt x="31090" y="15236"/>
                  </a:cubicBezTo>
                  <a:cubicBezTo>
                    <a:pt x="30815" y="16301"/>
                    <a:pt x="30059" y="14153"/>
                    <a:pt x="30162" y="14050"/>
                  </a:cubicBezTo>
                  <a:cubicBezTo>
                    <a:pt x="29990" y="13947"/>
                    <a:pt x="29939" y="13844"/>
                    <a:pt x="29939" y="13810"/>
                  </a:cubicBezTo>
                  <a:cubicBezTo>
                    <a:pt x="29958" y="13906"/>
                    <a:pt x="29958" y="14006"/>
                    <a:pt x="29939" y="14102"/>
                  </a:cubicBezTo>
                  <a:cubicBezTo>
                    <a:pt x="29939" y="14102"/>
                    <a:pt x="29939" y="14102"/>
                    <a:pt x="29733" y="13965"/>
                  </a:cubicBezTo>
                  <a:cubicBezTo>
                    <a:pt x="29733" y="14119"/>
                    <a:pt x="29733" y="14360"/>
                    <a:pt x="29595" y="14291"/>
                  </a:cubicBezTo>
                  <a:cubicBezTo>
                    <a:pt x="29733" y="14463"/>
                    <a:pt x="29286" y="14583"/>
                    <a:pt x="29183" y="14428"/>
                  </a:cubicBezTo>
                  <a:cubicBezTo>
                    <a:pt x="29080" y="14549"/>
                    <a:pt x="28651" y="14050"/>
                    <a:pt x="29183" y="14102"/>
                  </a:cubicBezTo>
                  <a:cubicBezTo>
                    <a:pt x="28960" y="14102"/>
                    <a:pt x="29183" y="13999"/>
                    <a:pt x="29011" y="13879"/>
                  </a:cubicBezTo>
                  <a:cubicBezTo>
                    <a:pt x="29011" y="14188"/>
                    <a:pt x="28771" y="13690"/>
                    <a:pt x="29011" y="13879"/>
                  </a:cubicBezTo>
                  <a:cubicBezTo>
                    <a:pt x="29252" y="14068"/>
                    <a:pt x="29011" y="13879"/>
                    <a:pt x="29166" y="13776"/>
                  </a:cubicBezTo>
                  <a:cubicBezTo>
                    <a:pt x="28960" y="13776"/>
                    <a:pt x="29166" y="13449"/>
                    <a:pt x="29166" y="13655"/>
                  </a:cubicBezTo>
                  <a:cubicBezTo>
                    <a:pt x="29118" y="13609"/>
                    <a:pt x="29118" y="13533"/>
                    <a:pt x="29164" y="13485"/>
                  </a:cubicBezTo>
                  <a:cubicBezTo>
                    <a:pt x="29165" y="13485"/>
                    <a:pt x="29165" y="13484"/>
                    <a:pt x="29166" y="13484"/>
                  </a:cubicBezTo>
                  <a:cubicBezTo>
                    <a:pt x="28943" y="13569"/>
                    <a:pt x="28822" y="13724"/>
                    <a:pt x="28943" y="13484"/>
                  </a:cubicBezTo>
                  <a:cubicBezTo>
                    <a:pt x="28788" y="13484"/>
                    <a:pt x="28736" y="13569"/>
                    <a:pt x="28943" y="13381"/>
                  </a:cubicBezTo>
                  <a:cubicBezTo>
                    <a:pt x="28599" y="13243"/>
                    <a:pt x="29544" y="13484"/>
                    <a:pt x="29355" y="13157"/>
                  </a:cubicBezTo>
                  <a:cubicBezTo>
                    <a:pt x="29355" y="13329"/>
                    <a:pt x="28582" y="13295"/>
                    <a:pt x="28994" y="13157"/>
                  </a:cubicBezTo>
                  <a:cubicBezTo>
                    <a:pt x="28651" y="13157"/>
                    <a:pt x="28994" y="13037"/>
                    <a:pt x="29183" y="13020"/>
                  </a:cubicBezTo>
                  <a:cubicBezTo>
                    <a:pt x="28822" y="13020"/>
                    <a:pt x="28754" y="12831"/>
                    <a:pt x="29046" y="12917"/>
                  </a:cubicBezTo>
                  <a:cubicBezTo>
                    <a:pt x="28960" y="12917"/>
                    <a:pt x="29046" y="12779"/>
                    <a:pt x="29183" y="12917"/>
                  </a:cubicBezTo>
                  <a:lnTo>
                    <a:pt x="29183" y="12797"/>
                  </a:lnTo>
                  <a:cubicBezTo>
                    <a:pt x="29183" y="12797"/>
                    <a:pt x="29183" y="12797"/>
                    <a:pt x="29441" y="12797"/>
                  </a:cubicBezTo>
                  <a:cubicBezTo>
                    <a:pt x="29114" y="12797"/>
                    <a:pt x="29303" y="12590"/>
                    <a:pt x="29578" y="12797"/>
                  </a:cubicBezTo>
                  <a:cubicBezTo>
                    <a:pt x="29217" y="12505"/>
                    <a:pt x="29578" y="12797"/>
                    <a:pt x="29578" y="12676"/>
                  </a:cubicBezTo>
                  <a:cubicBezTo>
                    <a:pt x="29578" y="12556"/>
                    <a:pt x="29922" y="12213"/>
                    <a:pt x="29767" y="12676"/>
                  </a:cubicBezTo>
                  <a:cubicBezTo>
                    <a:pt x="30007" y="12539"/>
                    <a:pt x="29973" y="12539"/>
                    <a:pt x="30059" y="12298"/>
                  </a:cubicBezTo>
                  <a:cubicBezTo>
                    <a:pt x="30145" y="12058"/>
                    <a:pt x="29784" y="12814"/>
                    <a:pt x="29801" y="12419"/>
                  </a:cubicBezTo>
                  <a:cubicBezTo>
                    <a:pt x="29664" y="12522"/>
                    <a:pt x="29801" y="12161"/>
                    <a:pt x="29801" y="12195"/>
                  </a:cubicBezTo>
                  <a:cubicBezTo>
                    <a:pt x="29801" y="12230"/>
                    <a:pt x="29990" y="12006"/>
                    <a:pt x="30145" y="11766"/>
                  </a:cubicBezTo>
                  <a:cubicBezTo>
                    <a:pt x="29990" y="11886"/>
                    <a:pt x="30059" y="11525"/>
                    <a:pt x="30145" y="11611"/>
                  </a:cubicBezTo>
                  <a:cubicBezTo>
                    <a:pt x="30231" y="11697"/>
                    <a:pt x="30145" y="11440"/>
                    <a:pt x="30145" y="11525"/>
                  </a:cubicBezTo>
                  <a:cubicBezTo>
                    <a:pt x="30042" y="11319"/>
                    <a:pt x="30145" y="11440"/>
                    <a:pt x="30145" y="11337"/>
                  </a:cubicBezTo>
                  <a:cubicBezTo>
                    <a:pt x="29939" y="11337"/>
                    <a:pt x="30145" y="11233"/>
                    <a:pt x="30025" y="11148"/>
                  </a:cubicBezTo>
                  <a:cubicBezTo>
                    <a:pt x="29904" y="11062"/>
                    <a:pt x="30025" y="10821"/>
                    <a:pt x="30334" y="10976"/>
                  </a:cubicBezTo>
                  <a:cubicBezTo>
                    <a:pt x="30179" y="10890"/>
                    <a:pt x="30111" y="10735"/>
                    <a:pt x="30334" y="10838"/>
                  </a:cubicBezTo>
                  <a:cubicBezTo>
                    <a:pt x="30557" y="10941"/>
                    <a:pt x="30162" y="10701"/>
                    <a:pt x="30334" y="10684"/>
                  </a:cubicBezTo>
                  <a:cubicBezTo>
                    <a:pt x="30042" y="10684"/>
                    <a:pt x="30334" y="10684"/>
                    <a:pt x="30334" y="10478"/>
                  </a:cubicBezTo>
                  <a:cubicBezTo>
                    <a:pt x="30523" y="10478"/>
                    <a:pt x="30488" y="10478"/>
                    <a:pt x="30506" y="10478"/>
                  </a:cubicBezTo>
                  <a:cubicBezTo>
                    <a:pt x="30918" y="10564"/>
                    <a:pt x="30214" y="10323"/>
                    <a:pt x="30506" y="10323"/>
                  </a:cubicBezTo>
                  <a:cubicBezTo>
                    <a:pt x="30506" y="10323"/>
                    <a:pt x="30506" y="10220"/>
                    <a:pt x="30506" y="10220"/>
                  </a:cubicBezTo>
                  <a:cubicBezTo>
                    <a:pt x="30506" y="10220"/>
                    <a:pt x="30506" y="9911"/>
                    <a:pt x="30609" y="10117"/>
                  </a:cubicBezTo>
                  <a:cubicBezTo>
                    <a:pt x="30712" y="10323"/>
                    <a:pt x="30609" y="10117"/>
                    <a:pt x="30609" y="10117"/>
                  </a:cubicBezTo>
                  <a:cubicBezTo>
                    <a:pt x="30385" y="9980"/>
                    <a:pt x="30609" y="10014"/>
                    <a:pt x="30609" y="10117"/>
                  </a:cubicBezTo>
                  <a:cubicBezTo>
                    <a:pt x="30609" y="10220"/>
                    <a:pt x="30609" y="9773"/>
                    <a:pt x="30609" y="10117"/>
                  </a:cubicBezTo>
                  <a:cubicBezTo>
                    <a:pt x="30609" y="9670"/>
                    <a:pt x="30609" y="10237"/>
                    <a:pt x="30798" y="10117"/>
                  </a:cubicBezTo>
                  <a:cubicBezTo>
                    <a:pt x="30609" y="9773"/>
                    <a:pt x="31021" y="10117"/>
                    <a:pt x="30798" y="9739"/>
                  </a:cubicBezTo>
                  <a:cubicBezTo>
                    <a:pt x="30901" y="9739"/>
                    <a:pt x="31038" y="9911"/>
                    <a:pt x="31124" y="9894"/>
                  </a:cubicBezTo>
                  <a:cubicBezTo>
                    <a:pt x="31210" y="9877"/>
                    <a:pt x="31124" y="9602"/>
                    <a:pt x="31124" y="9619"/>
                  </a:cubicBezTo>
                  <a:cubicBezTo>
                    <a:pt x="31124" y="9636"/>
                    <a:pt x="30969" y="9464"/>
                    <a:pt x="31124" y="9619"/>
                  </a:cubicBezTo>
                  <a:cubicBezTo>
                    <a:pt x="31279" y="9773"/>
                    <a:pt x="31124" y="9499"/>
                    <a:pt x="31124" y="9619"/>
                  </a:cubicBezTo>
                  <a:cubicBezTo>
                    <a:pt x="31244" y="9447"/>
                    <a:pt x="31279" y="10426"/>
                    <a:pt x="31261" y="9619"/>
                  </a:cubicBezTo>
                  <a:cubicBezTo>
                    <a:pt x="31536" y="10134"/>
                    <a:pt x="31261" y="9516"/>
                    <a:pt x="31450" y="9499"/>
                  </a:cubicBezTo>
                  <a:cubicBezTo>
                    <a:pt x="31639" y="9481"/>
                    <a:pt x="31450" y="9653"/>
                    <a:pt x="31553" y="9842"/>
                  </a:cubicBezTo>
                  <a:cubicBezTo>
                    <a:pt x="31656" y="10031"/>
                    <a:pt x="31639" y="9842"/>
                    <a:pt x="31674" y="9842"/>
                  </a:cubicBezTo>
                  <a:cubicBezTo>
                    <a:pt x="31502" y="9499"/>
                    <a:pt x="31863" y="9688"/>
                    <a:pt x="31845" y="9842"/>
                  </a:cubicBezTo>
                  <a:cubicBezTo>
                    <a:pt x="32172" y="9842"/>
                    <a:pt x="32051" y="10134"/>
                    <a:pt x="31742" y="10031"/>
                  </a:cubicBezTo>
                  <a:cubicBezTo>
                    <a:pt x="31845" y="10031"/>
                    <a:pt x="31948" y="10031"/>
                    <a:pt x="32000" y="10220"/>
                  </a:cubicBezTo>
                  <a:cubicBezTo>
                    <a:pt x="32051" y="10409"/>
                    <a:pt x="32120" y="10083"/>
                    <a:pt x="32275" y="10220"/>
                  </a:cubicBezTo>
                  <a:cubicBezTo>
                    <a:pt x="32275" y="10100"/>
                    <a:pt x="32275" y="10117"/>
                    <a:pt x="32275" y="10048"/>
                  </a:cubicBezTo>
                  <a:cubicBezTo>
                    <a:pt x="32275" y="9980"/>
                    <a:pt x="32653" y="10306"/>
                    <a:pt x="32378" y="10048"/>
                  </a:cubicBezTo>
                  <a:cubicBezTo>
                    <a:pt x="32378" y="10237"/>
                    <a:pt x="32567" y="10048"/>
                    <a:pt x="32584" y="10220"/>
                  </a:cubicBezTo>
                  <a:cubicBezTo>
                    <a:pt x="32601" y="10392"/>
                    <a:pt x="33220" y="10220"/>
                    <a:pt x="33683" y="10529"/>
                  </a:cubicBezTo>
                  <a:cubicBezTo>
                    <a:pt x="33563" y="10392"/>
                    <a:pt x="34044" y="10735"/>
                    <a:pt x="33804" y="10529"/>
                  </a:cubicBezTo>
                  <a:cubicBezTo>
                    <a:pt x="34697" y="10838"/>
                    <a:pt x="34611" y="11852"/>
                    <a:pt x="33597" y="11354"/>
                  </a:cubicBezTo>
                  <a:cubicBezTo>
                    <a:pt x="33477" y="11354"/>
                    <a:pt x="33477" y="11354"/>
                    <a:pt x="33426" y="11354"/>
                  </a:cubicBezTo>
                  <a:cubicBezTo>
                    <a:pt x="33374" y="11354"/>
                    <a:pt x="32910" y="11096"/>
                    <a:pt x="33065" y="11354"/>
                  </a:cubicBezTo>
                  <a:cubicBezTo>
                    <a:pt x="33220" y="11611"/>
                    <a:pt x="33460" y="11491"/>
                    <a:pt x="33357" y="11663"/>
                  </a:cubicBezTo>
                  <a:cubicBezTo>
                    <a:pt x="33632" y="11663"/>
                    <a:pt x="34834" y="13277"/>
                    <a:pt x="34576" y="12333"/>
                  </a:cubicBezTo>
                  <a:cubicBezTo>
                    <a:pt x="34388" y="12505"/>
                    <a:pt x="34113" y="12058"/>
                    <a:pt x="34250" y="12006"/>
                  </a:cubicBezTo>
                  <a:cubicBezTo>
                    <a:pt x="35693" y="12917"/>
                    <a:pt x="33975" y="11148"/>
                    <a:pt x="34972" y="11474"/>
                  </a:cubicBezTo>
                  <a:cubicBezTo>
                    <a:pt x="34972" y="11337"/>
                    <a:pt x="35092" y="11474"/>
                    <a:pt x="35143" y="11474"/>
                  </a:cubicBezTo>
                  <a:cubicBezTo>
                    <a:pt x="34895" y="11040"/>
                    <a:pt x="34569" y="10656"/>
                    <a:pt x="34181" y="10340"/>
                  </a:cubicBezTo>
                  <a:cubicBezTo>
                    <a:pt x="34491" y="10340"/>
                    <a:pt x="34972" y="10443"/>
                    <a:pt x="34800" y="10753"/>
                  </a:cubicBezTo>
                  <a:cubicBezTo>
                    <a:pt x="35195" y="11354"/>
                    <a:pt x="35349" y="10753"/>
                    <a:pt x="35143" y="10529"/>
                  </a:cubicBezTo>
                  <a:cubicBezTo>
                    <a:pt x="35315" y="10529"/>
                    <a:pt x="35143" y="9945"/>
                    <a:pt x="35401" y="10289"/>
                  </a:cubicBezTo>
                  <a:cubicBezTo>
                    <a:pt x="35401" y="10186"/>
                    <a:pt x="35178" y="9980"/>
                    <a:pt x="35401" y="10151"/>
                  </a:cubicBezTo>
                  <a:cubicBezTo>
                    <a:pt x="35229" y="9705"/>
                    <a:pt x="35521" y="10151"/>
                    <a:pt x="35727" y="10306"/>
                  </a:cubicBezTo>
                  <a:cubicBezTo>
                    <a:pt x="35727" y="10203"/>
                    <a:pt x="35727" y="10169"/>
                    <a:pt x="35727" y="10306"/>
                  </a:cubicBezTo>
                  <a:cubicBezTo>
                    <a:pt x="35504" y="10048"/>
                    <a:pt x="35882" y="10134"/>
                    <a:pt x="35830" y="9842"/>
                  </a:cubicBezTo>
                  <a:cubicBezTo>
                    <a:pt x="35951" y="9997"/>
                    <a:pt x="36311" y="10272"/>
                    <a:pt x="36019" y="9945"/>
                  </a:cubicBezTo>
                  <a:cubicBezTo>
                    <a:pt x="36191" y="9945"/>
                    <a:pt x="35916" y="9791"/>
                    <a:pt x="36122" y="9945"/>
                  </a:cubicBezTo>
                  <a:cubicBezTo>
                    <a:pt x="36035" y="9882"/>
                    <a:pt x="35943" y="9824"/>
                    <a:pt x="35848" y="9773"/>
                  </a:cubicBezTo>
                  <a:lnTo>
                    <a:pt x="35848" y="9773"/>
                  </a:lnTo>
                  <a:cubicBezTo>
                    <a:pt x="35057" y="9155"/>
                    <a:pt x="36586" y="9619"/>
                    <a:pt x="36981" y="9894"/>
                  </a:cubicBezTo>
                  <a:cubicBezTo>
                    <a:pt x="36792" y="9619"/>
                    <a:pt x="36517" y="9567"/>
                    <a:pt x="36260" y="9361"/>
                  </a:cubicBezTo>
                  <a:lnTo>
                    <a:pt x="36260" y="9361"/>
                  </a:lnTo>
                  <a:cubicBezTo>
                    <a:pt x="36260" y="9361"/>
                    <a:pt x="36260" y="9361"/>
                    <a:pt x="36140" y="9361"/>
                  </a:cubicBezTo>
                  <a:lnTo>
                    <a:pt x="36140" y="9361"/>
                  </a:lnTo>
                  <a:lnTo>
                    <a:pt x="35882" y="9155"/>
                  </a:lnTo>
                  <a:cubicBezTo>
                    <a:pt x="36019" y="9155"/>
                    <a:pt x="35624" y="8983"/>
                    <a:pt x="35727" y="8983"/>
                  </a:cubicBezTo>
                  <a:cubicBezTo>
                    <a:pt x="35504" y="8880"/>
                    <a:pt x="34353" y="7918"/>
                    <a:pt x="34594" y="7884"/>
                  </a:cubicBezTo>
                  <a:cubicBezTo>
                    <a:pt x="35435" y="8193"/>
                    <a:pt x="36311" y="9086"/>
                    <a:pt x="37136" y="9602"/>
                  </a:cubicBezTo>
                  <a:lnTo>
                    <a:pt x="37136" y="9602"/>
                  </a:lnTo>
                  <a:cubicBezTo>
                    <a:pt x="37389" y="9800"/>
                    <a:pt x="37614" y="10031"/>
                    <a:pt x="37806" y="10289"/>
                  </a:cubicBezTo>
                  <a:lnTo>
                    <a:pt x="37806" y="10289"/>
                  </a:lnTo>
                  <a:cubicBezTo>
                    <a:pt x="37995" y="10409"/>
                    <a:pt x="37977" y="10581"/>
                    <a:pt x="37806" y="10289"/>
                  </a:cubicBezTo>
                  <a:cubicBezTo>
                    <a:pt x="37806" y="10289"/>
                    <a:pt x="37479" y="10289"/>
                    <a:pt x="37703" y="10426"/>
                  </a:cubicBezTo>
                  <a:cubicBezTo>
                    <a:pt x="38939" y="10701"/>
                    <a:pt x="37256" y="9619"/>
                    <a:pt x="37101" y="9275"/>
                  </a:cubicBezTo>
                  <a:cubicBezTo>
                    <a:pt x="37101" y="9275"/>
                    <a:pt x="37101" y="9275"/>
                    <a:pt x="37101" y="9275"/>
                  </a:cubicBezTo>
                  <a:cubicBezTo>
                    <a:pt x="36284" y="8916"/>
                    <a:pt x="35525" y="8435"/>
                    <a:pt x="34851" y="7850"/>
                  </a:cubicBezTo>
                  <a:cubicBezTo>
                    <a:pt x="35229" y="8021"/>
                    <a:pt x="35573" y="8399"/>
                    <a:pt x="35933" y="8451"/>
                  </a:cubicBezTo>
                  <a:cubicBezTo>
                    <a:pt x="35796" y="8262"/>
                    <a:pt x="36208" y="8571"/>
                    <a:pt x="36105" y="8451"/>
                  </a:cubicBezTo>
                  <a:cubicBezTo>
                    <a:pt x="35827" y="8436"/>
                    <a:pt x="35564" y="8320"/>
                    <a:pt x="35367" y="8125"/>
                  </a:cubicBezTo>
                  <a:cubicBezTo>
                    <a:pt x="35727" y="8279"/>
                    <a:pt x="35367" y="8125"/>
                    <a:pt x="35367" y="8039"/>
                  </a:cubicBezTo>
                  <a:lnTo>
                    <a:pt x="35367" y="8039"/>
                  </a:lnTo>
                  <a:cubicBezTo>
                    <a:pt x="34886" y="7455"/>
                    <a:pt x="37084" y="8880"/>
                    <a:pt x="36363" y="8331"/>
                  </a:cubicBezTo>
                  <a:cubicBezTo>
                    <a:pt x="36637" y="8531"/>
                    <a:pt x="36938" y="8693"/>
                    <a:pt x="37256" y="8812"/>
                  </a:cubicBezTo>
                  <a:cubicBezTo>
                    <a:pt x="36947" y="8605"/>
                    <a:pt x="37256" y="8691"/>
                    <a:pt x="37428" y="8812"/>
                  </a:cubicBezTo>
                  <a:cubicBezTo>
                    <a:pt x="37325" y="8709"/>
                    <a:pt x="37033" y="8588"/>
                    <a:pt x="37101" y="8709"/>
                  </a:cubicBezTo>
                  <a:cubicBezTo>
                    <a:pt x="36569" y="8468"/>
                    <a:pt x="36019" y="8056"/>
                    <a:pt x="35384" y="7798"/>
                  </a:cubicBezTo>
                  <a:cubicBezTo>
                    <a:pt x="35212" y="7798"/>
                    <a:pt x="34405" y="7403"/>
                    <a:pt x="34525" y="7231"/>
                  </a:cubicBezTo>
                  <a:cubicBezTo>
                    <a:pt x="34284" y="6922"/>
                    <a:pt x="34697" y="7334"/>
                    <a:pt x="34851" y="7317"/>
                  </a:cubicBezTo>
                  <a:cubicBezTo>
                    <a:pt x="34628" y="7317"/>
                    <a:pt x="34491" y="7042"/>
                    <a:pt x="34267" y="7008"/>
                  </a:cubicBezTo>
                  <a:cubicBezTo>
                    <a:pt x="34044" y="6974"/>
                    <a:pt x="34061" y="7008"/>
                    <a:pt x="34027" y="6922"/>
                  </a:cubicBezTo>
                  <a:cubicBezTo>
                    <a:pt x="33992" y="6836"/>
                    <a:pt x="34130" y="6922"/>
                    <a:pt x="34027" y="6922"/>
                  </a:cubicBezTo>
                  <a:cubicBezTo>
                    <a:pt x="33924" y="6922"/>
                    <a:pt x="33838" y="6836"/>
                    <a:pt x="33872" y="6922"/>
                  </a:cubicBezTo>
                  <a:cubicBezTo>
                    <a:pt x="33907" y="7008"/>
                    <a:pt x="33683" y="6802"/>
                    <a:pt x="33872" y="6922"/>
                  </a:cubicBezTo>
                  <a:lnTo>
                    <a:pt x="33615" y="6768"/>
                  </a:lnTo>
                  <a:cubicBezTo>
                    <a:pt x="33615" y="6768"/>
                    <a:pt x="33615" y="6768"/>
                    <a:pt x="33615" y="6768"/>
                  </a:cubicBezTo>
                  <a:lnTo>
                    <a:pt x="33168" y="6458"/>
                  </a:lnTo>
                  <a:lnTo>
                    <a:pt x="33168" y="6458"/>
                  </a:lnTo>
                  <a:cubicBezTo>
                    <a:pt x="33086" y="6395"/>
                    <a:pt x="33000" y="6338"/>
                    <a:pt x="32910" y="6287"/>
                  </a:cubicBezTo>
                  <a:lnTo>
                    <a:pt x="32910" y="6287"/>
                  </a:lnTo>
                  <a:lnTo>
                    <a:pt x="32910" y="6287"/>
                  </a:lnTo>
                  <a:lnTo>
                    <a:pt x="32910" y="6287"/>
                  </a:lnTo>
                  <a:lnTo>
                    <a:pt x="32687" y="6184"/>
                  </a:lnTo>
                  <a:lnTo>
                    <a:pt x="32687" y="6184"/>
                  </a:lnTo>
                  <a:cubicBezTo>
                    <a:pt x="32687" y="6184"/>
                    <a:pt x="32515" y="6184"/>
                    <a:pt x="32687" y="6184"/>
                  </a:cubicBezTo>
                  <a:lnTo>
                    <a:pt x="32687" y="6184"/>
                  </a:lnTo>
                  <a:lnTo>
                    <a:pt x="32687" y="6184"/>
                  </a:lnTo>
                  <a:lnTo>
                    <a:pt x="32962" y="6287"/>
                  </a:lnTo>
                  <a:lnTo>
                    <a:pt x="32739" y="6184"/>
                  </a:lnTo>
                  <a:lnTo>
                    <a:pt x="32893" y="6184"/>
                  </a:lnTo>
                  <a:lnTo>
                    <a:pt x="32807" y="6184"/>
                  </a:lnTo>
                  <a:cubicBezTo>
                    <a:pt x="32762" y="6174"/>
                    <a:pt x="32715" y="6174"/>
                    <a:pt x="32670" y="6184"/>
                  </a:cubicBezTo>
                  <a:lnTo>
                    <a:pt x="32670" y="6184"/>
                  </a:lnTo>
                  <a:cubicBezTo>
                    <a:pt x="32625" y="6193"/>
                    <a:pt x="32578" y="6193"/>
                    <a:pt x="32532" y="6184"/>
                  </a:cubicBezTo>
                  <a:lnTo>
                    <a:pt x="32876" y="6304"/>
                  </a:lnTo>
                  <a:cubicBezTo>
                    <a:pt x="32750" y="6242"/>
                    <a:pt x="32618" y="6196"/>
                    <a:pt x="32481" y="6166"/>
                  </a:cubicBezTo>
                  <a:lnTo>
                    <a:pt x="32481" y="6166"/>
                  </a:lnTo>
                  <a:cubicBezTo>
                    <a:pt x="32481" y="6166"/>
                    <a:pt x="32292" y="6166"/>
                    <a:pt x="32343" y="6166"/>
                  </a:cubicBezTo>
                  <a:cubicBezTo>
                    <a:pt x="32395" y="6166"/>
                    <a:pt x="32343" y="6166"/>
                    <a:pt x="32343" y="6166"/>
                  </a:cubicBezTo>
                  <a:lnTo>
                    <a:pt x="32343" y="6166"/>
                  </a:lnTo>
                  <a:lnTo>
                    <a:pt x="32206" y="6166"/>
                  </a:lnTo>
                  <a:lnTo>
                    <a:pt x="32206" y="6166"/>
                  </a:lnTo>
                  <a:lnTo>
                    <a:pt x="31742" y="6029"/>
                  </a:lnTo>
                  <a:lnTo>
                    <a:pt x="31742" y="6029"/>
                  </a:lnTo>
                  <a:cubicBezTo>
                    <a:pt x="31571" y="6029"/>
                    <a:pt x="30763" y="5720"/>
                    <a:pt x="30952" y="5754"/>
                  </a:cubicBezTo>
                  <a:lnTo>
                    <a:pt x="30952" y="5754"/>
                  </a:lnTo>
                  <a:lnTo>
                    <a:pt x="31055" y="5754"/>
                  </a:lnTo>
                  <a:lnTo>
                    <a:pt x="31055" y="5754"/>
                  </a:lnTo>
                  <a:cubicBezTo>
                    <a:pt x="31244" y="5754"/>
                    <a:pt x="31416" y="5857"/>
                    <a:pt x="31605" y="5909"/>
                  </a:cubicBezTo>
                  <a:lnTo>
                    <a:pt x="31416" y="5909"/>
                  </a:lnTo>
                  <a:lnTo>
                    <a:pt x="31588" y="5909"/>
                  </a:lnTo>
                  <a:lnTo>
                    <a:pt x="31485" y="5909"/>
                  </a:lnTo>
                  <a:cubicBezTo>
                    <a:pt x="31588" y="5909"/>
                    <a:pt x="31364" y="5909"/>
                    <a:pt x="31485" y="5909"/>
                  </a:cubicBezTo>
                  <a:lnTo>
                    <a:pt x="31485" y="5909"/>
                  </a:lnTo>
                  <a:cubicBezTo>
                    <a:pt x="31794" y="5995"/>
                    <a:pt x="32481" y="6201"/>
                    <a:pt x="31811" y="5909"/>
                  </a:cubicBezTo>
                  <a:lnTo>
                    <a:pt x="31811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2292" y="6046"/>
                  </a:lnTo>
                  <a:lnTo>
                    <a:pt x="32051" y="6046"/>
                  </a:lnTo>
                  <a:lnTo>
                    <a:pt x="32378" y="6046"/>
                  </a:lnTo>
                  <a:lnTo>
                    <a:pt x="32635" y="6046"/>
                  </a:lnTo>
                  <a:lnTo>
                    <a:pt x="32635" y="6046"/>
                  </a:lnTo>
                  <a:cubicBezTo>
                    <a:pt x="32412" y="6046"/>
                    <a:pt x="32635" y="6046"/>
                    <a:pt x="32773" y="6046"/>
                  </a:cubicBezTo>
                  <a:lnTo>
                    <a:pt x="32773" y="6046"/>
                  </a:lnTo>
                  <a:lnTo>
                    <a:pt x="32773" y="6046"/>
                  </a:lnTo>
                  <a:cubicBezTo>
                    <a:pt x="33198" y="6156"/>
                    <a:pt x="33612" y="6306"/>
                    <a:pt x="34010" y="6493"/>
                  </a:cubicBezTo>
                  <a:cubicBezTo>
                    <a:pt x="34010" y="6493"/>
                    <a:pt x="34010" y="6493"/>
                    <a:pt x="34010" y="6493"/>
                  </a:cubicBezTo>
                  <a:cubicBezTo>
                    <a:pt x="34010" y="6493"/>
                    <a:pt x="34456" y="6665"/>
                    <a:pt x="34645" y="6768"/>
                  </a:cubicBezTo>
                  <a:lnTo>
                    <a:pt x="34645" y="6768"/>
                  </a:lnTo>
                  <a:lnTo>
                    <a:pt x="35470" y="7163"/>
                  </a:lnTo>
                  <a:cubicBezTo>
                    <a:pt x="35212" y="7025"/>
                    <a:pt x="34954" y="6871"/>
                    <a:pt x="34662" y="6733"/>
                  </a:cubicBezTo>
                  <a:lnTo>
                    <a:pt x="34662" y="6733"/>
                  </a:lnTo>
                  <a:lnTo>
                    <a:pt x="34353" y="6596"/>
                  </a:lnTo>
                  <a:lnTo>
                    <a:pt x="34491" y="6596"/>
                  </a:lnTo>
                  <a:cubicBezTo>
                    <a:pt x="34491" y="6596"/>
                    <a:pt x="34044" y="6441"/>
                    <a:pt x="34250" y="6493"/>
                  </a:cubicBezTo>
                  <a:lnTo>
                    <a:pt x="34113" y="6493"/>
                  </a:lnTo>
                  <a:lnTo>
                    <a:pt x="34422" y="6596"/>
                  </a:lnTo>
                  <a:cubicBezTo>
                    <a:pt x="34327" y="6538"/>
                    <a:pt x="34222" y="6497"/>
                    <a:pt x="34113" y="6476"/>
                  </a:cubicBezTo>
                  <a:cubicBezTo>
                    <a:pt x="34287" y="6517"/>
                    <a:pt x="34459" y="6568"/>
                    <a:pt x="34628" y="6630"/>
                  </a:cubicBezTo>
                  <a:lnTo>
                    <a:pt x="34473" y="6630"/>
                  </a:lnTo>
                  <a:lnTo>
                    <a:pt x="34473" y="6630"/>
                  </a:lnTo>
                  <a:lnTo>
                    <a:pt x="33700" y="4827"/>
                  </a:lnTo>
                  <a:cubicBezTo>
                    <a:pt x="42679" y="7791"/>
                    <a:pt x="48892" y="15993"/>
                    <a:pt x="49314" y="25438"/>
                  </a:cubicBezTo>
                  <a:cubicBezTo>
                    <a:pt x="49301" y="25780"/>
                    <a:pt x="49255" y="26119"/>
                    <a:pt x="49177" y="26452"/>
                  </a:cubicBezTo>
                  <a:cubicBezTo>
                    <a:pt x="49245" y="26349"/>
                    <a:pt x="49159" y="26538"/>
                    <a:pt x="49159" y="26589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72" name="Google Shape;272;p32"/>
            <p:cNvSpPr/>
            <p:nvPr/>
          </p:nvSpPr>
          <p:spPr>
            <a:xfrm rot="-5400000">
              <a:off x="12026199" y="6563439"/>
              <a:ext cx="13277" cy="68070"/>
            </a:xfrm>
            <a:custGeom>
              <a:avLst/>
              <a:gdLst/>
              <a:ahLst/>
              <a:cxnLst/>
              <a:rect l="l" t="t" r="r" b="b"/>
              <a:pathLst>
                <a:path w="13277" h="68070" extrusionOk="0">
                  <a:moveTo>
                    <a:pt x="13277" y="12024"/>
                  </a:moveTo>
                  <a:lnTo>
                    <a:pt x="0" y="12024"/>
                  </a:lnTo>
                  <a:lnTo>
                    <a:pt x="0" y="0"/>
                  </a:lnTo>
                  <a:lnTo>
                    <a:pt x="13277" y="0"/>
                  </a:lnTo>
                  <a:close/>
                  <a:moveTo>
                    <a:pt x="0" y="17984"/>
                  </a:moveTo>
                  <a:lnTo>
                    <a:pt x="13277" y="17984"/>
                  </a:lnTo>
                  <a:lnTo>
                    <a:pt x="13277" y="68070"/>
                  </a:lnTo>
                  <a:lnTo>
                    <a:pt x="0" y="6807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73" name="Google Shape;273;p32"/>
            <p:cNvSpPr/>
            <p:nvPr/>
          </p:nvSpPr>
          <p:spPr>
            <a:xfrm rot="-5400000">
              <a:off x="12018640" y="6529825"/>
              <a:ext cx="45208" cy="51256"/>
            </a:xfrm>
            <a:custGeom>
              <a:avLst/>
              <a:gdLst/>
              <a:ahLst/>
              <a:cxnLst/>
              <a:rect l="l" t="t" r="r" b="b"/>
              <a:pathLst>
                <a:path w="45208" h="51256" extrusionOk="0">
                  <a:moveTo>
                    <a:pt x="40279" y="4038"/>
                  </a:moveTo>
                  <a:cubicBezTo>
                    <a:pt x="43565" y="6752"/>
                    <a:pt x="45209" y="11246"/>
                    <a:pt x="45209" y="17521"/>
                  </a:cubicBezTo>
                  <a:lnTo>
                    <a:pt x="45209" y="51256"/>
                  </a:lnTo>
                  <a:lnTo>
                    <a:pt x="31794" y="51256"/>
                  </a:lnTo>
                  <a:lnTo>
                    <a:pt x="31794" y="20785"/>
                  </a:lnTo>
                  <a:cubicBezTo>
                    <a:pt x="31892" y="18712"/>
                    <a:pt x="31535" y="16642"/>
                    <a:pt x="30746" y="14722"/>
                  </a:cubicBezTo>
                  <a:cubicBezTo>
                    <a:pt x="29458" y="12162"/>
                    <a:pt x="27036" y="10874"/>
                    <a:pt x="23446" y="10874"/>
                  </a:cubicBezTo>
                  <a:cubicBezTo>
                    <a:pt x="19509" y="10574"/>
                    <a:pt x="15832" y="12861"/>
                    <a:pt x="14360" y="16525"/>
                  </a:cubicBezTo>
                  <a:cubicBezTo>
                    <a:pt x="13437" y="18959"/>
                    <a:pt x="13005" y="21550"/>
                    <a:pt x="13089" y="24152"/>
                  </a:cubicBezTo>
                  <a:lnTo>
                    <a:pt x="13089" y="51256"/>
                  </a:lnTo>
                  <a:lnTo>
                    <a:pt x="0" y="51256"/>
                  </a:lnTo>
                  <a:lnTo>
                    <a:pt x="0" y="1272"/>
                  </a:lnTo>
                  <a:lnTo>
                    <a:pt x="12676" y="1272"/>
                  </a:lnTo>
                  <a:lnTo>
                    <a:pt x="12676" y="8607"/>
                  </a:lnTo>
                  <a:cubicBezTo>
                    <a:pt x="13939" y="6498"/>
                    <a:pt x="15548" y="4617"/>
                    <a:pt x="17434" y="3042"/>
                  </a:cubicBezTo>
                  <a:cubicBezTo>
                    <a:pt x="20409" y="938"/>
                    <a:pt x="23996" y="-125"/>
                    <a:pt x="27637" y="19"/>
                  </a:cubicBezTo>
                  <a:cubicBezTo>
                    <a:pt x="32194" y="-181"/>
                    <a:pt x="36674" y="1243"/>
                    <a:pt x="40279" y="403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74" name="Google Shape;274;p32"/>
            <p:cNvSpPr/>
            <p:nvPr/>
          </p:nvSpPr>
          <p:spPr>
            <a:xfrm rot="-5400000">
              <a:off x="12018195" y="6477145"/>
              <a:ext cx="28942" cy="68414"/>
            </a:xfrm>
            <a:custGeom>
              <a:avLst/>
              <a:gdLst/>
              <a:ahLst/>
              <a:cxnLst/>
              <a:rect l="l" t="t" r="r" b="b"/>
              <a:pathLst>
                <a:path w="28942" h="68414" extrusionOk="0">
                  <a:moveTo>
                    <a:pt x="25868" y="0"/>
                  </a:moveTo>
                  <a:lnTo>
                    <a:pt x="28616" y="206"/>
                  </a:lnTo>
                  <a:lnTo>
                    <a:pt x="28616" y="10941"/>
                  </a:lnTo>
                  <a:cubicBezTo>
                    <a:pt x="27390" y="10808"/>
                    <a:pt x="26157" y="10739"/>
                    <a:pt x="24923" y="10735"/>
                  </a:cubicBezTo>
                  <a:cubicBezTo>
                    <a:pt x="23616" y="10538"/>
                    <a:pt x="22290" y="10956"/>
                    <a:pt x="21333" y="11869"/>
                  </a:cubicBezTo>
                  <a:cubicBezTo>
                    <a:pt x="20704" y="12627"/>
                    <a:pt x="20358" y="13580"/>
                    <a:pt x="20354" y="14566"/>
                  </a:cubicBezTo>
                  <a:lnTo>
                    <a:pt x="20354" y="18791"/>
                  </a:lnTo>
                  <a:lnTo>
                    <a:pt x="28943" y="18791"/>
                  </a:lnTo>
                  <a:lnTo>
                    <a:pt x="28943" y="28032"/>
                  </a:lnTo>
                  <a:lnTo>
                    <a:pt x="20354" y="28032"/>
                  </a:lnTo>
                  <a:lnTo>
                    <a:pt x="20354" y="68414"/>
                  </a:lnTo>
                  <a:lnTo>
                    <a:pt x="7352" y="68414"/>
                  </a:lnTo>
                  <a:lnTo>
                    <a:pt x="7352" y="28032"/>
                  </a:lnTo>
                  <a:lnTo>
                    <a:pt x="0" y="28032"/>
                  </a:lnTo>
                  <a:lnTo>
                    <a:pt x="0" y="18791"/>
                  </a:lnTo>
                  <a:lnTo>
                    <a:pt x="7163" y="18791"/>
                  </a:lnTo>
                  <a:lnTo>
                    <a:pt x="7163" y="15579"/>
                  </a:lnTo>
                  <a:cubicBezTo>
                    <a:pt x="7163" y="10220"/>
                    <a:pt x="8067" y="6527"/>
                    <a:pt x="9877" y="4500"/>
                  </a:cubicBezTo>
                  <a:cubicBezTo>
                    <a:pt x="11783" y="1494"/>
                    <a:pt x="16352" y="0"/>
                    <a:pt x="23618" y="0"/>
                  </a:cubicBezTo>
                  <a:cubicBezTo>
                    <a:pt x="24442" y="0"/>
                    <a:pt x="25198" y="0"/>
                    <a:pt x="25868" y="0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75" name="Google Shape;275;p32"/>
            <p:cNvSpPr/>
            <p:nvPr/>
          </p:nvSpPr>
          <p:spPr>
            <a:xfrm rot="-5400000">
              <a:off x="12016830" y="6161182"/>
              <a:ext cx="49036" cy="51048"/>
            </a:xfrm>
            <a:custGeom>
              <a:avLst/>
              <a:gdLst/>
              <a:ahLst/>
              <a:cxnLst/>
              <a:rect l="l" t="t" r="r" b="b"/>
              <a:pathLst>
                <a:path w="49036" h="51048" extrusionOk="0">
                  <a:moveTo>
                    <a:pt x="42949" y="43542"/>
                  </a:moveTo>
                  <a:cubicBezTo>
                    <a:pt x="38907" y="48535"/>
                    <a:pt x="32763" y="51037"/>
                    <a:pt x="24519" y="51049"/>
                  </a:cubicBezTo>
                  <a:cubicBezTo>
                    <a:pt x="16274" y="51060"/>
                    <a:pt x="10125" y="48558"/>
                    <a:pt x="6071" y="43542"/>
                  </a:cubicBezTo>
                  <a:cubicBezTo>
                    <a:pt x="2000" y="38452"/>
                    <a:pt x="-145" y="32091"/>
                    <a:pt x="8" y="25576"/>
                  </a:cubicBezTo>
                  <a:cubicBezTo>
                    <a:pt x="-130" y="19058"/>
                    <a:pt x="2016" y="12697"/>
                    <a:pt x="6071" y="7592"/>
                  </a:cubicBezTo>
                  <a:cubicBezTo>
                    <a:pt x="10125" y="2519"/>
                    <a:pt x="16274" y="-11"/>
                    <a:pt x="24519" y="0"/>
                  </a:cubicBezTo>
                  <a:cubicBezTo>
                    <a:pt x="32763" y="12"/>
                    <a:pt x="38907" y="2542"/>
                    <a:pt x="42949" y="7592"/>
                  </a:cubicBezTo>
                  <a:cubicBezTo>
                    <a:pt x="47010" y="12695"/>
                    <a:pt x="49160" y="19056"/>
                    <a:pt x="49030" y="25576"/>
                  </a:cubicBezTo>
                  <a:cubicBezTo>
                    <a:pt x="49177" y="32093"/>
                    <a:pt x="47023" y="38454"/>
                    <a:pt x="42949" y="43542"/>
                  </a:cubicBezTo>
                  <a:close/>
                  <a:moveTo>
                    <a:pt x="32918" y="36672"/>
                  </a:moveTo>
                  <a:cubicBezTo>
                    <a:pt x="35077" y="33390"/>
                    <a:pt x="36115" y="29497"/>
                    <a:pt x="35872" y="25576"/>
                  </a:cubicBezTo>
                  <a:cubicBezTo>
                    <a:pt x="36123" y="21654"/>
                    <a:pt x="35086" y="17758"/>
                    <a:pt x="32918" y="14480"/>
                  </a:cubicBezTo>
                  <a:cubicBezTo>
                    <a:pt x="28893" y="9808"/>
                    <a:pt x="21844" y="9283"/>
                    <a:pt x="17172" y="13307"/>
                  </a:cubicBezTo>
                  <a:cubicBezTo>
                    <a:pt x="16753" y="13668"/>
                    <a:pt x="16360" y="14060"/>
                    <a:pt x="15999" y="14480"/>
                  </a:cubicBezTo>
                  <a:cubicBezTo>
                    <a:pt x="13826" y="17756"/>
                    <a:pt x="12782" y="21652"/>
                    <a:pt x="13027" y="25576"/>
                  </a:cubicBezTo>
                  <a:cubicBezTo>
                    <a:pt x="12782" y="29510"/>
                    <a:pt x="13824" y="33418"/>
                    <a:pt x="15999" y="36706"/>
                  </a:cubicBezTo>
                  <a:cubicBezTo>
                    <a:pt x="19994" y="41378"/>
                    <a:pt x="27020" y="41927"/>
                    <a:pt x="31692" y="37932"/>
                  </a:cubicBezTo>
                  <a:cubicBezTo>
                    <a:pt x="32131" y="37556"/>
                    <a:pt x="32542" y="37146"/>
                    <a:pt x="32918" y="36706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76" name="Google Shape;276;p32"/>
            <p:cNvSpPr/>
            <p:nvPr/>
          </p:nvSpPr>
          <p:spPr>
            <a:xfrm rot="-5400000">
              <a:off x="12005374" y="6370523"/>
              <a:ext cx="71791" cy="51205"/>
            </a:xfrm>
            <a:custGeom>
              <a:avLst/>
              <a:gdLst/>
              <a:ahLst/>
              <a:cxnLst/>
              <a:rect l="l" t="t" r="r" b="b"/>
              <a:pathLst>
                <a:path w="71791" h="51205" extrusionOk="0">
                  <a:moveTo>
                    <a:pt x="62643" y="1307"/>
                  </a:moveTo>
                  <a:cubicBezTo>
                    <a:pt x="64938" y="2282"/>
                    <a:pt x="66944" y="3832"/>
                    <a:pt x="68466" y="5808"/>
                  </a:cubicBezTo>
                  <a:cubicBezTo>
                    <a:pt x="69936" y="7685"/>
                    <a:pt x="70917" y="9898"/>
                    <a:pt x="71317" y="12249"/>
                  </a:cubicBezTo>
                  <a:cubicBezTo>
                    <a:pt x="71680" y="14693"/>
                    <a:pt x="71834" y="17164"/>
                    <a:pt x="71781" y="19635"/>
                  </a:cubicBezTo>
                  <a:lnTo>
                    <a:pt x="71781" y="51205"/>
                  </a:lnTo>
                  <a:lnTo>
                    <a:pt x="58349" y="51205"/>
                  </a:lnTo>
                  <a:lnTo>
                    <a:pt x="58349" y="19308"/>
                  </a:lnTo>
                  <a:cubicBezTo>
                    <a:pt x="58414" y="17701"/>
                    <a:pt x="58101" y="16101"/>
                    <a:pt x="57438" y="14636"/>
                  </a:cubicBezTo>
                  <a:cubicBezTo>
                    <a:pt x="56188" y="12289"/>
                    <a:pt x="53642" y="10931"/>
                    <a:pt x="50997" y="11201"/>
                  </a:cubicBezTo>
                  <a:cubicBezTo>
                    <a:pt x="47802" y="10957"/>
                    <a:pt x="44803" y="12763"/>
                    <a:pt x="43525" y="15701"/>
                  </a:cubicBezTo>
                  <a:cubicBezTo>
                    <a:pt x="42766" y="17522"/>
                    <a:pt x="42404" y="19483"/>
                    <a:pt x="42460" y="21455"/>
                  </a:cubicBezTo>
                  <a:lnTo>
                    <a:pt x="42460" y="51205"/>
                  </a:lnTo>
                  <a:lnTo>
                    <a:pt x="29269" y="51205"/>
                  </a:lnTo>
                  <a:lnTo>
                    <a:pt x="29269" y="21387"/>
                  </a:lnTo>
                  <a:cubicBezTo>
                    <a:pt x="29389" y="19189"/>
                    <a:pt x="29080" y="16990"/>
                    <a:pt x="28359" y="14911"/>
                  </a:cubicBezTo>
                  <a:cubicBezTo>
                    <a:pt x="27192" y="12446"/>
                    <a:pt x="24595" y="10986"/>
                    <a:pt x="21883" y="11270"/>
                  </a:cubicBezTo>
                  <a:cubicBezTo>
                    <a:pt x="18138" y="11270"/>
                    <a:pt x="15626" y="12484"/>
                    <a:pt x="14342" y="14911"/>
                  </a:cubicBezTo>
                  <a:cubicBezTo>
                    <a:pt x="13527" y="16854"/>
                    <a:pt x="13162" y="18956"/>
                    <a:pt x="13277" y="21060"/>
                  </a:cubicBezTo>
                  <a:lnTo>
                    <a:pt x="13277" y="51205"/>
                  </a:lnTo>
                  <a:lnTo>
                    <a:pt x="0" y="51205"/>
                  </a:lnTo>
                  <a:lnTo>
                    <a:pt x="0" y="1221"/>
                  </a:lnTo>
                  <a:lnTo>
                    <a:pt x="12728" y="1221"/>
                  </a:lnTo>
                  <a:lnTo>
                    <a:pt x="12728" y="8556"/>
                  </a:lnTo>
                  <a:cubicBezTo>
                    <a:pt x="13930" y="6449"/>
                    <a:pt x="15488" y="4567"/>
                    <a:pt x="17331" y="2991"/>
                  </a:cubicBezTo>
                  <a:cubicBezTo>
                    <a:pt x="23120" y="-769"/>
                    <a:pt x="30538" y="-929"/>
                    <a:pt x="36483" y="2578"/>
                  </a:cubicBezTo>
                  <a:cubicBezTo>
                    <a:pt x="38381" y="4179"/>
                    <a:pt x="39841" y="6236"/>
                    <a:pt x="40726" y="8556"/>
                  </a:cubicBezTo>
                  <a:cubicBezTo>
                    <a:pt x="42206" y="5843"/>
                    <a:pt x="44413" y="3595"/>
                    <a:pt x="47098" y="2063"/>
                  </a:cubicBezTo>
                  <a:cubicBezTo>
                    <a:pt x="49896" y="665"/>
                    <a:pt x="52988" y="-42"/>
                    <a:pt x="56116" y="2"/>
                  </a:cubicBezTo>
                  <a:cubicBezTo>
                    <a:pt x="58356" y="15"/>
                    <a:pt x="60571" y="458"/>
                    <a:pt x="62643" y="1307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77" name="Google Shape;277;p32"/>
            <p:cNvSpPr/>
            <p:nvPr/>
          </p:nvSpPr>
          <p:spPr>
            <a:xfrm rot="-5400000">
              <a:off x="12026199" y="6307354"/>
              <a:ext cx="13277" cy="68070"/>
            </a:xfrm>
            <a:custGeom>
              <a:avLst/>
              <a:gdLst/>
              <a:ahLst/>
              <a:cxnLst/>
              <a:rect l="l" t="t" r="r" b="b"/>
              <a:pathLst>
                <a:path w="13277" h="68070" extrusionOk="0">
                  <a:moveTo>
                    <a:pt x="13278" y="12024"/>
                  </a:moveTo>
                  <a:lnTo>
                    <a:pt x="0" y="12024"/>
                  </a:lnTo>
                  <a:lnTo>
                    <a:pt x="0" y="0"/>
                  </a:lnTo>
                  <a:lnTo>
                    <a:pt x="13278" y="0"/>
                  </a:lnTo>
                  <a:close/>
                  <a:moveTo>
                    <a:pt x="0" y="17984"/>
                  </a:moveTo>
                  <a:lnTo>
                    <a:pt x="13278" y="17984"/>
                  </a:lnTo>
                  <a:lnTo>
                    <a:pt x="13278" y="68070"/>
                  </a:lnTo>
                  <a:lnTo>
                    <a:pt x="0" y="6807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78" name="Google Shape;278;p32"/>
            <p:cNvSpPr/>
            <p:nvPr/>
          </p:nvSpPr>
          <p:spPr>
            <a:xfrm rot="-5400000">
              <a:off x="12018641" y="6273739"/>
              <a:ext cx="45208" cy="51255"/>
            </a:xfrm>
            <a:custGeom>
              <a:avLst/>
              <a:gdLst/>
              <a:ahLst/>
              <a:cxnLst/>
              <a:rect l="l" t="t" r="r" b="b"/>
              <a:pathLst>
                <a:path w="45208" h="51255" extrusionOk="0">
                  <a:moveTo>
                    <a:pt x="40296" y="4038"/>
                  </a:moveTo>
                  <a:cubicBezTo>
                    <a:pt x="43560" y="6752"/>
                    <a:pt x="45209" y="11252"/>
                    <a:pt x="45209" y="17521"/>
                  </a:cubicBezTo>
                  <a:lnTo>
                    <a:pt x="45209" y="51256"/>
                  </a:lnTo>
                  <a:lnTo>
                    <a:pt x="31794" y="51256"/>
                  </a:lnTo>
                  <a:lnTo>
                    <a:pt x="31794" y="20785"/>
                  </a:lnTo>
                  <a:cubicBezTo>
                    <a:pt x="31900" y="18711"/>
                    <a:pt x="31543" y="16639"/>
                    <a:pt x="30746" y="14722"/>
                  </a:cubicBezTo>
                  <a:cubicBezTo>
                    <a:pt x="29458" y="12162"/>
                    <a:pt x="27036" y="10874"/>
                    <a:pt x="23446" y="10874"/>
                  </a:cubicBezTo>
                  <a:cubicBezTo>
                    <a:pt x="19511" y="10565"/>
                    <a:pt x="15833" y="12857"/>
                    <a:pt x="14377" y="16525"/>
                  </a:cubicBezTo>
                  <a:cubicBezTo>
                    <a:pt x="13439" y="18955"/>
                    <a:pt x="13001" y="21549"/>
                    <a:pt x="13089" y="24151"/>
                  </a:cubicBezTo>
                  <a:lnTo>
                    <a:pt x="13089" y="51256"/>
                  </a:lnTo>
                  <a:lnTo>
                    <a:pt x="0" y="51256"/>
                  </a:lnTo>
                  <a:lnTo>
                    <a:pt x="0" y="1272"/>
                  </a:lnTo>
                  <a:lnTo>
                    <a:pt x="12676" y="1272"/>
                  </a:lnTo>
                  <a:lnTo>
                    <a:pt x="12676" y="8607"/>
                  </a:lnTo>
                  <a:cubicBezTo>
                    <a:pt x="13946" y="6502"/>
                    <a:pt x="15553" y="4622"/>
                    <a:pt x="17434" y="3042"/>
                  </a:cubicBezTo>
                  <a:cubicBezTo>
                    <a:pt x="20409" y="938"/>
                    <a:pt x="23996" y="-125"/>
                    <a:pt x="27637" y="18"/>
                  </a:cubicBezTo>
                  <a:cubicBezTo>
                    <a:pt x="32199" y="-181"/>
                    <a:pt x="36684" y="1243"/>
                    <a:pt x="40296" y="403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79" name="Google Shape;279;p32"/>
            <p:cNvSpPr/>
            <p:nvPr/>
          </p:nvSpPr>
          <p:spPr>
            <a:xfrm rot="-5400000">
              <a:off x="12017163" y="6218687"/>
              <a:ext cx="48082" cy="51510"/>
            </a:xfrm>
            <a:custGeom>
              <a:avLst/>
              <a:gdLst/>
              <a:ahLst/>
              <a:cxnLst/>
              <a:rect l="l" t="t" r="r" b="b"/>
              <a:pathLst>
                <a:path w="48082" h="51510" extrusionOk="0">
                  <a:moveTo>
                    <a:pt x="35384" y="2281"/>
                  </a:moveTo>
                  <a:cubicBezTo>
                    <a:pt x="38804" y="3821"/>
                    <a:pt x="41712" y="6306"/>
                    <a:pt x="43766" y="9444"/>
                  </a:cubicBezTo>
                  <a:cubicBezTo>
                    <a:pt x="45803" y="12448"/>
                    <a:pt x="47126" y="15880"/>
                    <a:pt x="47631" y="19475"/>
                  </a:cubicBezTo>
                  <a:cubicBezTo>
                    <a:pt x="48021" y="22665"/>
                    <a:pt x="48160" y="25881"/>
                    <a:pt x="48043" y="29094"/>
                  </a:cubicBezTo>
                  <a:lnTo>
                    <a:pt x="12711" y="29094"/>
                  </a:lnTo>
                  <a:cubicBezTo>
                    <a:pt x="12900" y="33955"/>
                    <a:pt x="14600" y="37373"/>
                    <a:pt x="17778" y="39400"/>
                  </a:cubicBezTo>
                  <a:cubicBezTo>
                    <a:pt x="19884" y="40669"/>
                    <a:pt x="22311" y="41306"/>
                    <a:pt x="24769" y="41237"/>
                  </a:cubicBezTo>
                  <a:cubicBezTo>
                    <a:pt x="27307" y="41354"/>
                    <a:pt x="29803" y="40563"/>
                    <a:pt x="31811" y="39004"/>
                  </a:cubicBezTo>
                  <a:cubicBezTo>
                    <a:pt x="32891" y="38080"/>
                    <a:pt x="33774" y="36947"/>
                    <a:pt x="34405" y="35672"/>
                  </a:cubicBezTo>
                  <a:lnTo>
                    <a:pt x="47407" y="35672"/>
                  </a:lnTo>
                  <a:cubicBezTo>
                    <a:pt x="46818" y="39021"/>
                    <a:pt x="45169" y="42092"/>
                    <a:pt x="42701" y="44432"/>
                  </a:cubicBezTo>
                  <a:cubicBezTo>
                    <a:pt x="38355" y="49156"/>
                    <a:pt x="32292" y="51509"/>
                    <a:pt x="24459" y="51509"/>
                  </a:cubicBezTo>
                  <a:cubicBezTo>
                    <a:pt x="18245" y="51584"/>
                    <a:pt x="12202" y="49474"/>
                    <a:pt x="7386" y="45549"/>
                  </a:cubicBezTo>
                  <a:cubicBezTo>
                    <a:pt x="2461" y="41564"/>
                    <a:pt x="0" y="35094"/>
                    <a:pt x="0" y="26139"/>
                  </a:cubicBezTo>
                  <a:cubicBezTo>
                    <a:pt x="0" y="17746"/>
                    <a:pt x="2228" y="11304"/>
                    <a:pt x="6682" y="6816"/>
                  </a:cubicBezTo>
                  <a:cubicBezTo>
                    <a:pt x="11252" y="2254"/>
                    <a:pt x="17508" y="-208"/>
                    <a:pt x="23961" y="14"/>
                  </a:cubicBezTo>
                  <a:cubicBezTo>
                    <a:pt x="27886" y="-52"/>
                    <a:pt x="31782" y="721"/>
                    <a:pt x="35384" y="2281"/>
                  </a:cubicBezTo>
                  <a:close/>
                  <a:moveTo>
                    <a:pt x="16490" y="13223"/>
                  </a:moveTo>
                  <a:cubicBezTo>
                    <a:pt x="14554" y="15309"/>
                    <a:pt x="13350" y="17967"/>
                    <a:pt x="13054" y="20797"/>
                  </a:cubicBezTo>
                  <a:lnTo>
                    <a:pt x="34886" y="20797"/>
                  </a:lnTo>
                  <a:cubicBezTo>
                    <a:pt x="34844" y="17880"/>
                    <a:pt x="33601" y="15108"/>
                    <a:pt x="31450" y="13137"/>
                  </a:cubicBezTo>
                  <a:cubicBezTo>
                    <a:pt x="29363" y="11367"/>
                    <a:pt x="26698" y="10426"/>
                    <a:pt x="23961" y="10491"/>
                  </a:cubicBezTo>
                  <a:cubicBezTo>
                    <a:pt x="21201" y="10337"/>
                    <a:pt x="18499" y="11325"/>
                    <a:pt x="16490" y="13223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280" name="Google Shape;280;p32"/>
          <p:cNvSpPr txBox="1"/>
          <p:nvPr/>
        </p:nvSpPr>
        <p:spPr>
          <a:xfrm rot="-5400000">
            <a:off x="11250971" y="5290633"/>
            <a:ext cx="1567737" cy="110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</a:pPr>
            <a:r>
              <a:rPr lang="en-US" sz="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Copyright © 2020. All rights reserved.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81" name="Google Shape;281;p32"/>
          <p:cNvSpPr txBox="1">
            <a:spLocks noGrp="1"/>
          </p:cNvSpPr>
          <p:nvPr>
            <p:ph type="sldNum" idx="12"/>
          </p:nvPr>
        </p:nvSpPr>
        <p:spPr>
          <a:xfrm>
            <a:off x="11490153" y="6465614"/>
            <a:ext cx="150682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marL="0" marR="0" lvl="0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82" name="Google Shape;282;p32"/>
          <p:cNvCxnSpPr/>
          <p:nvPr/>
        </p:nvCxnSpPr>
        <p:spPr>
          <a:xfrm>
            <a:off x="992389" y="5712304"/>
            <a:ext cx="1542466" cy="0"/>
          </a:xfrm>
          <a:prstGeom prst="straightConnector1">
            <a:avLst/>
          </a:prstGeom>
          <a:noFill/>
          <a:ln w="38100" cap="flat" cmpd="sng">
            <a:solidFill>
              <a:schemeClr val="lt1"/>
            </a:solidFill>
            <a:prstDash val="solid"/>
            <a:miter lim="800000"/>
            <a:headEnd type="none" w="sm" len="sm"/>
            <a:tailEnd type="none" w="sm" len="sm"/>
          </a:ln>
        </p:spPr>
      </p:cxn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 xmlns:mv="urn:schemas-microsoft-com:mac:vml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5="http://schemas.microsoft.com/office/powerpoint/2012/main" xmlns:ahyp="http://schemas.microsoft.com/office/drawing/2018/hyperlinkcolor">
      <p:transition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Guides">
  <p:cSld name="Guides">
    <p:spTree>
      <p:nvGrpSpPr>
        <p:cNvPr id="1" name="Shape 28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4" name="Google Shape;284;p33"/>
          <p:cNvSpPr/>
          <p:nvPr/>
        </p:nvSpPr>
        <p:spPr>
          <a:xfrm>
            <a:off x="0" y="0"/>
            <a:ext cx="12193200" cy="6858000"/>
          </a:xfrm>
          <a:custGeom>
            <a:avLst/>
            <a:gdLst/>
            <a:ahLst/>
            <a:cxnLst/>
            <a:rect l="l" t="t" r="r" b="b"/>
            <a:pathLst>
              <a:path w="12193200" h="6858000" extrusionOk="0">
                <a:moveTo>
                  <a:pt x="566584" y="549276"/>
                </a:moveTo>
                <a:lnTo>
                  <a:pt x="566584" y="6308726"/>
                </a:lnTo>
                <a:lnTo>
                  <a:pt x="11641138" y="6308726"/>
                </a:lnTo>
                <a:lnTo>
                  <a:pt x="11641138" y="549276"/>
                </a:lnTo>
                <a:close/>
                <a:moveTo>
                  <a:pt x="0" y="0"/>
                </a:moveTo>
                <a:lnTo>
                  <a:pt x="12193200" y="0"/>
                </a:lnTo>
                <a:lnTo>
                  <a:pt x="12193200" y="622800"/>
                </a:lnTo>
                <a:lnTo>
                  <a:pt x="12192000" y="622800"/>
                </a:lnTo>
                <a:lnTo>
                  <a:pt x="12192000" y="6160597"/>
                </a:lnTo>
                <a:lnTo>
                  <a:pt x="12193200" y="6160597"/>
                </a:lnTo>
                <a:lnTo>
                  <a:pt x="12193200" y="6858000"/>
                </a:lnTo>
                <a:lnTo>
                  <a:pt x="12192000" y="6858000"/>
                </a:lnTo>
                <a:lnTo>
                  <a:pt x="11562000" y="6858000"/>
                </a:lnTo>
                <a:lnTo>
                  <a:pt x="630001" y="6858000"/>
                </a:lnTo>
                <a:lnTo>
                  <a:pt x="1" y="6858000"/>
                </a:lnTo>
                <a:lnTo>
                  <a:pt x="1" y="6160597"/>
                </a:lnTo>
                <a:lnTo>
                  <a:pt x="1" y="622800"/>
                </a:lnTo>
                <a:lnTo>
                  <a:pt x="0" y="622800"/>
                </a:lnTo>
                <a:close/>
              </a:path>
            </a:pathLst>
          </a:custGeom>
          <a:solidFill>
            <a:srgbClr val="FF0000">
              <a:alpha val="2352"/>
            </a:srgbClr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grpSp>
        <p:nvGrpSpPr>
          <p:cNvPr id="285" name="Google Shape;285;p33"/>
          <p:cNvGrpSpPr/>
          <p:nvPr/>
        </p:nvGrpSpPr>
        <p:grpSpPr>
          <a:xfrm>
            <a:off x="-600" y="549275"/>
            <a:ext cx="12193201" cy="5759450"/>
            <a:chOff x="-600" y="549275"/>
            <a:chExt cx="12193201" cy="5759450"/>
          </a:xfrm>
        </p:grpSpPr>
        <p:cxnSp>
          <p:nvCxnSpPr>
            <p:cNvPr id="286" name="Google Shape;286;p33"/>
            <p:cNvCxnSpPr/>
            <p:nvPr/>
          </p:nvCxnSpPr>
          <p:spPr>
            <a:xfrm>
              <a:off x="-600" y="549275"/>
              <a:ext cx="12193201" cy="0"/>
            </a:xfrm>
            <a:prstGeom prst="straightConnector1">
              <a:avLst/>
            </a:prstGeom>
            <a:noFill/>
            <a:ln w="9525" cap="flat" cmpd="sng">
              <a:solidFill>
                <a:schemeClr val="dk2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287" name="Google Shape;287;p33"/>
            <p:cNvCxnSpPr/>
            <p:nvPr/>
          </p:nvCxnSpPr>
          <p:spPr>
            <a:xfrm>
              <a:off x="-600" y="1072861"/>
              <a:ext cx="12193201" cy="0"/>
            </a:xfrm>
            <a:prstGeom prst="straightConnector1">
              <a:avLst/>
            </a:prstGeom>
            <a:noFill/>
            <a:ln w="9525" cap="flat" cmpd="sng">
              <a:solidFill>
                <a:schemeClr val="dk2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288" name="Google Shape;288;p33"/>
            <p:cNvCxnSpPr/>
            <p:nvPr/>
          </p:nvCxnSpPr>
          <p:spPr>
            <a:xfrm>
              <a:off x="-600" y="1334654"/>
              <a:ext cx="12193201" cy="0"/>
            </a:xfrm>
            <a:prstGeom prst="straightConnector1">
              <a:avLst/>
            </a:prstGeom>
            <a:noFill/>
            <a:ln w="9525" cap="flat" cmpd="sng">
              <a:solidFill>
                <a:schemeClr val="dk2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289" name="Google Shape;289;p33"/>
            <p:cNvCxnSpPr/>
            <p:nvPr/>
          </p:nvCxnSpPr>
          <p:spPr>
            <a:xfrm>
              <a:off x="-600" y="1596447"/>
              <a:ext cx="12193201" cy="0"/>
            </a:xfrm>
            <a:prstGeom prst="straightConnector1">
              <a:avLst/>
            </a:prstGeom>
            <a:noFill/>
            <a:ln w="9525" cap="flat" cmpd="sng">
              <a:solidFill>
                <a:schemeClr val="dk2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290" name="Google Shape;290;p33"/>
            <p:cNvCxnSpPr/>
            <p:nvPr/>
          </p:nvCxnSpPr>
          <p:spPr>
            <a:xfrm>
              <a:off x="-600" y="1858240"/>
              <a:ext cx="12193201" cy="0"/>
            </a:xfrm>
            <a:prstGeom prst="straightConnector1">
              <a:avLst/>
            </a:prstGeom>
            <a:noFill/>
            <a:ln w="9525" cap="flat" cmpd="sng">
              <a:solidFill>
                <a:schemeClr val="dk2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291" name="Google Shape;291;p33"/>
            <p:cNvCxnSpPr/>
            <p:nvPr/>
          </p:nvCxnSpPr>
          <p:spPr>
            <a:xfrm>
              <a:off x="-600" y="2120033"/>
              <a:ext cx="12193201" cy="0"/>
            </a:xfrm>
            <a:prstGeom prst="straightConnector1">
              <a:avLst/>
            </a:prstGeom>
            <a:noFill/>
            <a:ln w="9525" cap="flat" cmpd="sng">
              <a:solidFill>
                <a:schemeClr val="dk2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292" name="Google Shape;292;p33"/>
            <p:cNvCxnSpPr/>
            <p:nvPr/>
          </p:nvCxnSpPr>
          <p:spPr>
            <a:xfrm>
              <a:off x="-600" y="2381826"/>
              <a:ext cx="12193201" cy="0"/>
            </a:xfrm>
            <a:prstGeom prst="straightConnector1">
              <a:avLst/>
            </a:prstGeom>
            <a:noFill/>
            <a:ln w="9525" cap="flat" cmpd="sng">
              <a:solidFill>
                <a:schemeClr val="dk2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293" name="Google Shape;293;p33"/>
            <p:cNvCxnSpPr/>
            <p:nvPr/>
          </p:nvCxnSpPr>
          <p:spPr>
            <a:xfrm>
              <a:off x="-600" y="2643619"/>
              <a:ext cx="12193201" cy="0"/>
            </a:xfrm>
            <a:prstGeom prst="straightConnector1">
              <a:avLst/>
            </a:prstGeom>
            <a:noFill/>
            <a:ln w="9525" cap="flat" cmpd="sng">
              <a:solidFill>
                <a:schemeClr val="dk2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294" name="Google Shape;294;p33"/>
            <p:cNvCxnSpPr/>
            <p:nvPr/>
          </p:nvCxnSpPr>
          <p:spPr>
            <a:xfrm>
              <a:off x="-600" y="2905412"/>
              <a:ext cx="12193201" cy="0"/>
            </a:xfrm>
            <a:prstGeom prst="straightConnector1">
              <a:avLst/>
            </a:prstGeom>
            <a:noFill/>
            <a:ln w="9525" cap="flat" cmpd="sng">
              <a:solidFill>
                <a:schemeClr val="dk2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295" name="Google Shape;295;p33"/>
            <p:cNvCxnSpPr/>
            <p:nvPr/>
          </p:nvCxnSpPr>
          <p:spPr>
            <a:xfrm>
              <a:off x="-600" y="3167205"/>
              <a:ext cx="12193201" cy="0"/>
            </a:xfrm>
            <a:prstGeom prst="straightConnector1">
              <a:avLst/>
            </a:prstGeom>
            <a:noFill/>
            <a:ln w="9525" cap="flat" cmpd="sng">
              <a:solidFill>
                <a:schemeClr val="dk2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296" name="Google Shape;296;p33"/>
            <p:cNvCxnSpPr/>
            <p:nvPr/>
          </p:nvCxnSpPr>
          <p:spPr>
            <a:xfrm>
              <a:off x="-600" y="3428998"/>
              <a:ext cx="12193201" cy="0"/>
            </a:xfrm>
            <a:prstGeom prst="straightConnector1">
              <a:avLst/>
            </a:prstGeom>
            <a:noFill/>
            <a:ln w="9525" cap="flat" cmpd="sng">
              <a:solidFill>
                <a:schemeClr val="dk2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297" name="Google Shape;297;p33"/>
            <p:cNvCxnSpPr/>
            <p:nvPr/>
          </p:nvCxnSpPr>
          <p:spPr>
            <a:xfrm>
              <a:off x="-600" y="3690791"/>
              <a:ext cx="12193201" cy="0"/>
            </a:xfrm>
            <a:prstGeom prst="straightConnector1">
              <a:avLst/>
            </a:prstGeom>
            <a:noFill/>
            <a:ln w="9525" cap="flat" cmpd="sng">
              <a:solidFill>
                <a:schemeClr val="dk2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298" name="Google Shape;298;p33"/>
            <p:cNvCxnSpPr/>
            <p:nvPr/>
          </p:nvCxnSpPr>
          <p:spPr>
            <a:xfrm>
              <a:off x="-600" y="3952584"/>
              <a:ext cx="12193201" cy="0"/>
            </a:xfrm>
            <a:prstGeom prst="straightConnector1">
              <a:avLst/>
            </a:prstGeom>
            <a:noFill/>
            <a:ln w="9525" cap="flat" cmpd="sng">
              <a:solidFill>
                <a:schemeClr val="dk2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299" name="Google Shape;299;p33"/>
            <p:cNvCxnSpPr/>
            <p:nvPr/>
          </p:nvCxnSpPr>
          <p:spPr>
            <a:xfrm>
              <a:off x="-600" y="4214377"/>
              <a:ext cx="12193201" cy="0"/>
            </a:xfrm>
            <a:prstGeom prst="straightConnector1">
              <a:avLst/>
            </a:prstGeom>
            <a:noFill/>
            <a:ln w="9525" cap="flat" cmpd="sng">
              <a:solidFill>
                <a:schemeClr val="dk2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300" name="Google Shape;300;p33"/>
            <p:cNvCxnSpPr/>
            <p:nvPr/>
          </p:nvCxnSpPr>
          <p:spPr>
            <a:xfrm>
              <a:off x="-600" y="4476170"/>
              <a:ext cx="12193201" cy="0"/>
            </a:xfrm>
            <a:prstGeom prst="straightConnector1">
              <a:avLst/>
            </a:prstGeom>
            <a:noFill/>
            <a:ln w="9525" cap="flat" cmpd="sng">
              <a:solidFill>
                <a:schemeClr val="dk2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301" name="Google Shape;301;p33"/>
            <p:cNvCxnSpPr/>
            <p:nvPr/>
          </p:nvCxnSpPr>
          <p:spPr>
            <a:xfrm>
              <a:off x="-600" y="4737963"/>
              <a:ext cx="12193201" cy="0"/>
            </a:xfrm>
            <a:prstGeom prst="straightConnector1">
              <a:avLst/>
            </a:prstGeom>
            <a:noFill/>
            <a:ln w="9525" cap="flat" cmpd="sng">
              <a:solidFill>
                <a:schemeClr val="dk2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302" name="Google Shape;302;p33"/>
            <p:cNvCxnSpPr/>
            <p:nvPr/>
          </p:nvCxnSpPr>
          <p:spPr>
            <a:xfrm>
              <a:off x="-600" y="4999756"/>
              <a:ext cx="12193201" cy="0"/>
            </a:xfrm>
            <a:prstGeom prst="straightConnector1">
              <a:avLst/>
            </a:prstGeom>
            <a:noFill/>
            <a:ln w="9525" cap="flat" cmpd="sng">
              <a:solidFill>
                <a:schemeClr val="dk2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303" name="Google Shape;303;p33"/>
            <p:cNvCxnSpPr/>
            <p:nvPr/>
          </p:nvCxnSpPr>
          <p:spPr>
            <a:xfrm>
              <a:off x="-600" y="5261549"/>
              <a:ext cx="12193201" cy="0"/>
            </a:xfrm>
            <a:prstGeom prst="straightConnector1">
              <a:avLst/>
            </a:prstGeom>
            <a:noFill/>
            <a:ln w="9525" cap="flat" cmpd="sng">
              <a:solidFill>
                <a:schemeClr val="dk2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304" name="Google Shape;304;p33"/>
            <p:cNvCxnSpPr/>
            <p:nvPr/>
          </p:nvCxnSpPr>
          <p:spPr>
            <a:xfrm>
              <a:off x="-600" y="5523342"/>
              <a:ext cx="12193201" cy="0"/>
            </a:xfrm>
            <a:prstGeom prst="straightConnector1">
              <a:avLst/>
            </a:prstGeom>
            <a:noFill/>
            <a:ln w="9525" cap="flat" cmpd="sng">
              <a:solidFill>
                <a:schemeClr val="dk2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305" name="Google Shape;305;p33"/>
            <p:cNvCxnSpPr/>
            <p:nvPr/>
          </p:nvCxnSpPr>
          <p:spPr>
            <a:xfrm>
              <a:off x="-600" y="5785135"/>
              <a:ext cx="12193201" cy="0"/>
            </a:xfrm>
            <a:prstGeom prst="straightConnector1">
              <a:avLst/>
            </a:prstGeom>
            <a:noFill/>
            <a:ln w="9525" cap="flat" cmpd="sng">
              <a:solidFill>
                <a:schemeClr val="dk2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306" name="Google Shape;306;p33"/>
            <p:cNvCxnSpPr/>
            <p:nvPr/>
          </p:nvCxnSpPr>
          <p:spPr>
            <a:xfrm>
              <a:off x="-600" y="811068"/>
              <a:ext cx="12193201" cy="0"/>
            </a:xfrm>
            <a:prstGeom prst="straightConnector1">
              <a:avLst/>
            </a:prstGeom>
            <a:noFill/>
            <a:ln w="9525" cap="flat" cmpd="sng">
              <a:solidFill>
                <a:schemeClr val="dk2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307" name="Google Shape;307;p33"/>
            <p:cNvCxnSpPr/>
            <p:nvPr/>
          </p:nvCxnSpPr>
          <p:spPr>
            <a:xfrm>
              <a:off x="-600" y="6308725"/>
              <a:ext cx="12193201" cy="0"/>
            </a:xfrm>
            <a:prstGeom prst="straightConnector1">
              <a:avLst/>
            </a:prstGeom>
            <a:noFill/>
            <a:ln w="9525" cap="flat" cmpd="sng">
              <a:solidFill>
                <a:schemeClr val="dk2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308" name="Google Shape;308;p33"/>
            <p:cNvCxnSpPr/>
            <p:nvPr/>
          </p:nvCxnSpPr>
          <p:spPr>
            <a:xfrm>
              <a:off x="-600" y="6046928"/>
              <a:ext cx="12193201" cy="0"/>
            </a:xfrm>
            <a:prstGeom prst="straightConnector1">
              <a:avLst/>
            </a:prstGeom>
            <a:noFill/>
            <a:ln w="9525" cap="flat" cmpd="sng">
              <a:solidFill>
                <a:schemeClr val="dk2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</p:grpSp>
      <p:sp>
        <p:nvSpPr>
          <p:cNvPr id="309" name="Google Shape;309;p33"/>
          <p:cNvSpPr/>
          <p:nvPr/>
        </p:nvSpPr>
        <p:spPr>
          <a:xfrm>
            <a:off x="550263" y="6308721"/>
            <a:ext cx="11090873" cy="261799"/>
          </a:xfrm>
          <a:prstGeom prst="rect">
            <a:avLst/>
          </a:prstGeom>
          <a:solidFill>
            <a:srgbClr val="FF0000">
              <a:alpha val="7450"/>
            </a:srgbClr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10" name="Google Shape;310;p33"/>
          <p:cNvSpPr/>
          <p:nvPr/>
        </p:nvSpPr>
        <p:spPr>
          <a:xfrm>
            <a:off x="550864" y="1348221"/>
            <a:ext cx="11105556" cy="509202"/>
          </a:xfrm>
          <a:prstGeom prst="rect">
            <a:avLst/>
          </a:prstGeom>
          <a:solidFill>
            <a:srgbClr val="FF0000">
              <a:alpha val="2352"/>
            </a:srgbClr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11" name="Google Shape;311;p33"/>
          <p:cNvSpPr/>
          <p:nvPr/>
        </p:nvSpPr>
        <p:spPr>
          <a:xfrm>
            <a:off x="550863" y="2120033"/>
            <a:ext cx="11090275" cy="4188692"/>
          </a:xfrm>
          <a:custGeom>
            <a:avLst/>
            <a:gdLst/>
            <a:ahLst/>
            <a:cxnLst/>
            <a:rect l="l" t="t" r="r" b="b"/>
            <a:pathLst>
              <a:path w="10931999" h="5537797" extrusionOk="0">
                <a:moveTo>
                  <a:pt x="0" y="0"/>
                </a:moveTo>
                <a:lnTo>
                  <a:pt x="10931999" y="0"/>
                </a:lnTo>
                <a:lnTo>
                  <a:pt x="10931999" y="5537797"/>
                </a:lnTo>
                <a:lnTo>
                  <a:pt x="0" y="5537797"/>
                </a:lnTo>
                <a:close/>
              </a:path>
            </a:pathLst>
          </a:custGeom>
          <a:noFill/>
          <a:ln w="9525" cap="flat" cmpd="sng">
            <a:solidFill>
              <a:schemeClr val="dk2">
                <a:alpha val="32549"/>
              </a:schemeClr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endParaRPr sz="12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grpSp>
        <p:nvGrpSpPr>
          <p:cNvPr id="312" name="Google Shape;312;p33"/>
          <p:cNvGrpSpPr/>
          <p:nvPr/>
        </p:nvGrpSpPr>
        <p:grpSpPr>
          <a:xfrm>
            <a:off x="1215339" y="1857423"/>
            <a:ext cx="9763000" cy="4458091"/>
            <a:chOff x="1215339" y="549274"/>
            <a:chExt cx="9763000" cy="5759450"/>
          </a:xfrm>
        </p:grpSpPr>
        <p:sp>
          <p:nvSpPr>
            <p:cNvPr id="313" name="Google Shape;313;p33"/>
            <p:cNvSpPr/>
            <p:nvPr/>
          </p:nvSpPr>
          <p:spPr>
            <a:xfrm>
              <a:off x="6900339" y="549274"/>
              <a:ext cx="288000" cy="5759450"/>
            </a:xfrm>
            <a:prstGeom prst="rect">
              <a:avLst/>
            </a:prstGeom>
            <a:solidFill>
              <a:srgbClr val="9EB5FA">
                <a:alpha val="745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14" name="Google Shape;314;p33"/>
            <p:cNvSpPr/>
            <p:nvPr/>
          </p:nvSpPr>
          <p:spPr>
            <a:xfrm>
              <a:off x="8795339" y="549274"/>
              <a:ext cx="288000" cy="5759450"/>
            </a:xfrm>
            <a:prstGeom prst="rect">
              <a:avLst/>
            </a:prstGeom>
            <a:solidFill>
              <a:srgbClr val="9EB5FA">
                <a:alpha val="745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15" name="Google Shape;315;p33"/>
            <p:cNvSpPr/>
            <p:nvPr/>
          </p:nvSpPr>
          <p:spPr>
            <a:xfrm>
              <a:off x="7847839" y="549274"/>
              <a:ext cx="288000" cy="5759450"/>
            </a:xfrm>
            <a:prstGeom prst="rect">
              <a:avLst/>
            </a:prstGeom>
            <a:solidFill>
              <a:srgbClr val="9EB5FA">
                <a:alpha val="745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16" name="Google Shape;316;p33"/>
            <p:cNvSpPr/>
            <p:nvPr/>
          </p:nvSpPr>
          <p:spPr>
            <a:xfrm>
              <a:off x="9742839" y="549274"/>
              <a:ext cx="288000" cy="5759450"/>
            </a:xfrm>
            <a:prstGeom prst="rect">
              <a:avLst/>
            </a:prstGeom>
            <a:solidFill>
              <a:srgbClr val="9EB5FA">
                <a:alpha val="745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17" name="Google Shape;317;p33"/>
            <p:cNvSpPr/>
            <p:nvPr/>
          </p:nvSpPr>
          <p:spPr>
            <a:xfrm>
              <a:off x="10690339" y="549274"/>
              <a:ext cx="288000" cy="5759450"/>
            </a:xfrm>
            <a:prstGeom prst="rect">
              <a:avLst/>
            </a:prstGeom>
            <a:solidFill>
              <a:srgbClr val="9EB5FA">
                <a:alpha val="745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18" name="Google Shape;318;p33"/>
            <p:cNvSpPr/>
            <p:nvPr/>
          </p:nvSpPr>
          <p:spPr>
            <a:xfrm>
              <a:off x="5952839" y="549274"/>
              <a:ext cx="288000" cy="5759450"/>
            </a:xfrm>
            <a:prstGeom prst="rect">
              <a:avLst/>
            </a:prstGeom>
            <a:solidFill>
              <a:srgbClr val="9EB5FA">
                <a:alpha val="2745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19" name="Google Shape;319;p33"/>
            <p:cNvSpPr/>
            <p:nvPr/>
          </p:nvSpPr>
          <p:spPr>
            <a:xfrm>
              <a:off x="1215339" y="549274"/>
              <a:ext cx="288000" cy="5759450"/>
            </a:xfrm>
            <a:prstGeom prst="rect">
              <a:avLst/>
            </a:prstGeom>
            <a:solidFill>
              <a:srgbClr val="9EB5FA">
                <a:alpha val="745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20" name="Google Shape;320;p33"/>
            <p:cNvSpPr/>
            <p:nvPr/>
          </p:nvSpPr>
          <p:spPr>
            <a:xfrm>
              <a:off x="2162839" y="549274"/>
              <a:ext cx="288000" cy="5759450"/>
            </a:xfrm>
            <a:prstGeom prst="rect">
              <a:avLst/>
            </a:prstGeom>
            <a:solidFill>
              <a:srgbClr val="9EB5FA">
                <a:alpha val="745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21" name="Google Shape;321;p33"/>
            <p:cNvSpPr/>
            <p:nvPr/>
          </p:nvSpPr>
          <p:spPr>
            <a:xfrm>
              <a:off x="3110339" y="549274"/>
              <a:ext cx="288000" cy="5759450"/>
            </a:xfrm>
            <a:prstGeom prst="rect">
              <a:avLst/>
            </a:prstGeom>
            <a:solidFill>
              <a:srgbClr val="9EB5FA">
                <a:alpha val="745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22" name="Google Shape;322;p33"/>
            <p:cNvSpPr/>
            <p:nvPr/>
          </p:nvSpPr>
          <p:spPr>
            <a:xfrm>
              <a:off x="4057839" y="549274"/>
              <a:ext cx="288000" cy="5759450"/>
            </a:xfrm>
            <a:prstGeom prst="rect">
              <a:avLst/>
            </a:prstGeom>
            <a:solidFill>
              <a:srgbClr val="9EB5FA">
                <a:alpha val="745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23" name="Google Shape;323;p33"/>
            <p:cNvSpPr/>
            <p:nvPr/>
          </p:nvSpPr>
          <p:spPr>
            <a:xfrm>
              <a:off x="5005339" y="549274"/>
              <a:ext cx="288000" cy="5759450"/>
            </a:xfrm>
            <a:prstGeom prst="rect">
              <a:avLst/>
            </a:prstGeom>
            <a:solidFill>
              <a:srgbClr val="9EB5FA">
                <a:alpha val="745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324" name="Google Shape;324;p33"/>
          <p:cNvSpPr txBox="1"/>
          <p:nvPr/>
        </p:nvSpPr>
        <p:spPr>
          <a:xfrm>
            <a:off x="550862" y="6309543"/>
            <a:ext cx="9030915" cy="27770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1000"/>
              <a:buFont typeface="Calibri"/>
              <a:buNone/>
            </a:pPr>
            <a:r>
              <a:rPr lang="en-US"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rPr>
              <a:t>Footnotes/Notes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1000"/>
              <a:buFont typeface="Calibri"/>
              <a:buNone/>
            </a:pPr>
            <a:r>
              <a:rPr lang="en-US"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rPr>
              <a:t>Source: Include a source here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25" name="Google Shape;325;p33"/>
          <p:cNvSpPr txBox="1">
            <a:spLocks noGrp="1"/>
          </p:cNvSpPr>
          <p:nvPr>
            <p:ph type="sldNum" idx="12"/>
          </p:nvPr>
        </p:nvSpPr>
        <p:spPr>
          <a:xfrm>
            <a:off x="11490153" y="6450225"/>
            <a:ext cx="150682" cy="1538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marL="0" marR="0" lvl="0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326" name="Google Shape;326;p33"/>
          <p:cNvSpPr txBox="1">
            <a:spLocks noGrp="1"/>
          </p:cNvSpPr>
          <p:nvPr>
            <p:ph type="title"/>
          </p:nvPr>
        </p:nvSpPr>
        <p:spPr>
          <a:xfrm>
            <a:off x="539400" y="560588"/>
            <a:ext cx="11089972" cy="42229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200"/>
              <a:buFont typeface="Franklin Gothic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327" name="Google Shape;327;p33"/>
          <p:cNvGrpSpPr/>
          <p:nvPr/>
        </p:nvGrpSpPr>
        <p:grpSpPr>
          <a:xfrm>
            <a:off x="550864" y="6156603"/>
            <a:ext cx="11089971" cy="55199"/>
            <a:chOff x="550864" y="6156603"/>
            <a:chExt cx="11089971" cy="55199"/>
          </a:xfrm>
        </p:grpSpPr>
        <p:sp>
          <p:nvSpPr>
            <p:cNvPr id="328" name="Google Shape;328;p33"/>
            <p:cNvSpPr/>
            <p:nvPr/>
          </p:nvSpPr>
          <p:spPr>
            <a:xfrm>
              <a:off x="550864" y="6156603"/>
              <a:ext cx="1983600" cy="55199"/>
            </a:xfrm>
            <a:prstGeom prst="rect">
              <a:avLst/>
            </a:prstGeom>
            <a:solidFill>
              <a:srgbClr val="9EB5FA">
                <a:alpha val="2745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29" name="Google Shape;329;p33"/>
            <p:cNvSpPr/>
            <p:nvPr/>
          </p:nvSpPr>
          <p:spPr>
            <a:xfrm>
              <a:off x="5104050" y="6156603"/>
              <a:ext cx="1983600" cy="55199"/>
            </a:xfrm>
            <a:prstGeom prst="rect">
              <a:avLst/>
            </a:prstGeom>
            <a:solidFill>
              <a:srgbClr val="9EB5FA">
                <a:alpha val="2745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30" name="Google Shape;330;p33"/>
            <p:cNvSpPr/>
            <p:nvPr/>
          </p:nvSpPr>
          <p:spPr>
            <a:xfrm>
              <a:off x="7380643" y="6156603"/>
              <a:ext cx="1983600" cy="55199"/>
            </a:xfrm>
            <a:prstGeom prst="rect">
              <a:avLst/>
            </a:prstGeom>
            <a:solidFill>
              <a:srgbClr val="9EB5FA">
                <a:alpha val="2745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31" name="Google Shape;331;p33"/>
            <p:cNvSpPr/>
            <p:nvPr/>
          </p:nvSpPr>
          <p:spPr>
            <a:xfrm>
              <a:off x="9657235" y="6156603"/>
              <a:ext cx="1983600" cy="55199"/>
            </a:xfrm>
            <a:prstGeom prst="rect">
              <a:avLst/>
            </a:prstGeom>
            <a:solidFill>
              <a:srgbClr val="9EB5FA">
                <a:alpha val="2745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32" name="Google Shape;332;p33"/>
            <p:cNvSpPr/>
            <p:nvPr/>
          </p:nvSpPr>
          <p:spPr>
            <a:xfrm>
              <a:off x="2827457" y="6156603"/>
              <a:ext cx="1983600" cy="55199"/>
            </a:xfrm>
            <a:prstGeom prst="rect">
              <a:avLst/>
            </a:prstGeom>
            <a:solidFill>
              <a:srgbClr val="9EB5FA">
                <a:alpha val="2745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</p:spTree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5_Full-width Page">
  <p:cSld name="5_Full-width Page">
    <p:spTree>
      <p:nvGrpSpPr>
        <p:cNvPr id="1" name="Shape 3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34" name="Google Shape;334;p3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" y="0"/>
            <a:ext cx="3492498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335" name="Google Shape;335;p34"/>
          <p:cNvSpPr/>
          <p:nvPr/>
        </p:nvSpPr>
        <p:spPr>
          <a:xfrm>
            <a:off x="0" y="-1"/>
            <a:ext cx="3492497" cy="6857999"/>
          </a:xfrm>
          <a:prstGeom prst="rect">
            <a:avLst/>
          </a:prstGeom>
          <a:gradFill>
            <a:gsLst>
              <a:gs pos="0">
                <a:schemeClr val="dk2"/>
              </a:gs>
              <a:gs pos="76000">
                <a:srgbClr val="4873F5">
                  <a:alpha val="82352"/>
                </a:srgbClr>
              </a:gs>
              <a:gs pos="100000">
                <a:srgbClr val="00B9FF">
                  <a:alpha val="80000"/>
                </a:srgbClr>
              </a:gs>
            </a:gsLst>
            <a:lin ang="300000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36" name="Google Shape;336;p34"/>
          <p:cNvSpPr txBox="1">
            <a:spLocks noGrp="1"/>
          </p:cNvSpPr>
          <p:nvPr>
            <p:ph type="title"/>
          </p:nvPr>
        </p:nvSpPr>
        <p:spPr>
          <a:xfrm>
            <a:off x="550863" y="549275"/>
            <a:ext cx="2941634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Franklin Gothic"/>
              <a:buNone/>
              <a:defRPr>
                <a:solidFill>
                  <a:schemeClr val="lt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cxnSp>
        <p:nvCxnSpPr>
          <p:cNvPr id="337" name="Google Shape;337;p34"/>
          <p:cNvCxnSpPr/>
          <p:nvPr/>
        </p:nvCxnSpPr>
        <p:spPr>
          <a:xfrm>
            <a:off x="537325" y="499953"/>
            <a:ext cx="525362" cy="0"/>
          </a:xfrm>
          <a:prstGeom prst="straightConnector1">
            <a:avLst/>
          </a:prstGeom>
          <a:noFill/>
          <a:ln w="38100" cap="flat" cmpd="sng">
            <a:solidFill>
              <a:schemeClr val="lt1"/>
            </a:solidFill>
            <a:prstDash val="solid"/>
            <a:miter lim="800000"/>
            <a:headEnd type="none" w="sm" len="sm"/>
            <a:tailEnd type="none" w="sm" len="sm"/>
          </a:ln>
        </p:spPr>
      </p:cxnSp>
    </p:spTree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1_Title only (with background)">
  <p:cSld name="2_Title only (with background)">
    <p:bg>
      <p:bgPr>
        <a:solidFill>
          <a:schemeClr val="lt2"/>
        </a:solidFill>
        <a:effectLst/>
      </p:bgPr>
    </p:bg>
    <p:spTree>
      <p:nvGrpSpPr>
        <p:cNvPr id="1" name="Shape 33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9" name="Google Shape;339;p35"/>
          <p:cNvSpPr txBox="1">
            <a:spLocks noGrp="1"/>
          </p:cNvSpPr>
          <p:nvPr>
            <p:ph type="ftr" idx="11"/>
          </p:nvPr>
        </p:nvSpPr>
        <p:spPr>
          <a:xfrm>
            <a:off x="550863" y="6465614"/>
            <a:ext cx="488916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40" name="Google Shape;340;p35"/>
          <p:cNvSpPr txBox="1">
            <a:spLocks noGrp="1"/>
          </p:cNvSpPr>
          <p:nvPr>
            <p:ph type="sldNum" idx="12"/>
          </p:nvPr>
        </p:nvSpPr>
        <p:spPr>
          <a:xfrm>
            <a:off x="11490153" y="6465614"/>
            <a:ext cx="150682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marL="0" marR="0" lvl="0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grpSp>
        <p:nvGrpSpPr>
          <p:cNvPr id="341" name="Google Shape;341;p35"/>
          <p:cNvGrpSpPr/>
          <p:nvPr/>
        </p:nvGrpSpPr>
        <p:grpSpPr>
          <a:xfrm>
            <a:off x="11979441" y="4535495"/>
            <a:ext cx="110800" cy="2041948"/>
            <a:chOff x="11979441" y="4535495"/>
            <a:chExt cx="110800" cy="2041948"/>
          </a:xfrm>
        </p:grpSpPr>
        <p:grpSp>
          <p:nvGrpSpPr>
            <p:cNvPr id="342" name="Google Shape;342;p35"/>
            <p:cNvGrpSpPr/>
            <p:nvPr/>
          </p:nvGrpSpPr>
          <p:grpSpPr>
            <a:xfrm>
              <a:off x="11998460" y="6135518"/>
              <a:ext cx="68500" cy="441925"/>
              <a:chOff x="11998459" y="6162188"/>
              <a:chExt cx="68500" cy="441925"/>
            </a:xfrm>
          </p:grpSpPr>
          <p:sp>
            <p:nvSpPr>
              <p:cNvPr id="343" name="Google Shape;343;p35"/>
              <p:cNvSpPr/>
              <p:nvPr/>
            </p:nvSpPr>
            <p:spPr>
              <a:xfrm rot="-5400000">
                <a:off x="12063068" y="6476346"/>
                <a:ext cx="17" cy="1717"/>
              </a:xfrm>
              <a:custGeom>
                <a:avLst/>
                <a:gdLst/>
                <a:ahLst/>
                <a:cxnLst/>
                <a:rect l="l" t="t" r="r" b="b"/>
                <a:pathLst>
                  <a:path w="17" h="1717" extrusionOk="0">
                    <a:moveTo>
                      <a:pt x="0" y="0"/>
                    </a:moveTo>
                    <a:lnTo>
                      <a:pt x="17" y="0"/>
                    </a:lnTo>
                    <a:lnTo>
                      <a:pt x="17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B0F0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</a:pPr>
                <a:endParaRPr sz="1400" b="0" i="0" u="none" strike="noStrike" cap="none">
                  <a:solidFill>
                    <a:srgbClr val="B4B4B4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44" name="Google Shape;344;p35"/>
              <p:cNvSpPr/>
              <p:nvPr/>
            </p:nvSpPr>
            <p:spPr>
              <a:xfrm rot="-5400000">
                <a:off x="12023737" y="6455896"/>
                <a:ext cx="453" cy="271"/>
              </a:xfrm>
              <a:custGeom>
                <a:avLst/>
                <a:gdLst/>
                <a:ahLst/>
                <a:cxnLst/>
                <a:rect l="l" t="t" r="r" b="b"/>
                <a:pathLst>
                  <a:path w="453" h="271" extrusionOk="0">
                    <a:moveTo>
                      <a:pt x="0" y="0"/>
                    </a:moveTo>
                    <a:cubicBezTo>
                      <a:pt x="258" y="172"/>
                      <a:pt x="498" y="344"/>
                      <a:pt x="447" y="240"/>
                    </a:cubicBezTo>
                    <a:close/>
                  </a:path>
                </a:pathLst>
              </a:custGeom>
              <a:solidFill>
                <a:srgbClr val="00B0F0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</a:pPr>
                <a:endParaRPr sz="1400" b="0" i="0" u="none" strike="noStrike" cap="none">
                  <a:solidFill>
                    <a:srgbClr val="B4B4B4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45" name="Google Shape;345;p35"/>
              <p:cNvSpPr/>
              <p:nvPr/>
            </p:nvSpPr>
            <p:spPr>
              <a:xfrm rot="-5400000">
                <a:off x="12023907" y="6477766"/>
                <a:ext cx="15" cy="76"/>
              </a:xfrm>
              <a:custGeom>
                <a:avLst/>
                <a:gdLst/>
                <a:ahLst/>
                <a:cxnLst/>
                <a:rect l="l" t="t" r="r" b="b"/>
                <a:pathLst>
                  <a:path w="15" h="76" extrusionOk="0">
                    <a:moveTo>
                      <a:pt x="15" y="38"/>
                    </a:moveTo>
                    <a:cubicBezTo>
                      <a:pt x="15" y="38"/>
                      <a:pt x="15" y="-48"/>
                      <a:pt x="15" y="38"/>
                    </a:cubicBezTo>
                    <a:cubicBezTo>
                      <a:pt x="15" y="124"/>
                      <a:pt x="-19" y="38"/>
                      <a:pt x="15" y="38"/>
                    </a:cubicBezTo>
                    <a:close/>
                  </a:path>
                </a:pathLst>
              </a:custGeom>
              <a:solidFill>
                <a:srgbClr val="00B0F0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</a:pPr>
                <a:endParaRPr sz="1400" b="0" i="0" u="none" strike="noStrike" cap="none">
                  <a:solidFill>
                    <a:srgbClr val="B4B4B4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46" name="Google Shape;346;p35"/>
              <p:cNvSpPr/>
              <p:nvPr/>
            </p:nvSpPr>
            <p:spPr>
              <a:xfrm rot="-5400000">
                <a:off x="12021636" y="6473651"/>
                <a:ext cx="261" cy="103"/>
              </a:xfrm>
              <a:custGeom>
                <a:avLst/>
                <a:gdLst/>
                <a:ahLst/>
                <a:cxnLst/>
                <a:rect l="l" t="t" r="r" b="b"/>
                <a:pathLst>
                  <a:path w="261" h="103" extrusionOk="0">
                    <a:moveTo>
                      <a:pt x="262" y="0"/>
                    </a:moveTo>
                    <a:lnTo>
                      <a:pt x="56" y="103"/>
                    </a:lnTo>
                    <a:cubicBezTo>
                      <a:pt x="176" y="103"/>
                      <a:pt x="-116" y="103"/>
                      <a:pt x="56" y="103"/>
                    </a:cubicBezTo>
                    <a:close/>
                  </a:path>
                </a:pathLst>
              </a:custGeom>
              <a:solidFill>
                <a:srgbClr val="00B0F0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</a:pPr>
                <a:endParaRPr sz="1400" b="0" i="0" u="none" strike="noStrike" cap="none">
                  <a:solidFill>
                    <a:srgbClr val="B4B4B4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47" name="Google Shape;347;p35"/>
              <p:cNvSpPr/>
              <p:nvPr/>
            </p:nvSpPr>
            <p:spPr>
              <a:xfrm rot="-5400000">
                <a:off x="12015635" y="6442208"/>
                <a:ext cx="51323" cy="51323"/>
              </a:xfrm>
              <a:custGeom>
                <a:avLst/>
                <a:gdLst/>
                <a:ahLst/>
                <a:cxnLst/>
                <a:rect l="l" t="t" r="r" b="b"/>
                <a:pathLst>
                  <a:path w="51323" h="51323" extrusionOk="0">
                    <a:moveTo>
                      <a:pt x="25662" y="0"/>
                    </a:moveTo>
                    <a:cubicBezTo>
                      <a:pt x="11489" y="0"/>
                      <a:pt x="0" y="11489"/>
                      <a:pt x="0" y="25662"/>
                    </a:cubicBezTo>
                    <a:cubicBezTo>
                      <a:pt x="0" y="39834"/>
                      <a:pt x="11489" y="51323"/>
                      <a:pt x="25662" y="51323"/>
                    </a:cubicBezTo>
                    <a:cubicBezTo>
                      <a:pt x="39835" y="51323"/>
                      <a:pt x="51324" y="39834"/>
                      <a:pt x="51324" y="25662"/>
                    </a:cubicBezTo>
                    <a:cubicBezTo>
                      <a:pt x="51324" y="25645"/>
                      <a:pt x="51324" y="25627"/>
                      <a:pt x="51324" y="25610"/>
                    </a:cubicBezTo>
                    <a:cubicBezTo>
                      <a:pt x="51314" y="11457"/>
                      <a:pt x="39833" y="-9"/>
                      <a:pt x="25679" y="0"/>
                    </a:cubicBezTo>
                    <a:cubicBezTo>
                      <a:pt x="25673" y="0"/>
                      <a:pt x="25667" y="0"/>
                      <a:pt x="25662" y="0"/>
                    </a:cubicBezTo>
                    <a:close/>
                    <a:moveTo>
                      <a:pt x="26967" y="15648"/>
                    </a:moveTo>
                    <a:cubicBezTo>
                      <a:pt x="26864" y="15648"/>
                      <a:pt x="26967" y="15785"/>
                      <a:pt x="26967" y="15837"/>
                    </a:cubicBezTo>
                    <a:cubicBezTo>
                      <a:pt x="26894" y="15820"/>
                      <a:pt x="26817" y="15820"/>
                      <a:pt x="26744" y="15837"/>
                    </a:cubicBezTo>
                    <a:cubicBezTo>
                      <a:pt x="26899" y="15837"/>
                      <a:pt x="27139" y="16043"/>
                      <a:pt x="26933" y="16163"/>
                    </a:cubicBezTo>
                    <a:cubicBezTo>
                      <a:pt x="26727" y="16283"/>
                      <a:pt x="27019" y="16163"/>
                      <a:pt x="27036" y="16163"/>
                    </a:cubicBezTo>
                    <a:cubicBezTo>
                      <a:pt x="27173" y="15854"/>
                      <a:pt x="27586" y="16283"/>
                      <a:pt x="27294" y="16489"/>
                    </a:cubicBezTo>
                    <a:lnTo>
                      <a:pt x="27294" y="16489"/>
                    </a:lnTo>
                    <a:cubicBezTo>
                      <a:pt x="27294" y="16489"/>
                      <a:pt x="27294" y="16489"/>
                      <a:pt x="27294" y="16489"/>
                    </a:cubicBezTo>
                    <a:lnTo>
                      <a:pt x="27294" y="16489"/>
                    </a:lnTo>
                    <a:cubicBezTo>
                      <a:pt x="27294" y="16489"/>
                      <a:pt x="27191" y="16489"/>
                      <a:pt x="27156" y="16489"/>
                    </a:cubicBezTo>
                    <a:cubicBezTo>
                      <a:pt x="27122" y="16489"/>
                      <a:pt x="27156" y="16489"/>
                      <a:pt x="27156" y="16593"/>
                    </a:cubicBezTo>
                    <a:cubicBezTo>
                      <a:pt x="27156" y="16696"/>
                      <a:pt x="27276" y="16593"/>
                      <a:pt x="27156" y="16593"/>
                    </a:cubicBezTo>
                    <a:cubicBezTo>
                      <a:pt x="27036" y="16593"/>
                      <a:pt x="27294" y="16593"/>
                      <a:pt x="27379" y="16593"/>
                    </a:cubicBezTo>
                    <a:cubicBezTo>
                      <a:pt x="27465" y="16593"/>
                      <a:pt x="27276" y="16713"/>
                      <a:pt x="27276" y="16799"/>
                    </a:cubicBezTo>
                    <a:cubicBezTo>
                      <a:pt x="27276" y="16885"/>
                      <a:pt x="26795" y="16936"/>
                      <a:pt x="26744" y="16799"/>
                    </a:cubicBezTo>
                    <a:cubicBezTo>
                      <a:pt x="26692" y="16661"/>
                      <a:pt x="26297" y="16799"/>
                      <a:pt x="26074" y="16902"/>
                    </a:cubicBezTo>
                    <a:cubicBezTo>
                      <a:pt x="25851" y="17005"/>
                      <a:pt x="26074" y="17125"/>
                      <a:pt x="25868" y="16988"/>
                    </a:cubicBezTo>
                    <a:cubicBezTo>
                      <a:pt x="25662" y="16850"/>
                      <a:pt x="25610" y="16988"/>
                      <a:pt x="25559" y="17142"/>
                    </a:cubicBezTo>
                    <a:cubicBezTo>
                      <a:pt x="25507" y="17297"/>
                      <a:pt x="25559" y="17142"/>
                      <a:pt x="25404" y="17142"/>
                    </a:cubicBezTo>
                    <a:cubicBezTo>
                      <a:pt x="25553" y="17029"/>
                      <a:pt x="25690" y="16902"/>
                      <a:pt x="25816" y="16764"/>
                    </a:cubicBezTo>
                    <a:cubicBezTo>
                      <a:pt x="25816" y="16593"/>
                      <a:pt x="26057" y="16764"/>
                      <a:pt x="26194" y="16764"/>
                    </a:cubicBezTo>
                    <a:cubicBezTo>
                      <a:pt x="26332" y="16764"/>
                      <a:pt x="26297" y="16610"/>
                      <a:pt x="26349" y="16541"/>
                    </a:cubicBezTo>
                    <a:cubicBezTo>
                      <a:pt x="26400" y="16472"/>
                      <a:pt x="26091" y="16764"/>
                      <a:pt x="26005" y="16627"/>
                    </a:cubicBezTo>
                    <a:cubicBezTo>
                      <a:pt x="25919" y="16489"/>
                      <a:pt x="25748" y="16627"/>
                      <a:pt x="25902" y="16627"/>
                    </a:cubicBezTo>
                    <a:cubicBezTo>
                      <a:pt x="26057" y="16627"/>
                      <a:pt x="25765" y="16627"/>
                      <a:pt x="25662" y="16627"/>
                    </a:cubicBezTo>
                    <a:lnTo>
                      <a:pt x="25662" y="16627"/>
                    </a:lnTo>
                    <a:cubicBezTo>
                      <a:pt x="25662" y="16627"/>
                      <a:pt x="25662" y="16627"/>
                      <a:pt x="25662" y="16627"/>
                    </a:cubicBezTo>
                    <a:cubicBezTo>
                      <a:pt x="25919" y="16541"/>
                      <a:pt x="26040" y="16472"/>
                      <a:pt x="26005" y="16215"/>
                    </a:cubicBezTo>
                    <a:lnTo>
                      <a:pt x="25834" y="16215"/>
                    </a:lnTo>
                    <a:cubicBezTo>
                      <a:pt x="25954" y="16094"/>
                      <a:pt x="26126" y="15940"/>
                      <a:pt x="26297" y="16060"/>
                    </a:cubicBezTo>
                    <a:cubicBezTo>
                      <a:pt x="26160" y="15888"/>
                      <a:pt x="26297" y="16060"/>
                      <a:pt x="26297" y="16060"/>
                    </a:cubicBezTo>
                    <a:cubicBezTo>
                      <a:pt x="26297" y="16060"/>
                      <a:pt x="26194" y="15837"/>
                      <a:pt x="26297" y="15785"/>
                    </a:cubicBezTo>
                    <a:cubicBezTo>
                      <a:pt x="26400" y="15734"/>
                      <a:pt x="26297" y="15648"/>
                      <a:pt x="26194" y="15785"/>
                    </a:cubicBezTo>
                    <a:lnTo>
                      <a:pt x="26194" y="15785"/>
                    </a:lnTo>
                    <a:cubicBezTo>
                      <a:pt x="26057" y="15785"/>
                      <a:pt x="26194" y="15476"/>
                      <a:pt x="26194" y="15493"/>
                    </a:cubicBezTo>
                    <a:cubicBezTo>
                      <a:pt x="26023" y="15493"/>
                      <a:pt x="25988" y="15613"/>
                      <a:pt x="25834" y="15493"/>
                    </a:cubicBezTo>
                    <a:cubicBezTo>
                      <a:pt x="25679" y="15373"/>
                      <a:pt x="25834" y="15493"/>
                      <a:pt x="25834" y="15596"/>
                    </a:cubicBezTo>
                    <a:cubicBezTo>
                      <a:pt x="25834" y="15699"/>
                      <a:pt x="25662" y="15459"/>
                      <a:pt x="25713" y="15596"/>
                    </a:cubicBezTo>
                    <a:cubicBezTo>
                      <a:pt x="25765" y="15734"/>
                      <a:pt x="25713" y="15493"/>
                      <a:pt x="25713" y="15459"/>
                    </a:cubicBezTo>
                    <a:lnTo>
                      <a:pt x="25713" y="15459"/>
                    </a:lnTo>
                    <a:cubicBezTo>
                      <a:pt x="25713" y="15459"/>
                      <a:pt x="25713" y="15287"/>
                      <a:pt x="25816" y="15236"/>
                    </a:cubicBezTo>
                    <a:cubicBezTo>
                      <a:pt x="25919" y="15184"/>
                      <a:pt x="25713" y="15029"/>
                      <a:pt x="25816" y="15064"/>
                    </a:cubicBezTo>
                    <a:cubicBezTo>
                      <a:pt x="25919" y="15098"/>
                      <a:pt x="25816" y="15064"/>
                      <a:pt x="25816" y="14961"/>
                    </a:cubicBezTo>
                    <a:cubicBezTo>
                      <a:pt x="25816" y="14858"/>
                      <a:pt x="25816" y="15047"/>
                      <a:pt x="25816" y="15081"/>
                    </a:cubicBezTo>
                    <a:lnTo>
                      <a:pt x="25816" y="15081"/>
                    </a:lnTo>
                    <a:cubicBezTo>
                      <a:pt x="25816" y="15081"/>
                      <a:pt x="25816" y="15081"/>
                      <a:pt x="25816" y="15081"/>
                    </a:cubicBezTo>
                    <a:cubicBezTo>
                      <a:pt x="25816" y="15081"/>
                      <a:pt x="25816" y="15081"/>
                      <a:pt x="25816" y="15081"/>
                    </a:cubicBezTo>
                    <a:cubicBezTo>
                      <a:pt x="25812" y="15173"/>
                      <a:pt x="25812" y="15264"/>
                      <a:pt x="25816" y="15356"/>
                    </a:cubicBezTo>
                    <a:cubicBezTo>
                      <a:pt x="25713" y="15356"/>
                      <a:pt x="25816" y="15218"/>
                      <a:pt x="25816" y="15167"/>
                    </a:cubicBezTo>
                    <a:cubicBezTo>
                      <a:pt x="25816" y="15115"/>
                      <a:pt x="25816" y="14858"/>
                      <a:pt x="25919" y="14823"/>
                    </a:cubicBezTo>
                    <a:cubicBezTo>
                      <a:pt x="26023" y="14789"/>
                      <a:pt x="25919" y="14823"/>
                      <a:pt x="25919" y="14823"/>
                    </a:cubicBezTo>
                    <a:cubicBezTo>
                      <a:pt x="25919" y="14823"/>
                      <a:pt x="25799" y="14978"/>
                      <a:pt x="25731" y="14823"/>
                    </a:cubicBezTo>
                    <a:cubicBezTo>
                      <a:pt x="25662" y="14669"/>
                      <a:pt x="25731" y="14823"/>
                      <a:pt x="25731" y="14823"/>
                    </a:cubicBezTo>
                    <a:cubicBezTo>
                      <a:pt x="25731" y="14823"/>
                      <a:pt x="25731" y="14686"/>
                      <a:pt x="25868" y="14737"/>
                    </a:cubicBezTo>
                    <a:cubicBezTo>
                      <a:pt x="26005" y="14789"/>
                      <a:pt x="25868" y="14737"/>
                      <a:pt x="25868" y="14737"/>
                    </a:cubicBezTo>
                    <a:cubicBezTo>
                      <a:pt x="25868" y="14737"/>
                      <a:pt x="25868" y="14737"/>
                      <a:pt x="25868" y="14737"/>
                    </a:cubicBezTo>
                    <a:cubicBezTo>
                      <a:pt x="25868" y="14737"/>
                      <a:pt x="25868" y="14737"/>
                      <a:pt x="25868" y="14737"/>
                    </a:cubicBezTo>
                    <a:cubicBezTo>
                      <a:pt x="25868" y="14737"/>
                      <a:pt x="25868" y="14737"/>
                      <a:pt x="25868" y="14737"/>
                    </a:cubicBezTo>
                    <a:lnTo>
                      <a:pt x="25868" y="14737"/>
                    </a:lnTo>
                    <a:lnTo>
                      <a:pt x="25868" y="14652"/>
                    </a:lnTo>
                    <a:cubicBezTo>
                      <a:pt x="25868" y="14652"/>
                      <a:pt x="25868" y="14652"/>
                      <a:pt x="25868" y="14652"/>
                    </a:cubicBezTo>
                    <a:cubicBezTo>
                      <a:pt x="25868" y="14652"/>
                      <a:pt x="25868" y="14566"/>
                      <a:pt x="25868" y="14514"/>
                    </a:cubicBezTo>
                    <a:lnTo>
                      <a:pt x="25868" y="14514"/>
                    </a:lnTo>
                    <a:cubicBezTo>
                      <a:pt x="25868" y="14514"/>
                      <a:pt x="25868" y="14514"/>
                      <a:pt x="25868" y="14514"/>
                    </a:cubicBezTo>
                    <a:cubicBezTo>
                      <a:pt x="25868" y="14514"/>
                      <a:pt x="25868" y="14514"/>
                      <a:pt x="25971" y="14514"/>
                    </a:cubicBezTo>
                    <a:cubicBezTo>
                      <a:pt x="25976" y="14486"/>
                      <a:pt x="25976" y="14457"/>
                      <a:pt x="25971" y="14428"/>
                    </a:cubicBezTo>
                    <a:cubicBezTo>
                      <a:pt x="25971" y="14428"/>
                      <a:pt x="26091" y="14085"/>
                      <a:pt x="26126" y="14291"/>
                    </a:cubicBezTo>
                    <a:cubicBezTo>
                      <a:pt x="26160" y="14497"/>
                      <a:pt x="26126" y="14291"/>
                      <a:pt x="26126" y="14291"/>
                    </a:cubicBezTo>
                    <a:cubicBezTo>
                      <a:pt x="26538" y="14136"/>
                      <a:pt x="26435" y="14291"/>
                      <a:pt x="26126" y="14531"/>
                    </a:cubicBezTo>
                    <a:lnTo>
                      <a:pt x="26126" y="14531"/>
                    </a:lnTo>
                    <a:cubicBezTo>
                      <a:pt x="25902" y="14737"/>
                      <a:pt x="26366" y="14531"/>
                      <a:pt x="26486" y="14531"/>
                    </a:cubicBezTo>
                    <a:cubicBezTo>
                      <a:pt x="26607" y="14531"/>
                      <a:pt x="26486" y="15029"/>
                      <a:pt x="26263" y="14995"/>
                    </a:cubicBezTo>
                    <a:cubicBezTo>
                      <a:pt x="26040" y="14961"/>
                      <a:pt x="26263" y="14995"/>
                      <a:pt x="26263" y="14995"/>
                    </a:cubicBezTo>
                    <a:cubicBezTo>
                      <a:pt x="26263" y="14995"/>
                      <a:pt x="26108" y="15133"/>
                      <a:pt x="26005" y="14995"/>
                    </a:cubicBezTo>
                    <a:cubicBezTo>
                      <a:pt x="26064" y="15057"/>
                      <a:pt x="26162" y="15059"/>
                      <a:pt x="26224" y="15000"/>
                    </a:cubicBezTo>
                    <a:cubicBezTo>
                      <a:pt x="26226" y="14998"/>
                      <a:pt x="26227" y="14997"/>
                      <a:pt x="26229" y="14995"/>
                    </a:cubicBezTo>
                    <a:cubicBezTo>
                      <a:pt x="26486" y="15098"/>
                      <a:pt x="26503" y="15373"/>
                      <a:pt x="26589" y="15579"/>
                    </a:cubicBezTo>
                    <a:cubicBezTo>
                      <a:pt x="26675" y="15785"/>
                      <a:pt x="26830" y="15545"/>
                      <a:pt x="26967" y="15613"/>
                    </a:cubicBezTo>
                    <a:close/>
                    <a:moveTo>
                      <a:pt x="18138" y="47476"/>
                    </a:moveTo>
                    <a:lnTo>
                      <a:pt x="18138" y="47476"/>
                    </a:lnTo>
                    <a:lnTo>
                      <a:pt x="18138" y="47476"/>
                    </a:lnTo>
                    <a:lnTo>
                      <a:pt x="18138" y="47476"/>
                    </a:lnTo>
                    <a:lnTo>
                      <a:pt x="18224" y="47476"/>
                    </a:lnTo>
                    <a:lnTo>
                      <a:pt x="18224" y="47476"/>
                    </a:lnTo>
                    <a:lnTo>
                      <a:pt x="17984" y="47338"/>
                    </a:lnTo>
                    <a:lnTo>
                      <a:pt x="17984" y="47338"/>
                    </a:lnTo>
                    <a:lnTo>
                      <a:pt x="17984" y="47338"/>
                    </a:lnTo>
                    <a:lnTo>
                      <a:pt x="18070" y="47338"/>
                    </a:lnTo>
                    <a:lnTo>
                      <a:pt x="18070" y="47338"/>
                    </a:lnTo>
                    <a:lnTo>
                      <a:pt x="18070" y="47338"/>
                    </a:lnTo>
                    <a:lnTo>
                      <a:pt x="17795" y="47218"/>
                    </a:lnTo>
                    <a:lnTo>
                      <a:pt x="17795" y="47218"/>
                    </a:lnTo>
                    <a:cubicBezTo>
                      <a:pt x="17795" y="47218"/>
                      <a:pt x="17795" y="47218"/>
                      <a:pt x="17795" y="47218"/>
                    </a:cubicBezTo>
                    <a:cubicBezTo>
                      <a:pt x="17762" y="47203"/>
                      <a:pt x="17725" y="47203"/>
                      <a:pt x="17692" y="47218"/>
                    </a:cubicBezTo>
                    <a:lnTo>
                      <a:pt x="17692" y="47218"/>
                    </a:lnTo>
                    <a:lnTo>
                      <a:pt x="17692" y="47218"/>
                    </a:lnTo>
                    <a:lnTo>
                      <a:pt x="17692" y="47218"/>
                    </a:lnTo>
                    <a:lnTo>
                      <a:pt x="17864" y="47218"/>
                    </a:lnTo>
                    <a:lnTo>
                      <a:pt x="17658" y="47218"/>
                    </a:lnTo>
                    <a:lnTo>
                      <a:pt x="17658" y="47218"/>
                    </a:lnTo>
                    <a:lnTo>
                      <a:pt x="17417" y="47115"/>
                    </a:lnTo>
                    <a:lnTo>
                      <a:pt x="17417" y="47115"/>
                    </a:lnTo>
                    <a:lnTo>
                      <a:pt x="17417" y="47115"/>
                    </a:lnTo>
                    <a:lnTo>
                      <a:pt x="17280" y="47115"/>
                    </a:lnTo>
                    <a:lnTo>
                      <a:pt x="17469" y="47218"/>
                    </a:lnTo>
                    <a:lnTo>
                      <a:pt x="17194" y="47081"/>
                    </a:lnTo>
                    <a:lnTo>
                      <a:pt x="17194" y="47081"/>
                    </a:lnTo>
                    <a:lnTo>
                      <a:pt x="17366" y="47081"/>
                    </a:lnTo>
                    <a:lnTo>
                      <a:pt x="17228" y="47081"/>
                    </a:lnTo>
                    <a:lnTo>
                      <a:pt x="17366" y="47081"/>
                    </a:lnTo>
                    <a:lnTo>
                      <a:pt x="17108" y="46961"/>
                    </a:lnTo>
                    <a:lnTo>
                      <a:pt x="17108" y="46961"/>
                    </a:lnTo>
                    <a:lnTo>
                      <a:pt x="17005" y="46961"/>
                    </a:lnTo>
                    <a:lnTo>
                      <a:pt x="17005" y="46961"/>
                    </a:lnTo>
                    <a:lnTo>
                      <a:pt x="16782" y="46858"/>
                    </a:lnTo>
                    <a:lnTo>
                      <a:pt x="16782" y="46858"/>
                    </a:lnTo>
                    <a:lnTo>
                      <a:pt x="16696" y="46858"/>
                    </a:lnTo>
                    <a:lnTo>
                      <a:pt x="16696" y="46858"/>
                    </a:lnTo>
                    <a:cubicBezTo>
                      <a:pt x="16557" y="46803"/>
                      <a:pt x="16425" y="46733"/>
                      <a:pt x="16301" y="46651"/>
                    </a:cubicBezTo>
                    <a:lnTo>
                      <a:pt x="16301" y="46651"/>
                    </a:lnTo>
                    <a:lnTo>
                      <a:pt x="16129" y="46548"/>
                    </a:lnTo>
                    <a:lnTo>
                      <a:pt x="16283" y="46651"/>
                    </a:lnTo>
                    <a:lnTo>
                      <a:pt x="15940" y="46462"/>
                    </a:lnTo>
                    <a:lnTo>
                      <a:pt x="15940" y="46462"/>
                    </a:lnTo>
                    <a:lnTo>
                      <a:pt x="15837" y="46462"/>
                    </a:lnTo>
                    <a:lnTo>
                      <a:pt x="15837" y="46462"/>
                    </a:lnTo>
                    <a:lnTo>
                      <a:pt x="15665" y="46359"/>
                    </a:lnTo>
                    <a:lnTo>
                      <a:pt x="15665" y="46359"/>
                    </a:lnTo>
                    <a:lnTo>
                      <a:pt x="15665" y="46359"/>
                    </a:lnTo>
                    <a:lnTo>
                      <a:pt x="15665" y="46359"/>
                    </a:lnTo>
                    <a:lnTo>
                      <a:pt x="15510" y="46274"/>
                    </a:lnTo>
                    <a:lnTo>
                      <a:pt x="15510" y="46274"/>
                    </a:lnTo>
                    <a:lnTo>
                      <a:pt x="15339" y="46153"/>
                    </a:lnTo>
                    <a:lnTo>
                      <a:pt x="15339" y="46153"/>
                    </a:lnTo>
                    <a:lnTo>
                      <a:pt x="15201" y="46153"/>
                    </a:lnTo>
                    <a:lnTo>
                      <a:pt x="15201" y="46153"/>
                    </a:lnTo>
                    <a:cubicBezTo>
                      <a:pt x="15162" y="46164"/>
                      <a:pt x="15120" y="46164"/>
                      <a:pt x="15081" y="46153"/>
                    </a:cubicBezTo>
                    <a:lnTo>
                      <a:pt x="15081" y="46153"/>
                    </a:lnTo>
                    <a:lnTo>
                      <a:pt x="15218" y="46239"/>
                    </a:lnTo>
                    <a:lnTo>
                      <a:pt x="15081" y="46153"/>
                    </a:lnTo>
                    <a:lnTo>
                      <a:pt x="15081" y="46153"/>
                    </a:lnTo>
                    <a:lnTo>
                      <a:pt x="14961" y="46153"/>
                    </a:lnTo>
                    <a:lnTo>
                      <a:pt x="14961" y="46153"/>
                    </a:lnTo>
                    <a:lnTo>
                      <a:pt x="14823" y="46067"/>
                    </a:lnTo>
                    <a:cubicBezTo>
                      <a:pt x="14890" y="46095"/>
                      <a:pt x="14953" y="46130"/>
                      <a:pt x="15012" y="46170"/>
                    </a:cubicBezTo>
                    <a:cubicBezTo>
                      <a:pt x="15012" y="46170"/>
                      <a:pt x="15150" y="46274"/>
                      <a:pt x="15184" y="46274"/>
                    </a:cubicBezTo>
                    <a:lnTo>
                      <a:pt x="14720" y="45947"/>
                    </a:lnTo>
                    <a:lnTo>
                      <a:pt x="14720" y="45947"/>
                    </a:lnTo>
                    <a:cubicBezTo>
                      <a:pt x="14446" y="45724"/>
                      <a:pt x="14136" y="45535"/>
                      <a:pt x="13879" y="45312"/>
                    </a:cubicBezTo>
                    <a:lnTo>
                      <a:pt x="13982" y="45312"/>
                    </a:lnTo>
                    <a:lnTo>
                      <a:pt x="13827" y="45191"/>
                    </a:lnTo>
                    <a:lnTo>
                      <a:pt x="13827" y="45191"/>
                    </a:lnTo>
                    <a:cubicBezTo>
                      <a:pt x="13827" y="45191"/>
                      <a:pt x="13827" y="45191"/>
                      <a:pt x="13724" y="45191"/>
                    </a:cubicBezTo>
                    <a:lnTo>
                      <a:pt x="13724" y="45191"/>
                    </a:lnTo>
                    <a:lnTo>
                      <a:pt x="13724" y="45191"/>
                    </a:lnTo>
                    <a:lnTo>
                      <a:pt x="13724" y="45191"/>
                    </a:lnTo>
                    <a:cubicBezTo>
                      <a:pt x="13500" y="45056"/>
                      <a:pt x="13292" y="44895"/>
                      <a:pt x="13106" y="44710"/>
                    </a:cubicBezTo>
                    <a:lnTo>
                      <a:pt x="13106" y="44710"/>
                    </a:lnTo>
                    <a:cubicBezTo>
                      <a:pt x="12865" y="44453"/>
                      <a:pt x="12573" y="44264"/>
                      <a:pt x="12316" y="44023"/>
                    </a:cubicBezTo>
                    <a:cubicBezTo>
                      <a:pt x="12316" y="44023"/>
                      <a:pt x="12316" y="44023"/>
                      <a:pt x="12316" y="44023"/>
                    </a:cubicBezTo>
                    <a:cubicBezTo>
                      <a:pt x="11271" y="42931"/>
                      <a:pt x="10350" y="41727"/>
                      <a:pt x="9567" y="40434"/>
                    </a:cubicBezTo>
                    <a:lnTo>
                      <a:pt x="9567" y="40434"/>
                    </a:lnTo>
                    <a:cubicBezTo>
                      <a:pt x="9215" y="39466"/>
                      <a:pt x="8691" y="38570"/>
                      <a:pt x="8021" y="37788"/>
                    </a:cubicBezTo>
                    <a:lnTo>
                      <a:pt x="8021" y="37788"/>
                    </a:lnTo>
                    <a:cubicBezTo>
                      <a:pt x="6949" y="36560"/>
                      <a:pt x="6200" y="35084"/>
                      <a:pt x="5840" y="33494"/>
                    </a:cubicBezTo>
                    <a:cubicBezTo>
                      <a:pt x="5840" y="33494"/>
                      <a:pt x="5840" y="33494"/>
                      <a:pt x="5840" y="33580"/>
                    </a:cubicBezTo>
                    <a:cubicBezTo>
                      <a:pt x="5850" y="33546"/>
                      <a:pt x="5850" y="33511"/>
                      <a:pt x="5840" y="33477"/>
                    </a:cubicBezTo>
                    <a:cubicBezTo>
                      <a:pt x="5840" y="33477"/>
                      <a:pt x="5840" y="33580"/>
                      <a:pt x="5840" y="33614"/>
                    </a:cubicBezTo>
                    <a:cubicBezTo>
                      <a:pt x="5600" y="33202"/>
                      <a:pt x="5685" y="28461"/>
                      <a:pt x="5222" y="30299"/>
                    </a:cubicBezTo>
                    <a:cubicBezTo>
                      <a:pt x="5222" y="30299"/>
                      <a:pt x="5222" y="30093"/>
                      <a:pt x="5222" y="30042"/>
                    </a:cubicBezTo>
                    <a:cubicBezTo>
                      <a:pt x="5222" y="29990"/>
                      <a:pt x="5222" y="30042"/>
                      <a:pt x="5222" y="30128"/>
                    </a:cubicBezTo>
                    <a:cubicBezTo>
                      <a:pt x="5222" y="30213"/>
                      <a:pt x="5222" y="29887"/>
                      <a:pt x="5067" y="29784"/>
                    </a:cubicBezTo>
                    <a:cubicBezTo>
                      <a:pt x="4913" y="29681"/>
                      <a:pt x="5067" y="29784"/>
                      <a:pt x="5067" y="29784"/>
                    </a:cubicBezTo>
                    <a:lnTo>
                      <a:pt x="5067" y="29784"/>
                    </a:lnTo>
                    <a:cubicBezTo>
                      <a:pt x="5067" y="29784"/>
                      <a:pt x="5067" y="29612"/>
                      <a:pt x="5067" y="29544"/>
                    </a:cubicBezTo>
                    <a:cubicBezTo>
                      <a:pt x="5067" y="29475"/>
                      <a:pt x="5067" y="29664"/>
                      <a:pt x="5067" y="29715"/>
                    </a:cubicBezTo>
                    <a:cubicBezTo>
                      <a:pt x="5067" y="29458"/>
                      <a:pt x="4947" y="29166"/>
                      <a:pt x="4844" y="28908"/>
                    </a:cubicBezTo>
                    <a:cubicBezTo>
                      <a:pt x="4844" y="28994"/>
                      <a:pt x="4844" y="29080"/>
                      <a:pt x="4844" y="29183"/>
                    </a:cubicBezTo>
                    <a:cubicBezTo>
                      <a:pt x="4689" y="28753"/>
                      <a:pt x="4672" y="28290"/>
                      <a:pt x="4552" y="27843"/>
                    </a:cubicBezTo>
                    <a:cubicBezTo>
                      <a:pt x="4552" y="27929"/>
                      <a:pt x="4552" y="27843"/>
                      <a:pt x="4552" y="27740"/>
                    </a:cubicBezTo>
                    <a:cubicBezTo>
                      <a:pt x="4552" y="27637"/>
                      <a:pt x="4552" y="27740"/>
                      <a:pt x="4552" y="27740"/>
                    </a:cubicBezTo>
                    <a:cubicBezTo>
                      <a:pt x="4552" y="27740"/>
                      <a:pt x="4552" y="27740"/>
                      <a:pt x="4552" y="27740"/>
                    </a:cubicBezTo>
                    <a:cubicBezTo>
                      <a:pt x="4552" y="27740"/>
                      <a:pt x="4552" y="27740"/>
                      <a:pt x="4552" y="27740"/>
                    </a:cubicBezTo>
                    <a:cubicBezTo>
                      <a:pt x="4343" y="27287"/>
                      <a:pt x="4226" y="26796"/>
                      <a:pt x="4208" y="26297"/>
                    </a:cubicBezTo>
                    <a:cubicBezTo>
                      <a:pt x="4218" y="26366"/>
                      <a:pt x="4218" y="26435"/>
                      <a:pt x="4208" y="26503"/>
                    </a:cubicBezTo>
                    <a:cubicBezTo>
                      <a:pt x="4218" y="26435"/>
                      <a:pt x="4218" y="26366"/>
                      <a:pt x="4208" y="26297"/>
                    </a:cubicBezTo>
                    <a:lnTo>
                      <a:pt x="4208" y="26297"/>
                    </a:lnTo>
                    <a:cubicBezTo>
                      <a:pt x="4208" y="26297"/>
                      <a:pt x="4208" y="26297"/>
                      <a:pt x="4208" y="26297"/>
                    </a:cubicBezTo>
                    <a:lnTo>
                      <a:pt x="4208" y="26297"/>
                    </a:lnTo>
                    <a:lnTo>
                      <a:pt x="4208" y="26297"/>
                    </a:lnTo>
                    <a:cubicBezTo>
                      <a:pt x="4208" y="26297"/>
                      <a:pt x="4208" y="26297"/>
                      <a:pt x="4208" y="26400"/>
                    </a:cubicBezTo>
                    <a:cubicBezTo>
                      <a:pt x="4208" y="26503"/>
                      <a:pt x="4208" y="26400"/>
                      <a:pt x="4208" y="26400"/>
                    </a:cubicBezTo>
                    <a:lnTo>
                      <a:pt x="4208" y="26400"/>
                    </a:lnTo>
                    <a:lnTo>
                      <a:pt x="4208" y="26400"/>
                    </a:lnTo>
                    <a:cubicBezTo>
                      <a:pt x="4208" y="26314"/>
                      <a:pt x="4208" y="26194"/>
                      <a:pt x="4208" y="26091"/>
                    </a:cubicBezTo>
                    <a:lnTo>
                      <a:pt x="4208" y="26091"/>
                    </a:lnTo>
                    <a:cubicBezTo>
                      <a:pt x="4200" y="26034"/>
                      <a:pt x="4200" y="25976"/>
                      <a:pt x="4208" y="25919"/>
                    </a:cubicBezTo>
                    <a:lnTo>
                      <a:pt x="4208" y="25919"/>
                    </a:lnTo>
                    <a:cubicBezTo>
                      <a:pt x="4191" y="25679"/>
                      <a:pt x="4191" y="25438"/>
                      <a:pt x="4208" y="25198"/>
                    </a:cubicBezTo>
                    <a:lnTo>
                      <a:pt x="4208" y="25198"/>
                    </a:lnTo>
                    <a:cubicBezTo>
                      <a:pt x="4208" y="25198"/>
                      <a:pt x="4208" y="25112"/>
                      <a:pt x="4208" y="25078"/>
                    </a:cubicBezTo>
                    <a:lnTo>
                      <a:pt x="4208" y="25078"/>
                    </a:lnTo>
                    <a:cubicBezTo>
                      <a:pt x="4764" y="15747"/>
                      <a:pt x="10928" y="7687"/>
                      <a:pt x="19787" y="4706"/>
                    </a:cubicBezTo>
                    <a:lnTo>
                      <a:pt x="19787" y="4706"/>
                    </a:lnTo>
                    <a:lnTo>
                      <a:pt x="19994" y="4706"/>
                    </a:lnTo>
                    <a:lnTo>
                      <a:pt x="19994" y="4706"/>
                    </a:lnTo>
                    <a:lnTo>
                      <a:pt x="20217" y="4706"/>
                    </a:lnTo>
                    <a:lnTo>
                      <a:pt x="20062" y="4706"/>
                    </a:lnTo>
                    <a:lnTo>
                      <a:pt x="20337" y="4706"/>
                    </a:lnTo>
                    <a:lnTo>
                      <a:pt x="20234" y="4706"/>
                    </a:lnTo>
                    <a:lnTo>
                      <a:pt x="20234" y="4706"/>
                    </a:lnTo>
                    <a:lnTo>
                      <a:pt x="20423" y="4706"/>
                    </a:lnTo>
                    <a:lnTo>
                      <a:pt x="20423" y="4706"/>
                    </a:lnTo>
                    <a:lnTo>
                      <a:pt x="21711" y="4414"/>
                    </a:lnTo>
                    <a:lnTo>
                      <a:pt x="21711" y="4414"/>
                    </a:lnTo>
                    <a:lnTo>
                      <a:pt x="22038" y="4414"/>
                    </a:lnTo>
                    <a:lnTo>
                      <a:pt x="21814" y="4414"/>
                    </a:lnTo>
                    <a:lnTo>
                      <a:pt x="21814" y="4414"/>
                    </a:lnTo>
                    <a:lnTo>
                      <a:pt x="22415" y="4414"/>
                    </a:lnTo>
                    <a:lnTo>
                      <a:pt x="22415" y="4414"/>
                    </a:lnTo>
                    <a:lnTo>
                      <a:pt x="22106" y="4414"/>
                    </a:lnTo>
                    <a:lnTo>
                      <a:pt x="22398" y="4414"/>
                    </a:lnTo>
                    <a:lnTo>
                      <a:pt x="22398" y="4414"/>
                    </a:lnTo>
                    <a:lnTo>
                      <a:pt x="22690" y="4414"/>
                    </a:lnTo>
                    <a:lnTo>
                      <a:pt x="22587" y="4414"/>
                    </a:lnTo>
                    <a:lnTo>
                      <a:pt x="22484" y="4414"/>
                    </a:lnTo>
                    <a:lnTo>
                      <a:pt x="22725" y="4414"/>
                    </a:lnTo>
                    <a:lnTo>
                      <a:pt x="22347" y="4414"/>
                    </a:lnTo>
                    <a:lnTo>
                      <a:pt x="22244" y="4414"/>
                    </a:lnTo>
                    <a:lnTo>
                      <a:pt x="22055" y="4414"/>
                    </a:lnTo>
                    <a:lnTo>
                      <a:pt x="22415" y="4414"/>
                    </a:lnTo>
                    <a:lnTo>
                      <a:pt x="22020" y="4414"/>
                    </a:lnTo>
                    <a:lnTo>
                      <a:pt x="22020" y="4414"/>
                    </a:lnTo>
                    <a:lnTo>
                      <a:pt x="21608" y="4414"/>
                    </a:lnTo>
                    <a:lnTo>
                      <a:pt x="21608" y="4414"/>
                    </a:lnTo>
                    <a:lnTo>
                      <a:pt x="21213" y="4500"/>
                    </a:lnTo>
                    <a:lnTo>
                      <a:pt x="21385" y="4500"/>
                    </a:lnTo>
                    <a:lnTo>
                      <a:pt x="21385" y="4500"/>
                    </a:lnTo>
                    <a:cubicBezTo>
                      <a:pt x="21251" y="4544"/>
                      <a:pt x="21113" y="4572"/>
                      <a:pt x="20973" y="4586"/>
                    </a:cubicBezTo>
                    <a:lnTo>
                      <a:pt x="21144" y="4586"/>
                    </a:lnTo>
                    <a:lnTo>
                      <a:pt x="20955" y="4586"/>
                    </a:lnTo>
                    <a:lnTo>
                      <a:pt x="20955" y="4586"/>
                    </a:lnTo>
                    <a:lnTo>
                      <a:pt x="20835" y="4586"/>
                    </a:lnTo>
                    <a:lnTo>
                      <a:pt x="20835" y="4586"/>
                    </a:lnTo>
                    <a:lnTo>
                      <a:pt x="20835" y="4586"/>
                    </a:lnTo>
                    <a:cubicBezTo>
                      <a:pt x="20835" y="4586"/>
                      <a:pt x="20835" y="4586"/>
                      <a:pt x="20835" y="4586"/>
                    </a:cubicBezTo>
                    <a:lnTo>
                      <a:pt x="20835" y="4586"/>
                    </a:lnTo>
                    <a:lnTo>
                      <a:pt x="20663" y="4586"/>
                    </a:lnTo>
                    <a:lnTo>
                      <a:pt x="20663" y="4586"/>
                    </a:lnTo>
                    <a:lnTo>
                      <a:pt x="20663" y="4586"/>
                    </a:lnTo>
                    <a:lnTo>
                      <a:pt x="20663" y="4586"/>
                    </a:lnTo>
                    <a:lnTo>
                      <a:pt x="20560" y="4586"/>
                    </a:lnTo>
                    <a:lnTo>
                      <a:pt x="20560" y="4586"/>
                    </a:lnTo>
                    <a:lnTo>
                      <a:pt x="20114" y="4706"/>
                    </a:lnTo>
                    <a:lnTo>
                      <a:pt x="20114" y="4706"/>
                    </a:lnTo>
                    <a:lnTo>
                      <a:pt x="19787" y="4827"/>
                    </a:lnTo>
                    <a:lnTo>
                      <a:pt x="19787" y="4827"/>
                    </a:lnTo>
                    <a:lnTo>
                      <a:pt x="19392" y="4947"/>
                    </a:lnTo>
                    <a:lnTo>
                      <a:pt x="19392" y="4947"/>
                    </a:lnTo>
                    <a:lnTo>
                      <a:pt x="19100" y="5153"/>
                    </a:lnTo>
                    <a:lnTo>
                      <a:pt x="19100" y="5153"/>
                    </a:lnTo>
                    <a:lnTo>
                      <a:pt x="18997" y="5153"/>
                    </a:lnTo>
                    <a:lnTo>
                      <a:pt x="18997" y="5153"/>
                    </a:lnTo>
                    <a:lnTo>
                      <a:pt x="18430" y="5359"/>
                    </a:lnTo>
                    <a:lnTo>
                      <a:pt x="18568" y="5359"/>
                    </a:lnTo>
                    <a:lnTo>
                      <a:pt x="18568" y="5359"/>
                    </a:lnTo>
                    <a:cubicBezTo>
                      <a:pt x="18763" y="5286"/>
                      <a:pt x="18964" y="5229"/>
                      <a:pt x="19169" y="5187"/>
                    </a:cubicBezTo>
                    <a:lnTo>
                      <a:pt x="19169" y="5187"/>
                    </a:lnTo>
                    <a:lnTo>
                      <a:pt x="19341" y="5187"/>
                    </a:lnTo>
                    <a:lnTo>
                      <a:pt x="19461" y="5187"/>
                    </a:lnTo>
                    <a:lnTo>
                      <a:pt x="19186" y="5187"/>
                    </a:lnTo>
                    <a:lnTo>
                      <a:pt x="19186" y="5187"/>
                    </a:lnTo>
                    <a:lnTo>
                      <a:pt x="19032" y="5187"/>
                    </a:lnTo>
                    <a:lnTo>
                      <a:pt x="19032" y="5187"/>
                    </a:lnTo>
                    <a:lnTo>
                      <a:pt x="18911" y="5187"/>
                    </a:lnTo>
                    <a:lnTo>
                      <a:pt x="18911" y="5187"/>
                    </a:lnTo>
                    <a:lnTo>
                      <a:pt x="18740" y="5187"/>
                    </a:lnTo>
                    <a:lnTo>
                      <a:pt x="18740" y="5187"/>
                    </a:lnTo>
                    <a:lnTo>
                      <a:pt x="18894" y="5187"/>
                    </a:lnTo>
                    <a:lnTo>
                      <a:pt x="18894" y="5187"/>
                    </a:lnTo>
                    <a:lnTo>
                      <a:pt x="19049" y="5187"/>
                    </a:lnTo>
                    <a:lnTo>
                      <a:pt x="19049" y="5187"/>
                    </a:lnTo>
                    <a:lnTo>
                      <a:pt x="18860" y="5187"/>
                    </a:lnTo>
                    <a:cubicBezTo>
                      <a:pt x="18997" y="5187"/>
                      <a:pt x="19392" y="5067"/>
                      <a:pt x="19032" y="5187"/>
                    </a:cubicBezTo>
                    <a:lnTo>
                      <a:pt x="19186" y="5187"/>
                    </a:lnTo>
                    <a:lnTo>
                      <a:pt x="19289" y="5187"/>
                    </a:lnTo>
                    <a:lnTo>
                      <a:pt x="19650" y="5084"/>
                    </a:lnTo>
                    <a:cubicBezTo>
                      <a:pt x="19252" y="5196"/>
                      <a:pt x="18862" y="5334"/>
                      <a:pt x="18482" y="5497"/>
                    </a:cubicBezTo>
                    <a:lnTo>
                      <a:pt x="18654" y="5497"/>
                    </a:lnTo>
                    <a:lnTo>
                      <a:pt x="18654" y="5497"/>
                    </a:lnTo>
                    <a:cubicBezTo>
                      <a:pt x="18654" y="5497"/>
                      <a:pt x="18860" y="5497"/>
                      <a:pt x="18740" y="5497"/>
                    </a:cubicBezTo>
                    <a:lnTo>
                      <a:pt x="18894" y="5497"/>
                    </a:lnTo>
                    <a:lnTo>
                      <a:pt x="18894" y="5497"/>
                    </a:lnTo>
                    <a:lnTo>
                      <a:pt x="19032" y="5497"/>
                    </a:lnTo>
                    <a:cubicBezTo>
                      <a:pt x="18929" y="5497"/>
                      <a:pt x="18808" y="5497"/>
                      <a:pt x="18722" y="5617"/>
                    </a:cubicBezTo>
                    <a:lnTo>
                      <a:pt x="18722" y="5617"/>
                    </a:lnTo>
                    <a:lnTo>
                      <a:pt x="18585" y="5617"/>
                    </a:lnTo>
                    <a:lnTo>
                      <a:pt x="18585" y="5617"/>
                    </a:lnTo>
                    <a:lnTo>
                      <a:pt x="18413" y="5617"/>
                    </a:lnTo>
                    <a:cubicBezTo>
                      <a:pt x="18505" y="5624"/>
                      <a:pt x="18597" y="5624"/>
                      <a:pt x="18688" y="5617"/>
                    </a:cubicBezTo>
                    <a:cubicBezTo>
                      <a:pt x="18396" y="5771"/>
                      <a:pt x="18035" y="5909"/>
                      <a:pt x="17743" y="6098"/>
                    </a:cubicBezTo>
                    <a:lnTo>
                      <a:pt x="17743" y="6098"/>
                    </a:lnTo>
                    <a:lnTo>
                      <a:pt x="17554" y="6201"/>
                    </a:lnTo>
                    <a:lnTo>
                      <a:pt x="17743" y="6201"/>
                    </a:lnTo>
                    <a:lnTo>
                      <a:pt x="17743" y="6201"/>
                    </a:lnTo>
                    <a:cubicBezTo>
                      <a:pt x="17743" y="6201"/>
                      <a:pt x="17743" y="6201"/>
                      <a:pt x="17743" y="6201"/>
                    </a:cubicBezTo>
                    <a:cubicBezTo>
                      <a:pt x="17557" y="6309"/>
                      <a:pt x="17362" y="6402"/>
                      <a:pt x="17159" y="6476"/>
                    </a:cubicBezTo>
                    <a:cubicBezTo>
                      <a:pt x="17159" y="6476"/>
                      <a:pt x="17159" y="6476"/>
                      <a:pt x="17159" y="6476"/>
                    </a:cubicBezTo>
                    <a:cubicBezTo>
                      <a:pt x="17159" y="6476"/>
                      <a:pt x="17056" y="6476"/>
                      <a:pt x="17039" y="6476"/>
                    </a:cubicBezTo>
                    <a:lnTo>
                      <a:pt x="17039" y="6476"/>
                    </a:lnTo>
                    <a:cubicBezTo>
                      <a:pt x="16976" y="6499"/>
                      <a:pt x="16918" y="6534"/>
                      <a:pt x="16867" y="6579"/>
                    </a:cubicBezTo>
                    <a:lnTo>
                      <a:pt x="16867" y="6579"/>
                    </a:lnTo>
                    <a:cubicBezTo>
                      <a:pt x="16867" y="6579"/>
                      <a:pt x="16627" y="6750"/>
                      <a:pt x="16730" y="6716"/>
                    </a:cubicBezTo>
                    <a:lnTo>
                      <a:pt x="16730" y="6716"/>
                    </a:lnTo>
                    <a:lnTo>
                      <a:pt x="16730" y="6716"/>
                    </a:lnTo>
                    <a:lnTo>
                      <a:pt x="16730" y="6716"/>
                    </a:lnTo>
                    <a:cubicBezTo>
                      <a:pt x="16730" y="6716"/>
                      <a:pt x="16730" y="6716"/>
                      <a:pt x="16730" y="6716"/>
                    </a:cubicBezTo>
                    <a:lnTo>
                      <a:pt x="16885" y="6716"/>
                    </a:lnTo>
                    <a:lnTo>
                      <a:pt x="16627" y="6853"/>
                    </a:lnTo>
                    <a:lnTo>
                      <a:pt x="16627" y="6853"/>
                    </a:lnTo>
                    <a:cubicBezTo>
                      <a:pt x="16627" y="6853"/>
                      <a:pt x="16455" y="6853"/>
                      <a:pt x="16386" y="6991"/>
                    </a:cubicBezTo>
                    <a:cubicBezTo>
                      <a:pt x="16318" y="7128"/>
                      <a:pt x="16507" y="6991"/>
                      <a:pt x="16558" y="6991"/>
                    </a:cubicBezTo>
                    <a:cubicBezTo>
                      <a:pt x="16389" y="7066"/>
                      <a:pt x="16228" y="7158"/>
                      <a:pt x="16077" y="7266"/>
                    </a:cubicBezTo>
                    <a:lnTo>
                      <a:pt x="16077" y="7266"/>
                    </a:lnTo>
                    <a:lnTo>
                      <a:pt x="16077" y="7266"/>
                    </a:lnTo>
                    <a:cubicBezTo>
                      <a:pt x="16317" y="7116"/>
                      <a:pt x="16570" y="6989"/>
                      <a:pt x="16833" y="6888"/>
                    </a:cubicBezTo>
                    <a:lnTo>
                      <a:pt x="16833" y="6888"/>
                    </a:lnTo>
                    <a:cubicBezTo>
                      <a:pt x="16833" y="6888"/>
                      <a:pt x="16833" y="6888"/>
                      <a:pt x="16833" y="6888"/>
                    </a:cubicBezTo>
                    <a:lnTo>
                      <a:pt x="16833" y="6888"/>
                    </a:lnTo>
                    <a:lnTo>
                      <a:pt x="16936" y="6888"/>
                    </a:lnTo>
                    <a:lnTo>
                      <a:pt x="16833" y="6888"/>
                    </a:lnTo>
                    <a:cubicBezTo>
                      <a:pt x="16833" y="6888"/>
                      <a:pt x="16988" y="6785"/>
                      <a:pt x="17056" y="6785"/>
                    </a:cubicBezTo>
                    <a:lnTo>
                      <a:pt x="17056" y="6785"/>
                    </a:lnTo>
                    <a:cubicBezTo>
                      <a:pt x="17056" y="6785"/>
                      <a:pt x="17314" y="6682"/>
                      <a:pt x="17159" y="6785"/>
                    </a:cubicBezTo>
                    <a:lnTo>
                      <a:pt x="17039" y="6785"/>
                    </a:lnTo>
                    <a:cubicBezTo>
                      <a:pt x="17073" y="6775"/>
                      <a:pt x="17109" y="6775"/>
                      <a:pt x="17142" y="6785"/>
                    </a:cubicBezTo>
                    <a:lnTo>
                      <a:pt x="17022" y="6785"/>
                    </a:lnTo>
                    <a:lnTo>
                      <a:pt x="17022" y="6785"/>
                    </a:lnTo>
                    <a:cubicBezTo>
                      <a:pt x="17022" y="6785"/>
                      <a:pt x="17022" y="6785"/>
                      <a:pt x="16885" y="6785"/>
                    </a:cubicBezTo>
                    <a:cubicBezTo>
                      <a:pt x="16747" y="6785"/>
                      <a:pt x="17074" y="6785"/>
                      <a:pt x="17005" y="6785"/>
                    </a:cubicBezTo>
                    <a:cubicBezTo>
                      <a:pt x="17104" y="6745"/>
                      <a:pt x="17215" y="6745"/>
                      <a:pt x="17314" y="6785"/>
                    </a:cubicBezTo>
                    <a:lnTo>
                      <a:pt x="17314" y="6785"/>
                    </a:lnTo>
                    <a:cubicBezTo>
                      <a:pt x="17125" y="6922"/>
                      <a:pt x="16902" y="7025"/>
                      <a:pt x="16696" y="7145"/>
                    </a:cubicBezTo>
                    <a:lnTo>
                      <a:pt x="16696" y="7145"/>
                    </a:lnTo>
                    <a:lnTo>
                      <a:pt x="16696" y="7145"/>
                    </a:lnTo>
                    <a:lnTo>
                      <a:pt x="16696" y="7145"/>
                    </a:lnTo>
                    <a:cubicBezTo>
                      <a:pt x="16696" y="7145"/>
                      <a:pt x="16696" y="7145"/>
                      <a:pt x="16696" y="7145"/>
                    </a:cubicBezTo>
                    <a:lnTo>
                      <a:pt x="16696" y="7145"/>
                    </a:lnTo>
                    <a:lnTo>
                      <a:pt x="16696" y="7145"/>
                    </a:lnTo>
                    <a:lnTo>
                      <a:pt x="16455" y="7300"/>
                    </a:lnTo>
                    <a:lnTo>
                      <a:pt x="16455" y="7300"/>
                    </a:lnTo>
                    <a:cubicBezTo>
                      <a:pt x="16455" y="7300"/>
                      <a:pt x="16455" y="7300"/>
                      <a:pt x="16455" y="7386"/>
                    </a:cubicBezTo>
                    <a:lnTo>
                      <a:pt x="16610" y="7386"/>
                    </a:lnTo>
                    <a:lnTo>
                      <a:pt x="16610" y="7386"/>
                    </a:lnTo>
                    <a:lnTo>
                      <a:pt x="16610" y="7489"/>
                    </a:lnTo>
                    <a:cubicBezTo>
                      <a:pt x="16610" y="7489"/>
                      <a:pt x="16610" y="7489"/>
                      <a:pt x="16610" y="7489"/>
                    </a:cubicBezTo>
                    <a:lnTo>
                      <a:pt x="16610" y="7489"/>
                    </a:lnTo>
                    <a:cubicBezTo>
                      <a:pt x="16953" y="7266"/>
                      <a:pt x="16713" y="7489"/>
                      <a:pt x="16610" y="7592"/>
                    </a:cubicBezTo>
                    <a:cubicBezTo>
                      <a:pt x="16730" y="7592"/>
                      <a:pt x="16833" y="7386"/>
                      <a:pt x="16970" y="7334"/>
                    </a:cubicBezTo>
                    <a:lnTo>
                      <a:pt x="16970" y="7334"/>
                    </a:lnTo>
                    <a:cubicBezTo>
                      <a:pt x="16970" y="7334"/>
                      <a:pt x="17280" y="7145"/>
                      <a:pt x="17108" y="7334"/>
                    </a:cubicBezTo>
                    <a:lnTo>
                      <a:pt x="17245" y="7334"/>
                    </a:lnTo>
                    <a:lnTo>
                      <a:pt x="17142" y="7334"/>
                    </a:lnTo>
                    <a:cubicBezTo>
                      <a:pt x="17142" y="7334"/>
                      <a:pt x="17142" y="7334"/>
                      <a:pt x="17142" y="7334"/>
                    </a:cubicBezTo>
                    <a:cubicBezTo>
                      <a:pt x="17142" y="7334"/>
                      <a:pt x="17022" y="7334"/>
                      <a:pt x="16988" y="7437"/>
                    </a:cubicBezTo>
                    <a:lnTo>
                      <a:pt x="16988" y="7437"/>
                    </a:lnTo>
                    <a:cubicBezTo>
                      <a:pt x="16988" y="7437"/>
                      <a:pt x="16885" y="7437"/>
                      <a:pt x="16867" y="7437"/>
                    </a:cubicBezTo>
                    <a:cubicBezTo>
                      <a:pt x="17211" y="7317"/>
                      <a:pt x="16747" y="7437"/>
                      <a:pt x="16610" y="7575"/>
                    </a:cubicBezTo>
                    <a:lnTo>
                      <a:pt x="16610" y="7575"/>
                    </a:lnTo>
                    <a:lnTo>
                      <a:pt x="16421" y="7678"/>
                    </a:lnTo>
                    <a:lnTo>
                      <a:pt x="16421" y="7678"/>
                    </a:lnTo>
                    <a:lnTo>
                      <a:pt x="16283" y="7678"/>
                    </a:lnTo>
                    <a:cubicBezTo>
                      <a:pt x="16438" y="7678"/>
                      <a:pt x="16283" y="7678"/>
                      <a:pt x="16283" y="7678"/>
                    </a:cubicBezTo>
                    <a:lnTo>
                      <a:pt x="16283" y="7678"/>
                    </a:lnTo>
                    <a:lnTo>
                      <a:pt x="16129" y="7678"/>
                    </a:lnTo>
                    <a:lnTo>
                      <a:pt x="16129" y="7678"/>
                    </a:lnTo>
                    <a:lnTo>
                      <a:pt x="16129" y="7678"/>
                    </a:lnTo>
                    <a:lnTo>
                      <a:pt x="16129" y="7678"/>
                    </a:lnTo>
                    <a:cubicBezTo>
                      <a:pt x="16026" y="7678"/>
                      <a:pt x="15923" y="7833"/>
                      <a:pt x="15820" y="7867"/>
                    </a:cubicBezTo>
                    <a:cubicBezTo>
                      <a:pt x="15717" y="7901"/>
                      <a:pt x="15974" y="7764"/>
                      <a:pt x="16043" y="7747"/>
                    </a:cubicBezTo>
                    <a:cubicBezTo>
                      <a:pt x="16112" y="7729"/>
                      <a:pt x="16043" y="7747"/>
                      <a:pt x="16043" y="7747"/>
                    </a:cubicBezTo>
                    <a:cubicBezTo>
                      <a:pt x="16131" y="7705"/>
                      <a:pt x="16223" y="7670"/>
                      <a:pt x="16318" y="7644"/>
                    </a:cubicBezTo>
                    <a:lnTo>
                      <a:pt x="16198" y="7644"/>
                    </a:lnTo>
                    <a:cubicBezTo>
                      <a:pt x="16386" y="7558"/>
                      <a:pt x="16558" y="7420"/>
                      <a:pt x="16747" y="7352"/>
                    </a:cubicBezTo>
                    <a:lnTo>
                      <a:pt x="16747" y="7352"/>
                    </a:lnTo>
                    <a:lnTo>
                      <a:pt x="16747" y="7352"/>
                    </a:lnTo>
                    <a:cubicBezTo>
                      <a:pt x="16976" y="7288"/>
                      <a:pt x="17195" y="7196"/>
                      <a:pt x="17400" y="7077"/>
                    </a:cubicBezTo>
                    <a:cubicBezTo>
                      <a:pt x="17400" y="7077"/>
                      <a:pt x="17400" y="7077"/>
                      <a:pt x="17262" y="7077"/>
                    </a:cubicBezTo>
                    <a:lnTo>
                      <a:pt x="17262" y="7077"/>
                    </a:lnTo>
                    <a:cubicBezTo>
                      <a:pt x="17366" y="7077"/>
                      <a:pt x="17761" y="6836"/>
                      <a:pt x="17520" y="6991"/>
                    </a:cubicBezTo>
                    <a:cubicBezTo>
                      <a:pt x="17692" y="6991"/>
                      <a:pt x="17692" y="6819"/>
                      <a:pt x="17846" y="6768"/>
                    </a:cubicBezTo>
                    <a:cubicBezTo>
                      <a:pt x="17692" y="6768"/>
                      <a:pt x="17846" y="6768"/>
                      <a:pt x="17846" y="6768"/>
                    </a:cubicBezTo>
                    <a:lnTo>
                      <a:pt x="17846" y="6768"/>
                    </a:lnTo>
                    <a:cubicBezTo>
                      <a:pt x="18036" y="6628"/>
                      <a:pt x="18252" y="6528"/>
                      <a:pt x="18482" y="6476"/>
                    </a:cubicBezTo>
                    <a:lnTo>
                      <a:pt x="18482" y="6476"/>
                    </a:lnTo>
                    <a:cubicBezTo>
                      <a:pt x="18662" y="6364"/>
                      <a:pt x="18859" y="6282"/>
                      <a:pt x="19066" y="6235"/>
                    </a:cubicBezTo>
                    <a:lnTo>
                      <a:pt x="18911" y="6321"/>
                    </a:lnTo>
                    <a:cubicBezTo>
                      <a:pt x="19100" y="6321"/>
                      <a:pt x="19238" y="6149"/>
                      <a:pt x="19427" y="6115"/>
                    </a:cubicBezTo>
                    <a:lnTo>
                      <a:pt x="19238" y="6252"/>
                    </a:lnTo>
                    <a:cubicBezTo>
                      <a:pt x="20286" y="5617"/>
                      <a:pt x="22038" y="4998"/>
                      <a:pt x="20303" y="5909"/>
                    </a:cubicBezTo>
                    <a:cubicBezTo>
                      <a:pt x="20578" y="5823"/>
                      <a:pt x="21230" y="5411"/>
                      <a:pt x="21024" y="5651"/>
                    </a:cubicBezTo>
                    <a:cubicBezTo>
                      <a:pt x="21780" y="5393"/>
                      <a:pt x="20629" y="6012"/>
                      <a:pt x="20303" y="6149"/>
                    </a:cubicBezTo>
                    <a:cubicBezTo>
                      <a:pt x="20698" y="6012"/>
                      <a:pt x="20303" y="6149"/>
                      <a:pt x="20303" y="6149"/>
                    </a:cubicBezTo>
                    <a:cubicBezTo>
                      <a:pt x="20303" y="6149"/>
                      <a:pt x="20560" y="5977"/>
                      <a:pt x="20406" y="6149"/>
                    </a:cubicBezTo>
                    <a:cubicBezTo>
                      <a:pt x="20663" y="5857"/>
                      <a:pt x="20921" y="6149"/>
                      <a:pt x="20492" y="6235"/>
                    </a:cubicBezTo>
                    <a:cubicBezTo>
                      <a:pt x="20448" y="6218"/>
                      <a:pt x="20398" y="6218"/>
                      <a:pt x="20354" y="6235"/>
                    </a:cubicBezTo>
                    <a:cubicBezTo>
                      <a:pt x="20612" y="6235"/>
                      <a:pt x="20251" y="6321"/>
                      <a:pt x="20165" y="6355"/>
                    </a:cubicBezTo>
                    <a:cubicBezTo>
                      <a:pt x="20818" y="6149"/>
                      <a:pt x="19616" y="6647"/>
                      <a:pt x="20337" y="6355"/>
                    </a:cubicBezTo>
                    <a:cubicBezTo>
                      <a:pt x="19427" y="6750"/>
                      <a:pt x="20749" y="6355"/>
                      <a:pt x="19856" y="6716"/>
                    </a:cubicBezTo>
                    <a:cubicBezTo>
                      <a:pt x="19856" y="6819"/>
                      <a:pt x="19856" y="6716"/>
                      <a:pt x="20097" y="6716"/>
                    </a:cubicBezTo>
                    <a:cubicBezTo>
                      <a:pt x="19967" y="6814"/>
                      <a:pt x="19822" y="6889"/>
                      <a:pt x="19667" y="6939"/>
                    </a:cubicBezTo>
                    <a:cubicBezTo>
                      <a:pt x="19564" y="6939"/>
                      <a:pt x="20423" y="6939"/>
                      <a:pt x="19495" y="7145"/>
                    </a:cubicBezTo>
                    <a:cubicBezTo>
                      <a:pt x="19392" y="7145"/>
                      <a:pt x="19959" y="7145"/>
                      <a:pt x="19358" y="7266"/>
                    </a:cubicBezTo>
                    <a:cubicBezTo>
                      <a:pt x="19856" y="7094"/>
                      <a:pt x="19925" y="7266"/>
                      <a:pt x="19358" y="7352"/>
                    </a:cubicBezTo>
                    <a:cubicBezTo>
                      <a:pt x="19581" y="7541"/>
                      <a:pt x="19255" y="7592"/>
                      <a:pt x="19358" y="7523"/>
                    </a:cubicBezTo>
                    <a:cubicBezTo>
                      <a:pt x="19083" y="7523"/>
                      <a:pt x="19358" y="7747"/>
                      <a:pt x="19049" y="7626"/>
                    </a:cubicBezTo>
                    <a:cubicBezTo>
                      <a:pt x="18860" y="7953"/>
                      <a:pt x="19186" y="7764"/>
                      <a:pt x="18860" y="7918"/>
                    </a:cubicBezTo>
                    <a:cubicBezTo>
                      <a:pt x="19118" y="7833"/>
                      <a:pt x="18654" y="8193"/>
                      <a:pt x="18860" y="8039"/>
                    </a:cubicBezTo>
                    <a:cubicBezTo>
                      <a:pt x="18534" y="8365"/>
                      <a:pt x="19152" y="7850"/>
                      <a:pt x="18705" y="8399"/>
                    </a:cubicBezTo>
                    <a:cubicBezTo>
                      <a:pt x="18482" y="8520"/>
                      <a:pt x="19066" y="8399"/>
                      <a:pt x="18551" y="8588"/>
                    </a:cubicBezTo>
                    <a:cubicBezTo>
                      <a:pt x="18929" y="8434"/>
                      <a:pt x="18637" y="8966"/>
                      <a:pt x="18396" y="8829"/>
                    </a:cubicBezTo>
                    <a:cubicBezTo>
                      <a:pt x="18396" y="8966"/>
                      <a:pt x="18242" y="9069"/>
                      <a:pt x="18190" y="8966"/>
                    </a:cubicBezTo>
                    <a:cubicBezTo>
                      <a:pt x="18138" y="8863"/>
                      <a:pt x="18018" y="9155"/>
                      <a:pt x="18190" y="8966"/>
                    </a:cubicBezTo>
                    <a:cubicBezTo>
                      <a:pt x="18362" y="8777"/>
                      <a:pt x="17692" y="9447"/>
                      <a:pt x="17846" y="9155"/>
                    </a:cubicBezTo>
                    <a:cubicBezTo>
                      <a:pt x="17709" y="8966"/>
                      <a:pt x="18173" y="8709"/>
                      <a:pt x="18224" y="8605"/>
                    </a:cubicBezTo>
                    <a:cubicBezTo>
                      <a:pt x="17915" y="8777"/>
                      <a:pt x="18104" y="8605"/>
                      <a:pt x="18224" y="8434"/>
                    </a:cubicBezTo>
                    <a:cubicBezTo>
                      <a:pt x="18345" y="8262"/>
                      <a:pt x="17967" y="8640"/>
                      <a:pt x="18053" y="8434"/>
                    </a:cubicBezTo>
                    <a:cubicBezTo>
                      <a:pt x="17761" y="8709"/>
                      <a:pt x="17589" y="8743"/>
                      <a:pt x="17486" y="9155"/>
                    </a:cubicBezTo>
                    <a:cubicBezTo>
                      <a:pt x="17383" y="9567"/>
                      <a:pt x="16816" y="10065"/>
                      <a:pt x="16747" y="9842"/>
                    </a:cubicBezTo>
                    <a:cubicBezTo>
                      <a:pt x="16678" y="9619"/>
                      <a:pt x="16867" y="9722"/>
                      <a:pt x="16747" y="9396"/>
                    </a:cubicBezTo>
                    <a:cubicBezTo>
                      <a:pt x="16524" y="9791"/>
                      <a:pt x="16524" y="10306"/>
                      <a:pt x="16524" y="10306"/>
                    </a:cubicBezTo>
                    <a:cubicBezTo>
                      <a:pt x="15820" y="10461"/>
                      <a:pt x="16644" y="9104"/>
                      <a:pt x="16799" y="9069"/>
                    </a:cubicBezTo>
                    <a:cubicBezTo>
                      <a:pt x="16524" y="9172"/>
                      <a:pt x="16799" y="9069"/>
                      <a:pt x="16558" y="9069"/>
                    </a:cubicBezTo>
                    <a:cubicBezTo>
                      <a:pt x="16678" y="8897"/>
                      <a:pt x="16386" y="9155"/>
                      <a:pt x="16301" y="9069"/>
                    </a:cubicBezTo>
                    <a:cubicBezTo>
                      <a:pt x="16215" y="8983"/>
                      <a:pt x="17005" y="8382"/>
                      <a:pt x="16850" y="8794"/>
                    </a:cubicBezTo>
                    <a:cubicBezTo>
                      <a:pt x="18310" y="8485"/>
                      <a:pt x="19203" y="7077"/>
                      <a:pt x="19530" y="6733"/>
                    </a:cubicBezTo>
                    <a:cubicBezTo>
                      <a:pt x="19032" y="7145"/>
                      <a:pt x="19169" y="6733"/>
                      <a:pt x="18980" y="6733"/>
                    </a:cubicBezTo>
                    <a:cubicBezTo>
                      <a:pt x="18791" y="6733"/>
                      <a:pt x="19238" y="6579"/>
                      <a:pt x="18980" y="6561"/>
                    </a:cubicBezTo>
                    <a:cubicBezTo>
                      <a:pt x="19203" y="6321"/>
                      <a:pt x="18980" y="6561"/>
                      <a:pt x="18980" y="6373"/>
                    </a:cubicBezTo>
                    <a:lnTo>
                      <a:pt x="19083" y="6373"/>
                    </a:lnTo>
                    <a:lnTo>
                      <a:pt x="18929" y="6458"/>
                    </a:lnTo>
                    <a:cubicBezTo>
                      <a:pt x="18671" y="6579"/>
                      <a:pt x="18430" y="6733"/>
                      <a:pt x="18173" y="6871"/>
                    </a:cubicBezTo>
                    <a:lnTo>
                      <a:pt x="18173" y="6871"/>
                    </a:lnTo>
                    <a:lnTo>
                      <a:pt x="18293" y="6871"/>
                    </a:lnTo>
                    <a:lnTo>
                      <a:pt x="18242" y="6871"/>
                    </a:lnTo>
                    <a:lnTo>
                      <a:pt x="18242" y="6871"/>
                    </a:lnTo>
                    <a:cubicBezTo>
                      <a:pt x="18242" y="6957"/>
                      <a:pt x="17984" y="6871"/>
                      <a:pt x="17898" y="7025"/>
                    </a:cubicBezTo>
                    <a:lnTo>
                      <a:pt x="17898" y="7025"/>
                    </a:lnTo>
                    <a:lnTo>
                      <a:pt x="17898" y="7025"/>
                    </a:lnTo>
                    <a:lnTo>
                      <a:pt x="18001" y="7025"/>
                    </a:lnTo>
                    <a:cubicBezTo>
                      <a:pt x="18001" y="7025"/>
                      <a:pt x="18001" y="7025"/>
                      <a:pt x="18001" y="7025"/>
                    </a:cubicBezTo>
                    <a:lnTo>
                      <a:pt x="18001" y="7025"/>
                    </a:lnTo>
                    <a:cubicBezTo>
                      <a:pt x="18001" y="7025"/>
                      <a:pt x="17881" y="7025"/>
                      <a:pt x="17829" y="7025"/>
                    </a:cubicBezTo>
                    <a:lnTo>
                      <a:pt x="17829" y="7025"/>
                    </a:lnTo>
                    <a:lnTo>
                      <a:pt x="17829" y="7025"/>
                    </a:lnTo>
                    <a:cubicBezTo>
                      <a:pt x="17623" y="7180"/>
                      <a:pt x="17400" y="7300"/>
                      <a:pt x="17177" y="7437"/>
                    </a:cubicBezTo>
                    <a:lnTo>
                      <a:pt x="17434" y="7334"/>
                    </a:lnTo>
                    <a:lnTo>
                      <a:pt x="17434" y="7334"/>
                    </a:lnTo>
                    <a:lnTo>
                      <a:pt x="17864" y="7111"/>
                    </a:lnTo>
                    <a:cubicBezTo>
                      <a:pt x="17702" y="7258"/>
                      <a:pt x="17523" y="7385"/>
                      <a:pt x="17331" y="7489"/>
                    </a:cubicBezTo>
                    <a:lnTo>
                      <a:pt x="17331" y="7489"/>
                    </a:lnTo>
                    <a:cubicBezTo>
                      <a:pt x="17075" y="7607"/>
                      <a:pt x="16843" y="7770"/>
                      <a:pt x="16644" y="7970"/>
                    </a:cubicBezTo>
                    <a:cubicBezTo>
                      <a:pt x="16644" y="7970"/>
                      <a:pt x="16747" y="7884"/>
                      <a:pt x="16799" y="7884"/>
                    </a:cubicBezTo>
                    <a:lnTo>
                      <a:pt x="16799" y="7884"/>
                    </a:lnTo>
                    <a:lnTo>
                      <a:pt x="17675" y="7437"/>
                    </a:lnTo>
                    <a:lnTo>
                      <a:pt x="17675" y="7437"/>
                    </a:lnTo>
                    <a:lnTo>
                      <a:pt x="17675" y="7437"/>
                    </a:lnTo>
                    <a:cubicBezTo>
                      <a:pt x="17675" y="7437"/>
                      <a:pt x="17675" y="7334"/>
                      <a:pt x="17812" y="7352"/>
                    </a:cubicBezTo>
                    <a:lnTo>
                      <a:pt x="17812" y="7352"/>
                    </a:lnTo>
                    <a:cubicBezTo>
                      <a:pt x="17812" y="7352"/>
                      <a:pt x="17812" y="7352"/>
                      <a:pt x="17932" y="7352"/>
                    </a:cubicBezTo>
                    <a:lnTo>
                      <a:pt x="17932" y="7352"/>
                    </a:lnTo>
                    <a:lnTo>
                      <a:pt x="18362" y="7111"/>
                    </a:lnTo>
                    <a:cubicBezTo>
                      <a:pt x="18362" y="7111"/>
                      <a:pt x="18362" y="7111"/>
                      <a:pt x="18362" y="7266"/>
                    </a:cubicBezTo>
                    <a:lnTo>
                      <a:pt x="18362" y="7266"/>
                    </a:lnTo>
                    <a:cubicBezTo>
                      <a:pt x="18341" y="7321"/>
                      <a:pt x="18297" y="7365"/>
                      <a:pt x="18242" y="7386"/>
                    </a:cubicBezTo>
                    <a:cubicBezTo>
                      <a:pt x="18242" y="7300"/>
                      <a:pt x="18242" y="7472"/>
                      <a:pt x="18104" y="7489"/>
                    </a:cubicBezTo>
                    <a:cubicBezTo>
                      <a:pt x="17967" y="7506"/>
                      <a:pt x="17967" y="7626"/>
                      <a:pt x="17898" y="7626"/>
                    </a:cubicBezTo>
                    <a:cubicBezTo>
                      <a:pt x="17829" y="7626"/>
                      <a:pt x="17898" y="7626"/>
                      <a:pt x="17898" y="7626"/>
                    </a:cubicBezTo>
                    <a:lnTo>
                      <a:pt x="17898" y="7626"/>
                    </a:lnTo>
                    <a:cubicBezTo>
                      <a:pt x="17898" y="7626"/>
                      <a:pt x="17606" y="7764"/>
                      <a:pt x="17692" y="7626"/>
                    </a:cubicBezTo>
                    <a:lnTo>
                      <a:pt x="17692" y="7626"/>
                    </a:lnTo>
                    <a:cubicBezTo>
                      <a:pt x="17692" y="7626"/>
                      <a:pt x="17692" y="7712"/>
                      <a:pt x="17537" y="7729"/>
                    </a:cubicBezTo>
                    <a:lnTo>
                      <a:pt x="17537" y="7729"/>
                    </a:lnTo>
                    <a:cubicBezTo>
                      <a:pt x="17537" y="7729"/>
                      <a:pt x="17417" y="7729"/>
                      <a:pt x="17537" y="7729"/>
                    </a:cubicBezTo>
                    <a:cubicBezTo>
                      <a:pt x="17222" y="8004"/>
                      <a:pt x="16845" y="8199"/>
                      <a:pt x="16438" y="8296"/>
                    </a:cubicBezTo>
                    <a:cubicBezTo>
                      <a:pt x="16466" y="8278"/>
                      <a:pt x="16495" y="8261"/>
                      <a:pt x="16524" y="8245"/>
                    </a:cubicBezTo>
                    <a:lnTo>
                      <a:pt x="16524" y="8245"/>
                    </a:lnTo>
                    <a:lnTo>
                      <a:pt x="16661" y="8125"/>
                    </a:lnTo>
                    <a:lnTo>
                      <a:pt x="16661" y="8125"/>
                    </a:lnTo>
                    <a:cubicBezTo>
                      <a:pt x="16661" y="8125"/>
                      <a:pt x="16490" y="8210"/>
                      <a:pt x="16661" y="8125"/>
                    </a:cubicBezTo>
                    <a:cubicBezTo>
                      <a:pt x="16557" y="8250"/>
                      <a:pt x="16436" y="8360"/>
                      <a:pt x="16301" y="8451"/>
                    </a:cubicBezTo>
                    <a:lnTo>
                      <a:pt x="16404" y="8296"/>
                    </a:lnTo>
                    <a:cubicBezTo>
                      <a:pt x="16404" y="8296"/>
                      <a:pt x="16404" y="8382"/>
                      <a:pt x="16283" y="8399"/>
                    </a:cubicBezTo>
                    <a:cubicBezTo>
                      <a:pt x="16163" y="8417"/>
                      <a:pt x="16283" y="8399"/>
                      <a:pt x="16283" y="8399"/>
                    </a:cubicBezTo>
                    <a:lnTo>
                      <a:pt x="16283" y="8399"/>
                    </a:lnTo>
                    <a:lnTo>
                      <a:pt x="16438" y="8279"/>
                    </a:lnTo>
                    <a:cubicBezTo>
                      <a:pt x="16438" y="8279"/>
                      <a:pt x="16335" y="8279"/>
                      <a:pt x="16438" y="8279"/>
                    </a:cubicBezTo>
                    <a:lnTo>
                      <a:pt x="16438" y="8279"/>
                    </a:lnTo>
                    <a:lnTo>
                      <a:pt x="16438" y="8279"/>
                    </a:lnTo>
                    <a:cubicBezTo>
                      <a:pt x="16260" y="8438"/>
                      <a:pt x="16057" y="8566"/>
                      <a:pt x="15837" y="8657"/>
                    </a:cubicBezTo>
                    <a:lnTo>
                      <a:pt x="15837" y="8657"/>
                    </a:lnTo>
                    <a:cubicBezTo>
                      <a:pt x="15510" y="8846"/>
                      <a:pt x="15837" y="8520"/>
                      <a:pt x="15837" y="8365"/>
                    </a:cubicBezTo>
                    <a:cubicBezTo>
                      <a:pt x="15545" y="8537"/>
                      <a:pt x="15614" y="8846"/>
                      <a:pt x="15287" y="8932"/>
                    </a:cubicBezTo>
                    <a:lnTo>
                      <a:pt x="15287" y="8932"/>
                    </a:lnTo>
                    <a:lnTo>
                      <a:pt x="14841" y="9138"/>
                    </a:lnTo>
                    <a:cubicBezTo>
                      <a:pt x="14841" y="9138"/>
                      <a:pt x="14841" y="9138"/>
                      <a:pt x="14841" y="9138"/>
                    </a:cubicBezTo>
                    <a:lnTo>
                      <a:pt x="14841" y="9138"/>
                    </a:lnTo>
                    <a:lnTo>
                      <a:pt x="14841" y="9138"/>
                    </a:lnTo>
                    <a:cubicBezTo>
                      <a:pt x="14841" y="9138"/>
                      <a:pt x="14841" y="9138"/>
                      <a:pt x="14961" y="9035"/>
                    </a:cubicBezTo>
                    <a:cubicBezTo>
                      <a:pt x="15081" y="8932"/>
                      <a:pt x="14841" y="9035"/>
                      <a:pt x="14806" y="9121"/>
                    </a:cubicBezTo>
                    <a:cubicBezTo>
                      <a:pt x="14849" y="9096"/>
                      <a:pt x="14884" y="9060"/>
                      <a:pt x="14909" y="9018"/>
                    </a:cubicBezTo>
                    <a:cubicBezTo>
                      <a:pt x="14909" y="9018"/>
                      <a:pt x="14514" y="9344"/>
                      <a:pt x="14686" y="9138"/>
                    </a:cubicBezTo>
                    <a:lnTo>
                      <a:pt x="14531" y="9258"/>
                    </a:lnTo>
                    <a:cubicBezTo>
                      <a:pt x="14601" y="9111"/>
                      <a:pt x="14687" y="8973"/>
                      <a:pt x="14789" y="8846"/>
                    </a:cubicBezTo>
                    <a:lnTo>
                      <a:pt x="14789" y="8846"/>
                    </a:lnTo>
                    <a:lnTo>
                      <a:pt x="14789" y="8846"/>
                    </a:lnTo>
                    <a:lnTo>
                      <a:pt x="14703" y="8949"/>
                    </a:lnTo>
                    <a:cubicBezTo>
                      <a:pt x="14909" y="8794"/>
                      <a:pt x="14600" y="9138"/>
                      <a:pt x="14549" y="9121"/>
                    </a:cubicBezTo>
                    <a:lnTo>
                      <a:pt x="14686" y="9121"/>
                    </a:lnTo>
                    <a:cubicBezTo>
                      <a:pt x="14549" y="9361"/>
                      <a:pt x="13999" y="9653"/>
                      <a:pt x="14411" y="9121"/>
                    </a:cubicBezTo>
                    <a:cubicBezTo>
                      <a:pt x="14274" y="9207"/>
                      <a:pt x="14205" y="9361"/>
                      <a:pt x="14085" y="9447"/>
                    </a:cubicBezTo>
                    <a:lnTo>
                      <a:pt x="14085" y="9447"/>
                    </a:lnTo>
                    <a:lnTo>
                      <a:pt x="14085" y="9447"/>
                    </a:lnTo>
                    <a:lnTo>
                      <a:pt x="14085" y="9447"/>
                    </a:lnTo>
                    <a:lnTo>
                      <a:pt x="13930" y="9585"/>
                    </a:lnTo>
                    <a:cubicBezTo>
                      <a:pt x="13930" y="9585"/>
                      <a:pt x="13930" y="9585"/>
                      <a:pt x="13930" y="9585"/>
                    </a:cubicBezTo>
                    <a:cubicBezTo>
                      <a:pt x="13930" y="9585"/>
                      <a:pt x="13810" y="9585"/>
                      <a:pt x="13776" y="9585"/>
                    </a:cubicBezTo>
                    <a:cubicBezTo>
                      <a:pt x="13741" y="9585"/>
                      <a:pt x="13260" y="9911"/>
                      <a:pt x="13123" y="9945"/>
                    </a:cubicBezTo>
                    <a:lnTo>
                      <a:pt x="13123" y="9945"/>
                    </a:lnTo>
                    <a:cubicBezTo>
                      <a:pt x="12737" y="10291"/>
                      <a:pt x="12330" y="10612"/>
                      <a:pt x="11903" y="10907"/>
                    </a:cubicBezTo>
                    <a:cubicBezTo>
                      <a:pt x="12900" y="10254"/>
                      <a:pt x="11749" y="11405"/>
                      <a:pt x="11525" y="11405"/>
                    </a:cubicBezTo>
                    <a:cubicBezTo>
                      <a:pt x="11972" y="11405"/>
                      <a:pt x="11732" y="11783"/>
                      <a:pt x="11525" y="12092"/>
                    </a:cubicBezTo>
                    <a:lnTo>
                      <a:pt x="11525" y="12092"/>
                    </a:lnTo>
                    <a:cubicBezTo>
                      <a:pt x="11512" y="12253"/>
                      <a:pt x="11471" y="12409"/>
                      <a:pt x="11405" y="12556"/>
                    </a:cubicBezTo>
                    <a:cubicBezTo>
                      <a:pt x="11525" y="12556"/>
                      <a:pt x="11508" y="12693"/>
                      <a:pt x="11629" y="12693"/>
                    </a:cubicBezTo>
                    <a:lnTo>
                      <a:pt x="11629" y="12693"/>
                    </a:lnTo>
                    <a:cubicBezTo>
                      <a:pt x="11143" y="13178"/>
                      <a:pt x="10727" y="13727"/>
                      <a:pt x="10392" y="14325"/>
                    </a:cubicBezTo>
                    <a:cubicBezTo>
                      <a:pt x="10598" y="14325"/>
                      <a:pt x="10546" y="14325"/>
                      <a:pt x="10753" y="14188"/>
                    </a:cubicBezTo>
                    <a:cubicBezTo>
                      <a:pt x="10753" y="14274"/>
                      <a:pt x="10546" y="14445"/>
                      <a:pt x="10649" y="14514"/>
                    </a:cubicBezTo>
                    <a:cubicBezTo>
                      <a:pt x="11067" y="13670"/>
                      <a:pt x="11757" y="12992"/>
                      <a:pt x="12608" y="12590"/>
                    </a:cubicBezTo>
                    <a:cubicBezTo>
                      <a:pt x="13106" y="12024"/>
                      <a:pt x="13484" y="11337"/>
                      <a:pt x="13999" y="11148"/>
                    </a:cubicBezTo>
                    <a:lnTo>
                      <a:pt x="13999" y="11148"/>
                    </a:lnTo>
                    <a:cubicBezTo>
                      <a:pt x="14085" y="11148"/>
                      <a:pt x="14119" y="10976"/>
                      <a:pt x="14205" y="10976"/>
                    </a:cubicBezTo>
                    <a:cubicBezTo>
                      <a:pt x="14291" y="10976"/>
                      <a:pt x="14205" y="10873"/>
                      <a:pt x="14325" y="10856"/>
                    </a:cubicBezTo>
                    <a:cubicBezTo>
                      <a:pt x="14446" y="10838"/>
                      <a:pt x="15493" y="9808"/>
                      <a:pt x="15081" y="10409"/>
                    </a:cubicBezTo>
                    <a:cubicBezTo>
                      <a:pt x="15081" y="10409"/>
                      <a:pt x="15253" y="10409"/>
                      <a:pt x="15201" y="10409"/>
                    </a:cubicBezTo>
                    <a:lnTo>
                      <a:pt x="15201" y="10409"/>
                    </a:lnTo>
                    <a:cubicBezTo>
                      <a:pt x="15510" y="10409"/>
                      <a:pt x="15201" y="10409"/>
                      <a:pt x="15304" y="10564"/>
                    </a:cubicBezTo>
                    <a:cubicBezTo>
                      <a:pt x="15407" y="10718"/>
                      <a:pt x="15201" y="10649"/>
                      <a:pt x="15167" y="10701"/>
                    </a:cubicBezTo>
                    <a:lnTo>
                      <a:pt x="15167" y="10701"/>
                    </a:lnTo>
                    <a:cubicBezTo>
                      <a:pt x="15167" y="10701"/>
                      <a:pt x="15167" y="10804"/>
                      <a:pt x="15167" y="10856"/>
                    </a:cubicBezTo>
                    <a:lnTo>
                      <a:pt x="15167" y="10856"/>
                    </a:lnTo>
                    <a:cubicBezTo>
                      <a:pt x="15167" y="10856"/>
                      <a:pt x="15167" y="10941"/>
                      <a:pt x="15167" y="10941"/>
                    </a:cubicBezTo>
                    <a:lnTo>
                      <a:pt x="15167" y="10941"/>
                    </a:lnTo>
                    <a:cubicBezTo>
                      <a:pt x="15167" y="10941"/>
                      <a:pt x="15167" y="11027"/>
                      <a:pt x="15047" y="11079"/>
                    </a:cubicBezTo>
                    <a:lnTo>
                      <a:pt x="15047" y="11079"/>
                    </a:lnTo>
                    <a:lnTo>
                      <a:pt x="15047" y="11079"/>
                    </a:lnTo>
                    <a:lnTo>
                      <a:pt x="15047" y="11079"/>
                    </a:lnTo>
                    <a:lnTo>
                      <a:pt x="15047" y="11079"/>
                    </a:lnTo>
                    <a:lnTo>
                      <a:pt x="15047" y="11079"/>
                    </a:lnTo>
                    <a:cubicBezTo>
                      <a:pt x="15201" y="11079"/>
                      <a:pt x="15047" y="11165"/>
                      <a:pt x="15047" y="11216"/>
                    </a:cubicBezTo>
                    <a:cubicBezTo>
                      <a:pt x="15047" y="11268"/>
                      <a:pt x="15150" y="11113"/>
                      <a:pt x="15201" y="11130"/>
                    </a:cubicBezTo>
                    <a:cubicBezTo>
                      <a:pt x="15253" y="11148"/>
                      <a:pt x="14909" y="11337"/>
                      <a:pt x="14789" y="11508"/>
                    </a:cubicBezTo>
                    <a:lnTo>
                      <a:pt x="14789" y="11508"/>
                    </a:lnTo>
                    <a:cubicBezTo>
                      <a:pt x="14789" y="11508"/>
                      <a:pt x="14652" y="11629"/>
                      <a:pt x="14583" y="11508"/>
                    </a:cubicBezTo>
                    <a:cubicBezTo>
                      <a:pt x="14772" y="11680"/>
                      <a:pt x="14308" y="12041"/>
                      <a:pt x="14325" y="11989"/>
                    </a:cubicBezTo>
                    <a:cubicBezTo>
                      <a:pt x="14342" y="11938"/>
                      <a:pt x="14325" y="12144"/>
                      <a:pt x="14325" y="11989"/>
                    </a:cubicBezTo>
                    <a:cubicBezTo>
                      <a:pt x="14325" y="11835"/>
                      <a:pt x="14119" y="12264"/>
                      <a:pt x="14016" y="12367"/>
                    </a:cubicBezTo>
                    <a:cubicBezTo>
                      <a:pt x="14291" y="12178"/>
                      <a:pt x="14360" y="12144"/>
                      <a:pt x="14016" y="12367"/>
                    </a:cubicBezTo>
                    <a:cubicBezTo>
                      <a:pt x="14016" y="12367"/>
                      <a:pt x="14308" y="12127"/>
                      <a:pt x="14308" y="12230"/>
                    </a:cubicBezTo>
                    <a:cubicBezTo>
                      <a:pt x="14308" y="12333"/>
                      <a:pt x="14463" y="12109"/>
                      <a:pt x="14549" y="12075"/>
                    </a:cubicBezTo>
                    <a:cubicBezTo>
                      <a:pt x="14564" y="12131"/>
                      <a:pt x="14564" y="12191"/>
                      <a:pt x="14549" y="12247"/>
                    </a:cubicBezTo>
                    <a:cubicBezTo>
                      <a:pt x="14549" y="12161"/>
                      <a:pt x="14961" y="11800"/>
                      <a:pt x="14995" y="11921"/>
                    </a:cubicBezTo>
                    <a:cubicBezTo>
                      <a:pt x="15030" y="12041"/>
                      <a:pt x="14995" y="11921"/>
                      <a:pt x="14995" y="11921"/>
                    </a:cubicBezTo>
                    <a:cubicBezTo>
                      <a:pt x="14995" y="11921"/>
                      <a:pt x="14995" y="11817"/>
                      <a:pt x="15133" y="11817"/>
                    </a:cubicBezTo>
                    <a:lnTo>
                      <a:pt x="15133" y="11817"/>
                    </a:lnTo>
                    <a:cubicBezTo>
                      <a:pt x="15133" y="11732"/>
                      <a:pt x="15579" y="11457"/>
                      <a:pt x="15442" y="11577"/>
                    </a:cubicBezTo>
                    <a:lnTo>
                      <a:pt x="15442" y="11577"/>
                    </a:lnTo>
                    <a:cubicBezTo>
                      <a:pt x="15442" y="11577"/>
                      <a:pt x="15442" y="11697"/>
                      <a:pt x="15322" y="11697"/>
                    </a:cubicBezTo>
                    <a:cubicBezTo>
                      <a:pt x="15201" y="11697"/>
                      <a:pt x="15322" y="11697"/>
                      <a:pt x="15322" y="11783"/>
                    </a:cubicBezTo>
                    <a:lnTo>
                      <a:pt x="15322" y="11783"/>
                    </a:lnTo>
                    <a:cubicBezTo>
                      <a:pt x="15218" y="11783"/>
                      <a:pt x="15322" y="11955"/>
                      <a:pt x="15150" y="12006"/>
                    </a:cubicBezTo>
                    <a:cubicBezTo>
                      <a:pt x="14978" y="12058"/>
                      <a:pt x="15150" y="12127"/>
                      <a:pt x="15150" y="12006"/>
                    </a:cubicBezTo>
                    <a:cubicBezTo>
                      <a:pt x="15150" y="11886"/>
                      <a:pt x="14789" y="12161"/>
                      <a:pt x="15150" y="12144"/>
                    </a:cubicBezTo>
                    <a:cubicBezTo>
                      <a:pt x="15510" y="12127"/>
                      <a:pt x="14961" y="12298"/>
                      <a:pt x="15150" y="12247"/>
                    </a:cubicBezTo>
                    <a:cubicBezTo>
                      <a:pt x="15339" y="12195"/>
                      <a:pt x="14995" y="12419"/>
                      <a:pt x="14978" y="12247"/>
                    </a:cubicBezTo>
                    <a:cubicBezTo>
                      <a:pt x="14961" y="12075"/>
                      <a:pt x="14978" y="12333"/>
                      <a:pt x="14978" y="12350"/>
                    </a:cubicBezTo>
                    <a:cubicBezTo>
                      <a:pt x="14978" y="12367"/>
                      <a:pt x="15098" y="12350"/>
                      <a:pt x="15150" y="12350"/>
                    </a:cubicBezTo>
                    <a:cubicBezTo>
                      <a:pt x="15201" y="12350"/>
                      <a:pt x="14961" y="12350"/>
                      <a:pt x="14892" y="12505"/>
                    </a:cubicBezTo>
                    <a:cubicBezTo>
                      <a:pt x="15133" y="12505"/>
                      <a:pt x="15047" y="12505"/>
                      <a:pt x="14892" y="12608"/>
                    </a:cubicBezTo>
                    <a:cubicBezTo>
                      <a:pt x="14738" y="12711"/>
                      <a:pt x="14892" y="12608"/>
                      <a:pt x="14995" y="12608"/>
                    </a:cubicBezTo>
                    <a:cubicBezTo>
                      <a:pt x="15011" y="12682"/>
                      <a:pt x="14963" y="12755"/>
                      <a:pt x="14889" y="12770"/>
                    </a:cubicBezTo>
                    <a:cubicBezTo>
                      <a:pt x="14861" y="12776"/>
                      <a:pt x="14832" y="12773"/>
                      <a:pt x="14806" y="12762"/>
                    </a:cubicBezTo>
                    <a:cubicBezTo>
                      <a:pt x="14806" y="12762"/>
                      <a:pt x="14961" y="12848"/>
                      <a:pt x="14806" y="12917"/>
                    </a:cubicBezTo>
                    <a:cubicBezTo>
                      <a:pt x="14995" y="13020"/>
                      <a:pt x="14600" y="13157"/>
                      <a:pt x="14566" y="13089"/>
                    </a:cubicBezTo>
                    <a:cubicBezTo>
                      <a:pt x="14531" y="13020"/>
                      <a:pt x="14566" y="13363"/>
                      <a:pt x="14411" y="13312"/>
                    </a:cubicBezTo>
                    <a:cubicBezTo>
                      <a:pt x="14257" y="13260"/>
                      <a:pt x="14669" y="13312"/>
                      <a:pt x="14531" y="13415"/>
                    </a:cubicBezTo>
                    <a:cubicBezTo>
                      <a:pt x="14394" y="13518"/>
                      <a:pt x="14531" y="13415"/>
                      <a:pt x="14531" y="13501"/>
                    </a:cubicBezTo>
                    <a:cubicBezTo>
                      <a:pt x="14531" y="13587"/>
                      <a:pt x="14531" y="13501"/>
                      <a:pt x="14531" y="13621"/>
                    </a:cubicBezTo>
                    <a:lnTo>
                      <a:pt x="14634" y="13621"/>
                    </a:lnTo>
                    <a:cubicBezTo>
                      <a:pt x="14634" y="13707"/>
                      <a:pt x="14428" y="13879"/>
                      <a:pt x="14325" y="13844"/>
                    </a:cubicBezTo>
                    <a:cubicBezTo>
                      <a:pt x="14222" y="13810"/>
                      <a:pt x="14480" y="13844"/>
                      <a:pt x="14549" y="13844"/>
                    </a:cubicBezTo>
                    <a:cubicBezTo>
                      <a:pt x="14325" y="14050"/>
                      <a:pt x="14549" y="13844"/>
                      <a:pt x="14549" y="13844"/>
                    </a:cubicBezTo>
                    <a:cubicBezTo>
                      <a:pt x="14549" y="13844"/>
                      <a:pt x="14549" y="13844"/>
                      <a:pt x="14394" y="13999"/>
                    </a:cubicBezTo>
                    <a:cubicBezTo>
                      <a:pt x="14394" y="13999"/>
                      <a:pt x="14686" y="13810"/>
                      <a:pt x="14549" y="13999"/>
                    </a:cubicBezTo>
                    <a:lnTo>
                      <a:pt x="14549" y="13999"/>
                    </a:lnTo>
                    <a:cubicBezTo>
                      <a:pt x="14549" y="13999"/>
                      <a:pt x="14463" y="14102"/>
                      <a:pt x="14446" y="14153"/>
                    </a:cubicBezTo>
                    <a:cubicBezTo>
                      <a:pt x="14428" y="14205"/>
                      <a:pt x="14755" y="14153"/>
                      <a:pt x="14549" y="14153"/>
                    </a:cubicBezTo>
                    <a:cubicBezTo>
                      <a:pt x="14806" y="14342"/>
                      <a:pt x="14205" y="14239"/>
                      <a:pt x="14119" y="14360"/>
                    </a:cubicBezTo>
                    <a:cubicBezTo>
                      <a:pt x="14566" y="14360"/>
                      <a:pt x="13982" y="14360"/>
                      <a:pt x="13896" y="14497"/>
                    </a:cubicBezTo>
                    <a:cubicBezTo>
                      <a:pt x="13870" y="14437"/>
                      <a:pt x="13870" y="14368"/>
                      <a:pt x="13896" y="14308"/>
                    </a:cubicBezTo>
                    <a:cubicBezTo>
                      <a:pt x="13896" y="14445"/>
                      <a:pt x="13896" y="14531"/>
                      <a:pt x="13793" y="14634"/>
                    </a:cubicBezTo>
                    <a:cubicBezTo>
                      <a:pt x="13982" y="14634"/>
                      <a:pt x="14188" y="14342"/>
                      <a:pt x="14428" y="14411"/>
                    </a:cubicBezTo>
                    <a:cubicBezTo>
                      <a:pt x="14308" y="14257"/>
                      <a:pt x="14806" y="14411"/>
                      <a:pt x="14428" y="14617"/>
                    </a:cubicBezTo>
                    <a:cubicBezTo>
                      <a:pt x="14428" y="14617"/>
                      <a:pt x="14428" y="14617"/>
                      <a:pt x="14428" y="14617"/>
                    </a:cubicBezTo>
                    <a:cubicBezTo>
                      <a:pt x="14428" y="14617"/>
                      <a:pt x="14703" y="14463"/>
                      <a:pt x="14566" y="14617"/>
                    </a:cubicBezTo>
                    <a:cubicBezTo>
                      <a:pt x="14428" y="14772"/>
                      <a:pt x="14669" y="14617"/>
                      <a:pt x="14652" y="14617"/>
                    </a:cubicBezTo>
                    <a:cubicBezTo>
                      <a:pt x="14634" y="14617"/>
                      <a:pt x="14652" y="14789"/>
                      <a:pt x="14497" y="14772"/>
                    </a:cubicBezTo>
                    <a:cubicBezTo>
                      <a:pt x="14600" y="14772"/>
                      <a:pt x="14360" y="14995"/>
                      <a:pt x="14360" y="14875"/>
                    </a:cubicBezTo>
                    <a:cubicBezTo>
                      <a:pt x="14360" y="14755"/>
                      <a:pt x="14549" y="15047"/>
                      <a:pt x="14360" y="15012"/>
                    </a:cubicBezTo>
                    <a:cubicBezTo>
                      <a:pt x="14583" y="15115"/>
                      <a:pt x="13879" y="15407"/>
                      <a:pt x="13844" y="15287"/>
                    </a:cubicBezTo>
                    <a:cubicBezTo>
                      <a:pt x="13810" y="15167"/>
                      <a:pt x="13724" y="15287"/>
                      <a:pt x="13844" y="15287"/>
                    </a:cubicBezTo>
                    <a:cubicBezTo>
                      <a:pt x="13381" y="15682"/>
                      <a:pt x="13003" y="15734"/>
                      <a:pt x="12590" y="15407"/>
                    </a:cubicBezTo>
                    <a:cubicBezTo>
                      <a:pt x="12590" y="15407"/>
                      <a:pt x="12213" y="15407"/>
                      <a:pt x="12247" y="15253"/>
                    </a:cubicBezTo>
                    <a:cubicBezTo>
                      <a:pt x="11629" y="15631"/>
                      <a:pt x="11062" y="16026"/>
                      <a:pt x="10426" y="16369"/>
                    </a:cubicBezTo>
                    <a:cubicBezTo>
                      <a:pt x="10849" y="16193"/>
                      <a:pt x="11326" y="16193"/>
                      <a:pt x="11749" y="16369"/>
                    </a:cubicBezTo>
                    <a:cubicBezTo>
                      <a:pt x="11704" y="16429"/>
                      <a:pt x="11645" y="16477"/>
                      <a:pt x="11577" y="16507"/>
                    </a:cubicBezTo>
                    <a:cubicBezTo>
                      <a:pt x="11749" y="16507"/>
                      <a:pt x="11354" y="16885"/>
                      <a:pt x="11577" y="16936"/>
                    </a:cubicBezTo>
                    <a:cubicBezTo>
                      <a:pt x="11405" y="17022"/>
                      <a:pt x="11732" y="17262"/>
                      <a:pt x="11835" y="17125"/>
                    </a:cubicBezTo>
                    <a:cubicBezTo>
                      <a:pt x="11835" y="17125"/>
                      <a:pt x="11972" y="17262"/>
                      <a:pt x="11835" y="17245"/>
                    </a:cubicBezTo>
                    <a:cubicBezTo>
                      <a:pt x="12075" y="17245"/>
                      <a:pt x="11182" y="17520"/>
                      <a:pt x="11251" y="17365"/>
                    </a:cubicBezTo>
                    <a:cubicBezTo>
                      <a:pt x="11101" y="17505"/>
                      <a:pt x="10940" y="17631"/>
                      <a:pt x="10770" y="17743"/>
                    </a:cubicBezTo>
                    <a:lnTo>
                      <a:pt x="10770" y="17743"/>
                    </a:lnTo>
                    <a:cubicBezTo>
                      <a:pt x="10667" y="17743"/>
                      <a:pt x="10770" y="17589"/>
                      <a:pt x="10770" y="17640"/>
                    </a:cubicBezTo>
                    <a:cubicBezTo>
                      <a:pt x="10770" y="17417"/>
                      <a:pt x="11371" y="16988"/>
                      <a:pt x="11371" y="17280"/>
                    </a:cubicBezTo>
                    <a:cubicBezTo>
                      <a:pt x="11371" y="17177"/>
                      <a:pt x="11491" y="17280"/>
                      <a:pt x="11543" y="17194"/>
                    </a:cubicBezTo>
                    <a:cubicBezTo>
                      <a:pt x="11233" y="17073"/>
                      <a:pt x="11233" y="17194"/>
                      <a:pt x="11543" y="16970"/>
                    </a:cubicBezTo>
                    <a:lnTo>
                      <a:pt x="11543" y="16970"/>
                    </a:lnTo>
                    <a:lnTo>
                      <a:pt x="11543" y="16970"/>
                    </a:lnTo>
                    <a:cubicBezTo>
                      <a:pt x="11543" y="17073"/>
                      <a:pt x="11045" y="17245"/>
                      <a:pt x="11233" y="16970"/>
                    </a:cubicBezTo>
                    <a:cubicBezTo>
                      <a:pt x="11096" y="17125"/>
                      <a:pt x="11045" y="17073"/>
                      <a:pt x="10924" y="16970"/>
                    </a:cubicBezTo>
                    <a:cubicBezTo>
                      <a:pt x="10804" y="16867"/>
                      <a:pt x="10924" y="17091"/>
                      <a:pt x="10924" y="17159"/>
                    </a:cubicBezTo>
                    <a:cubicBezTo>
                      <a:pt x="10924" y="17228"/>
                      <a:pt x="10924" y="17331"/>
                      <a:pt x="10924" y="17159"/>
                    </a:cubicBezTo>
                    <a:cubicBezTo>
                      <a:pt x="10924" y="16988"/>
                      <a:pt x="10598" y="17314"/>
                      <a:pt x="10667" y="17159"/>
                    </a:cubicBezTo>
                    <a:cubicBezTo>
                      <a:pt x="10735" y="17005"/>
                      <a:pt x="10478" y="17245"/>
                      <a:pt x="10667" y="17159"/>
                    </a:cubicBezTo>
                    <a:cubicBezTo>
                      <a:pt x="10856" y="17073"/>
                      <a:pt x="10546" y="17297"/>
                      <a:pt x="10478" y="17331"/>
                    </a:cubicBezTo>
                    <a:lnTo>
                      <a:pt x="10478" y="17331"/>
                    </a:lnTo>
                    <a:cubicBezTo>
                      <a:pt x="10478" y="17331"/>
                      <a:pt x="10478" y="17417"/>
                      <a:pt x="10478" y="17331"/>
                    </a:cubicBezTo>
                    <a:cubicBezTo>
                      <a:pt x="10478" y="17245"/>
                      <a:pt x="10357" y="17469"/>
                      <a:pt x="10478" y="17331"/>
                    </a:cubicBezTo>
                    <a:cubicBezTo>
                      <a:pt x="10254" y="17331"/>
                      <a:pt x="9722" y="18345"/>
                      <a:pt x="10083" y="18001"/>
                    </a:cubicBezTo>
                    <a:cubicBezTo>
                      <a:pt x="10083" y="18138"/>
                      <a:pt x="9842" y="18327"/>
                      <a:pt x="9911" y="18087"/>
                    </a:cubicBezTo>
                    <a:cubicBezTo>
                      <a:pt x="9773" y="18259"/>
                      <a:pt x="9791" y="18241"/>
                      <a:pt x="9808" y="18087"/>
                    </a:cubicBezTo>
                    <a:cubicBezTo>
                      <a:pt x="9360" y="18252"/>
                      <a:pt x="8984" y="18568"/>
                      <a:pt x="8743" y="18980"/>
                    </a:cubicBezTo>
                    <a:lnTo>
                      <a:pt x="8743" y="18980"/>
                    </a:lnTo>
                    <a:lnTo>
                      <a:pt x="8743" y="18980"/>
                    </a:lnTo>
                    <a:cubicBezTo>
                      <a:pt x="8743" y="18980"/>
                      <a:pt x="8743" y="18825"/>
                      <a:pt x="8743" y="18740"/>
                    </a:cubicBezTo>
                    <a:cubicBezTo>
                      <a:pt x="8605" y="18980"/>
                      <a:pt x="8588" y="19289"/>
                      <a:pt x="8365" y="19495"/>
                    </a:cubicBezTo>
                    <a:lnTo>
                      <a:pt x="8365" y="19495"/>
                    </a:lnTo>
                    <a:lnTo>
                      <a:pt x="8262" y="19650"/>
                    </a:lnTo>
                    <a:cubicBezTo>
                      <a:pt x="8298" y="19536"/>
                      <a:pt x="8356" y="19431"/>
                      <a:pt x="8434" y="19341"/>
                    </a:cubicBezTo>
                    <a:cubicBezTo>
                      <a:pt x="8434" y="19341"/>
                      <a:pt x="8434" y="19255"/>
                      <a:pt x="8434" y="19221"/>
                    </a:cubicBezTo>
                    <a:lnTo>
                      <a:pt x="8434" y="19221"/>
                    </a:lnTo>
                    <a:cubicBezTo>
                      <a:pt x="8434" y="19014"/>
                      <a:pt x="8605" y="18860"/>
                      <a:pt x="8674" y="18671"/>
                    </a:cubicBezTo>
                    <a:cubicBezTo>
                      <a:pt x="8545" y="18838"/>
                      <a:pt x="8441" y="19023"/>
                      <a:pt x="8365" y="19221"/>
                    </a:cubicBezTo>
                    <a:cubicBezTo>
                      <a:pt x="8365" y="19117"/>
                      <a:pt x="8365" y="19032"/>
                      <a:pt x="8365" y="18929"/>
                    </a:cubicBezTo>
                    <a:cubicBezTo>
                      <a:pt x="8365" y="18825"/>
                      <a:pt x="8365" y="19581"/>
                      <a:pt x="8365" y="19324"/>
                    </a:cubicBezTo>
                    <a:cubicBezTo>
                      <a:pt x="8365" y="19324"/>
                      <a:pt x="8365" y="19598"/>
                      <a:pt x="8365" y="19530"/>
                    </a:cubicBezTo>
                    <a:cubicBezTo>
                      <a:pt x="8365" y="19461"/>
                      <a:pt x="8365" y="19616"/>
                      <a:pt x="8365" y="19650"/>
                    </a:cubicBezTo>
                    <a:cubicBezTo>
                      <a:pt x="8374" y="19605"/>
                      <a:pt x="8374" y="19558"/>
                      <a:pt x="8365" y="19513"/>
                    </a:cubicBezTo>
                    <a:cubicBezTo>
                      <a:pt x="8365" y="19650"/>
                      <a:pt x="8502" y="19719"/>
                      <a:pt x="8365" y="19856"/>
                    </a:cubicBezTo>
                    <a:lnTo>
                      <a:pt x="8365" y="19856"/>
                    </a:lnTo>
                    <a:cubicBezTo>
                      <a:pt x="8365" y="19993"/>
                      <a:pt x="8176" y="20148"/>
                      <a:pt x="8210" y="19976"/>
                    </a:cubicBezTo>
                    <a:cubicBezTo>
                      <a:pt x="8245" y="19805"/>
                      <a:pt x="8210" y="20079"/>
                      <a:pt x="8210" y="20097"/>
                    </a:cubicBezTo>
                    <a:cubicBezTo>
                      <a:pt x="8210" y="20114"/>
                      <a:pt x="8296" y="20097"/>
                      <a:pt x="8313" y="20234"/>
                    </a:cubicBezTo>
                    <a:cubicBezTo>
                      <a:pt x="8304" y="20200"/>
                      <a:pt x="8304" y="20165"/>
                      <a:pt x="8313" y="20131"/>
                    </a:cubicBezTo>
                    <a:cubicBezTo>
                      <a:pt x="8313" y="20234"/>
                      <a:pt x="8313" y="20285"/>
                      <a:pt x="8176" y="20354"/>
                    </a:cubicBezTo>
                    <a:cubicBezTo>
                      <a:pt x="8039" y="20423"/>
                      <a:pt x="8176" y="20354"/>
                      <a:pt x="8176" y="20251"/>
                    </a:cubicBezTo>
                    <a:cubicBezTo>
                      <a:pt x="8176" y="20148"/>
                      <a:pt x="8176" y="20251"/>
                      <a:pt x="8176" y="20251"/>
                    </a:cubicBezTo>
                    <a:cubicBezTo>
                      <a:pt x="8176" y="20251"/>
                      <a:pt x="8176" y="20474"/>
                      <a:pt x="8176" y="20389"/>
                    </a:cubicBezTo>
                    <a:lnTo>
                      <a:pt x="8176" y="20389"/>
                    </a:lnTo>
                    <a:lnTo>
                      <a:pt x="8176" y="20389"/>
                    </a:lnTo>
                    <a:lnTo>
                      <a:pt x="8176" y="20389"/>
                    </a:lnTo>
                    <a:cubicBezTo>
                      <a:pt x="6991" y="20389"/>
                      <a:pt x="6458" y="24992"/>
                      <a:pt x="6579" y="22982"/>
                    </a:cubicBezTo>
                    <a:cubicBezTo>
                      <a:pt x="6579" y="22982"/>
                      <a:pt x="6579" y="22982"/>
                      <a:pt x="6579" y="22982"/>
                    </a:cubicBezTo>
                    <a:cubicBezTo>
                      <a:pt x="6579" y="22982"/>
                      <a:pt x="6579" y="22982"/>
                      <a:pt x="6579" y="22982"/>
                    </a:cubicBezTo>
                    <a:lnTo>
                      <a:pt x="6579" y="22982"/>
                    </a:lnTo>
                    <a:cubicBezTo>
                      <a:pt x="6579" y="22879"/>
                      <a:pt x="6579" y="22707"/>
                      <a:pt x="6579" y="22604"/>
                    </a:cubicBezTo>
                    <a:cubicBezTo>
                      <a:pt x="6579" y="22501"/>
                      <a:pt x="6579" y="22604"/>
                      <a:pt x="6579" y="22707"/>
                    </a:cubicBezTo>
                    <a:cubicBezTo>
                      <a:pt x="6579" y="22810"/>
                      <a:pt x="6853" y="21780"/>
                      <a:pt x="6579" y="21745"/>
                    </a:cubicBezTo>
                    <a:cubicBezTo>
                      <a:pt x="6304" y="21711"/>
                      <a:pt x="6476" y="21849"/>
                      <a:pt x="6579" y="21745"/>
                    </a:cubicBezTo>
                    <a:lnTo>
                      <a:pt x="6579" y="21745"/>
                    </a:lnTo>
                    <a:lnTo>
                      <a:pt x="6579" y="21745"/>
                    </a:lnTo>
                    <a:cubicBezTo>
                      <a:pt x="6579" y="21745"/>
                      <a:pt x="6579" y="21574"/>
                      <a:pt x="6579" y="21642"/>
                    </a:cubicBezTo>
                    <a:cubicBezTo>
                      <a:pt x="6587" y="21603"/>
                      <a:pt x="6587" y="21562"/>
                      <a:pt x="6579" y="21522"/>
                    </a:cubicBezTo>
                    <a:lnTo>
                      <a:pt x="6579" y="21522"/>
                    </a:lnTo>
                    <a:cubicBezTo>
                      <a:pt x="6579" y="21522"/>
                      <a:pt x="6579" y="21436"/>
                      <a:pt x="6579" y="21385"/>
                    </a:cubicBezTo>
                    <a:lnTo>
                      <a:pt x="6579" y="21385"/>
                    </a:lnTo>
                    <a:cubicBezTo>
                      <a:pt x="6579" y="21385"/>
                      <a:pt x="6579" y="21385"/>
                      <a:pt x="6579" y="21385"/>
                    </a:cubicBezTo>
                    <a:cubicBezTo>
                      <a:pt x="6579" y="21385"/>
                      <a:pt x="6579" y="21385"/>
                      <a:pt x="6579" y="21385"/>
                    </a:cubicBezTo>
                    <a:cubicBezTo>
                      <a:pt x="6579" y="21385"/>
                      <a:pt x="6579" y="21282"/>
                      <a:pt x="6579" y="21230"/>
                    </a:cubicBezTo>
                    <a:lnTo>
                      <a:pt x="6579" y="21333"/>
                    </a:lnTo>
                    <a:cubicBezTo>
                      <a:pt x="6579" y="21230"/>
                      <a:pt x="6390" y="21333"/>
                      <a:pt x="6373" y="21453"/>
                    </a:cubicBezTo>
                    <a:lnTo>
                      <a:pt x="6373" y="21453"/>
                    </a:lnTo>
                    <a:cubicBezTo>
                      <a:pt x="6373" y="21642"/>
                      <a:pt x="6373" y="21763"/>
                      <a:pt x="6373" y="21849"/>
                    </a:cubicBezTo>
                    <a:cubicBezTo>
                      <a:pt x="6373" y="21934"/>
                      <a:pt x="6373" y="21471"/>
                      <a:pt x="6373" y="21763"/>
                    </a:cubicBezTo>
                    <a:lnTo>
                      <a:pt x="6373" y="21660"/>
                    </a:lnTo>
                    <a:cubicBezTo>
                      <a:pt x="6373" y="21539"/>
                      <a:pt x="6373" y="21471"/>
                      <a:pt x="6373" y="21350"/>
                    </a:cubicBezTo>
                    <a:cubicBezTo>
                      <a:pt x="6373" y="21230"/>
                      <a:pt x="6373" y="21350"/>
                      <a:pt x="6373" y="21350"/>
                    </a:cubicBezTo>
                    <a:cubicBezTo>
                      <a:pt x="6373" y="21591"/>
                      <a:pt x="6373" y="21076"/>
                      <a:pt x="6184" y="21350"/>
                    </a:cubicBezTo>
                    <a:cubicBezTo>
                      <a:pt x="6184" y="21350"/>
                      <a:pt x="6184" y="21196"/>
                      <a:pt x="6184" y="21127"/>
                    </a:cubicBezTo>
                    <a:cubicBezTo>
                      <a:pt x="6184" y="21058"/>
                      <a:pt x="6184" y="21247"/>
                      <a:pt x="6184" y="21127"/>
                    </a:cubicBezTo>
                    <a:cubicBezTo>
                      <a:pt x="6193" y="21213"/>
                      <a:pt x="6193" y="21299"/>
                      <a:pt x="6184" y="21385"/>
                    </a:cubicBezTo>
                    <a:lnTo>
                      <a:pt x="6184" y="21385"/>
                    </a:lnTo>
                    <a:lnTo>
                      <a:pt x="6184" y="21505"/>
                    </a:lnTo>
                    <a:lnTo>
                      <a:pt x="6184" y="21505"/>
                    </a:lnTo>
                    <a:cubicBezTo>
                      <a:pt x="6184" y="21591"/>
                      <a:pt x="6184" y="21505"/>
                      <a:pt x="6184" y="21505"/>
                    </a:cubicBezTo>
                    <a:lnTo>
                      <a:pt x="6184" y="21505"/>
                    </a:lnTo>
                    <a:cubicBezTo>
                      <a:pt x="6184" y="21505"/>
                      <a:pt x="6184" y="21505"/>
                      <a:pt x="6184" y="21505"/>
                    </a:cubicBezTo>
                    <a:lnTo>
                      <a:pt x="6184" y="21505"/>
                    </a:lnTo>
                    <a:cubicBezTo>
                      <a:pt x="6184" y="21505"/>
                      <a:pt x="6184" y="21608"/>
                      <a:pt x="6184" y="21608"/>
                    </a:cubicBezTo>
                    <a:lnTo>
                      <a:pt x="6184" y="21608"/>
                    </a:lnTo>
                    <a:cubicBezTo>
                      <a:pt x="6085" y="21918"/>
                      <a:pt x="6005" y="22233"/>
                      <a:pt x="5943" y="22553"/>
                    </a:cubicBezTo>
                    <a:cubicBezTo>
                      <a:pt x="5943" y="22553"/>
                      <a:pt x="5943" y="22433"/>
                      <a:pt x="5943" y="22398"/>
                    </a:cubicBezTo>
                    <a:cubicBezTo>
                      <a:pt x="5943" y="22364"/>
                      <a:pt x="5840" y="22862"/>
                      <a:pt x="5943" y="22621"/>
                    </a:cubicBezTo>
                    <a:cubicBezTo>
                      <a:pt x="5838" y="23115"/>
                      <a:pt x="5758" y="23614"/>
                      <a:pt x="5703" y="24116"/>
                    </a:cubicBezTo>
                    <a:cubicBezTo>
                      <a:pt x="5668" y="24579"/>
                      <a:pt x="5668" y="25044"/>
                      <a:pt x="5703" y="25507"/>
                    </a:cubicBezTo>
                    <a:cubicBezTo>
                      <a:pt x="5703" y="25507"/>
                      <a:pt x="5703" y="25507"/>
                      <a:pt x="5703" y="25507"/>
                    </a:cubicBezTo>
                    <a:cubicBezTo>
                      <a:pt x="5709" y="25479"/>
                      <a:pt x="5709" y="25449"/>
                      <a:pt x="5703" y="25421"/>
                    </a:cubicBezTo>
                    <a:lnTo>
                      <a:pt x="5703" y="25421"/>
                    </a:lnTo>
                    <a:cubicBezTo>
                      <a:pt x="5703" y="25421"/>
                      <a:pt x="5703" y="25421"/>
                      <a:pt x="5703" y="25421"/>
                    </a:cubicBezTo>
                    <a:lnTo>
                      <a:pt x="5703" y="25421"/>
                    </a:lnTo>
                    <a:cubicBezTo>
                      <a:pt x="5703" y="25421"/>
                      <a:pt x="5703" y="25559"/>
                      <a:pt x="5703" y="25627"/>
                    </a:cubicBezTo>
                    <a:lnTo>
                      <a:pt x="5703" y="25627"/>
                    </a:lnTo>
                    <a:lnTo>
                      <a:pt x="5703" y="25627"/>
                    </a:lnTo>
                    <a:cubicBezTo>
                      <a:pt x="5711" y="25553"/>
                      <a:pt x="5711" y="25478"/>
                      <a:pt x="5703" y="25404"/>
                    </a:cubicBezTo>
                    <a:lnTo>
                      <a:pt x="5703" y="25404"/>
                    </a:lnTo>
                    <a:cubicBezTo>
                      <a:pt x="5857" y="25249"/>
                      <a:pt x="5703" y="24511"/>
                      <a:pt x="5995" y="24665"/>
                    </a:cubicBezTo>
                    <a:cubicBezTo>
                      <a:pt x="5995" y="24665"/>
                      <a:pt x="5995" y="24562"/>
                      <a:pt x="5995" y="24665"/>
                    </a:cubicBezTo>
                    <a:cubicBezTo>
                      <a:pt x="5995" y="24769"/>
                      <a:pt x="5995" y="24665"/>
                      <a:pt x="5995" y="24665"/>
                    </a:cubicBezTo>
                    <a:cubicBezTo>
                      <a:pt x="5995" y="24665"/>
                      <a:pt x="5995" y="24820"/>
                      <a:pt x="5995" y="24665"/>
                    </a:cubicBezTo>
                    <a:cubicBezTo>
                      <a:pt x="6098" y="24957"/>
                      <a:pt x="5806" y="25284"/>
                      <a:pt x="5857" y="25593"/>
                    </a:cubicBezTo>
                    <a:cubicBezTo>
                      <a:pt x="5857" y="25593"/>
                      <a:pt x="5857" y="25868"/>
                      <a:pt x="5857" y="25919"/>
                    </a:cubicBezTo>
                    <a:cubicBezTo>
                      <a:pt x="5814" y="26294"/>
                      <a:pt x="5476" y="26563"/>
                      <a:pt x="5101" y="26521"/>
                    </a:cubicBezTo>
                    <a:cubicBezTo>
                      <a:pt x="4727" y="26478"/>
                      <a:pt x="4457" y="26140"/>
                      <a:pt x="4500" y="25765"/>
                    </a:cubicBezTo>
                    <a:cubicBezTo>
                      <a:pt x="4500" y="25954"/>
                      <a:pt x="4500" y="26349"/>
                      <a:pt x="4397" y="26658"/>
                    </a:cubicBezTo>
                    <a:lnTo>
                      <a:pt x="4397" y="26658"/>
                    </a:lnTo>
                    <a:cubicBezTo>
                      <a:pt x="4380" y="26726"/>
                      <a:pt x="4380" y="26796"/>
                      <a:pt x="4397" y="26864"/>
                    </a:cubicBezTo>
                    <a:lnTo>
                      <a:pt x="4397" y="26864"/>
                    </a:lnTo>
                    <a:cubicBezTo>
                      <a:pt x="4397" y="26864"/>
                      <a:pt x="4397" y="26864"/>
                      <a:pt x="4397" y="26950"/>
                    </a:cubicBezTo>
                    <a:cubicBezTo>
                      <a:pt x="4397" y="27036"/>
                      <a:pt x="4603" y="27139"/>
                      <a:pt x="4586" y="26950"/>
                    </a:cubicBezTo>
                    <a:cubicBezTo>
                      <a:pt x="4586" y="27053"/>
                      <a:pt x="4586" y="27105"/>
                      <a:pt x="4724" y="27190"/>
                    </a:cubicBezTo>
                    <a:lnTo>
                      <a:pt x="4724" y="27190"/>
                    </a:lnTo>
                    <a:cubicBezTo>
                      <a:pt x="4738" y="27241"/>
                      <a:pt x="4738" y="27295"/>
                      <a:pt x="4724" y="27345"/>
                    </a:cubicBezTo>
                    <a:cubicBezTo>
                      <a:pt x="4724" y="27208"/>
                      <a:pt x="4724" y="27345"/>
                      <a:pt x="4724" y="27448"/>
                    </a:cubicBezTo>
                    <a:lnTo>
                      <a:pt x="4724" y="27448"/>
                    </a:lnTo>
                    <a:cubicBezTo>
                      <a:pt x="4767" y="27681"/>
                      <a:pt x="4767" y="27920"/>
                      <a:pt x="4724" y="28152"/>
                    </a:cubicBezTo>
                    <a:lnTo>
                      <a:pt x="4724" y="28152"/>
                    </a:lnTo>
                    <a:cubicBezTo>
                      <a:pt x="4732" y="28307"/>
                      <a:pt x="4732" y="28462"/>
                      <a:pt x="4724" y="28616"/>
                    </a:cubicBezTo>
                    <a:cubicBezTo>
                      <a:pt x="4724" y="28616"/>
                      <a:pt x="4724" y="28513"/>
                      <a:pt x="4724" y="28444"/>
                    </a:cubicBezTo>
                    <a:cubicBezTo>
                      <a:pt x="4715" y="28564"/>
                      <a:pt x="4715" y="28685"/>
                      <a:pt x="4724" y="28805"/>
                    </a:cubicBezTo>
                    <a:cubicBezTo>
                      <a:pt x="4734" y="28777"/>
                      <a:pt x="4734" y="28747"/>
                      <a:pt x="4724" y="28719"/>
                    </a:cubicBezTo>
                    <a:cubicBezTo>
                      <a:pt x="4697" y="28861"/>
                      <a:pt x="4697" y="29007"/>
                      <a:pt x="4724" y="29149"/>
                    </a:cubicBezTo>
                    <a:cubicBezTo>
                      <a:pt x="4724" y="29063"/>
                      <a:pt x="4947" y="30042"/>
                      <a:pt x="4930" y="29733"/>
                    </a:cubicBezTo>
                    <a:cubicBezTo>
                      <a:pt x="5136" y="30265"/>
                      <a:pt x="5170" y="29131"/>
                      <a:pt x="5634" y="30471"/>
                    </a:cubicBezTo>
                    <a:cubicBezTo>
                      <a:pt x="5634" y="30368"/>
                      <a:pt x="5634" y="29337"/>
                      <a:pt x="5960" y="29595"/>
                    </a:cubicBezTo>
                    <a:cubicBezTo>
                      <a:pt x="5960" y="29818"/>
                      <a:pt x="5960" y="29595"/>
                      <a:pt x="5960" y="29475"/>
                    </a:cubicBezTo>
                    <a:cubicBezTo>
                      <a:pt x="5960" y="29355"/>
                      <a:pt x="6252" y="29303"/>
                      <a:pt x="6355" y="29234"/>
                    </a:cubicBezTo>
                    <a:cubicBezTo>
                      <a:pt x="6476" y="29458"/>
                      <a:pt x="6355" y="29836"/>
                      <a:pt x="6355" y="30145"/>
                    </a:cubicBezTo>
                    <a:cubicBezTo>
                      <a:pt x="6630" y="30901"/>
                      <a:pt x="6355" y="29681"/>
                      <a:pt x="6665" y="29664"/>
                    </a:cubicBezTo>
                    <a:cubicBezTo>
                      <a:pt x="6974" y="29647"/>
                      <a:pt x="6527" y="29544"/>
                      <a:pt x="6665" y="29441"/>
                    </a:cubicBezTo>
                    <a:cubicBezTo>
                      <a:pt x="6802" y="29337"/>
                      <a:pt x="6665" y="29664"/>
                      <a:pt x="6785" y="29733"/>
                    </a:cubicBezTo>
                    <a:cubicBezTo>
                      <a:pt x="6933" y="29741"/>
                      <a:pt x="7051" y="29859"/>
                      <a:pt x="7060" y="30007"/>
                    </a:cubicBezTo>
                    <a:cubicBezTo>
                      <a:pt x="6939" y="30213"/>
                      <a:pt x="7352" y="30145"/>
                      <a:pt x="7472" y="30196"/>
                    </a:cubicBezTo>
                    <a:cubicBezTo>
                      <a:pt x="7558" y="30660"/>
                      <a:pt x="8090" y="30042"/>
                      <a:pt x="8262" y="30402"/>
                    </a:cubicBezTo>
                    <a:cubicBezTo>
                      <a:pt x="8004" y="30402"/>
                      <a:pt x="8073" y="30402"/>
                      <a:pt x="8262" y="30643"/>
                    </a:cubicBezTo>
                    <a:cubicBezTo>
                      <a:pt x="8262" y="30471"/>
                      <a:pt x="8863" y="31107"/>
                      <a:pt x="8434" y="31107"/>
                    </a:cubicBezTo>
                    <a:cubicBezTo>
                      <a:pt x="8885" y="31152"/>
                      <a:pt x="9220" y="31547"/>
                      <a:pt x="9189" y="32000"/>
                    </a:cubicBezTo>
                    <a:cubicBezTo>
                      <a:pt x="9189" y="31673"/>
                      <a:pt x="9550" y="32154"/>
                      <a:pt x="9550" y="32309"/>
                    </a:cubicBezTo>
                    <a:cubicBezTo>
                      <a:pt x="9464" y="32103"/>
                      <a:pt x="10461" y="32309"/>
                      <a:pt x="10220" y="32532"/>
                    </a:cubicBezTo>
                    <a:cubicBezTo>
                      <a:pt x="10443" y="32361"/>
                      <a:pt x="10976" y="33030"/>
                      <a:pt x="10856" y="33151"/>
                    </a:cubicBezTo>
                    <a:cubicBezTo>
                      <a:pt x="11010" y="32893"/>
                      <a:pt x="11130" y="33735"/>
                      <a:pt x="11302" y="33924"/>
                    </a:cubicBezTo>
                    <a:cubicBezTo>
                      <a:pt x="11474" y="34113"/>
                      <a:pt x="10976" y="34559"/>
                      <a:pt x="11045" y="34868"/>
                    </a:cubicBezTo>
                    <a:cubicBezTo>
                      <a:pt x="11045" y="34611"/>
                      <a:pt x="11233" y="34628"/>
                      <a:pt x="11148" y="34868"/>
                    </a:cubicBezTo>
                    <a:cubicBezTo>
                      <a:pt x="11148" y="34868"/>
                      <a:pt x="11268" y="34559"/>
                      <a:pt x="11337" y="34731"/>
                    </a:cubicBezTo>
                    <a:cubicBezTo>
                      <a:pt x="11405" y="34903"/>
                      <a:pt x="11337" y="34731"/>
                      <a:pt x="11337" y="34731"/>
                    </a:cubicBezTo>
                    <a:cubicBezTo>
                      <a:pt x="11337" y="34216"/>
                      <a:pt x="12401" y="35143"/>
                      <a:pt x="11337" y="35092"/>
                    </a:cubicBezTo>
                    <a:cubicBezTo>
                      <a:pt x="11749" y="35092"/>
                      <a:pt x="11543" y="35315"/>
                      <a:pt x="11680" y="35624"/>
                    </a:cubicBezTo>
                    <a:cubicBezTo>
                      <a:pt x="11543" y="35074"/>
                      <a:pt x="12075" y="34576"/>
                      <a:pt x="12419" y="35074"/>
                    </a:cubicBezTo>
                    <a:cubicBezTo>
                      <a:pt x="12419" y="35074"/>
                      <a:pt x="12608" y="35177"/>
                      <a:pt x="12642" y="35263"/>
                    </a:cubicBezTo>
                    <a:cubicBezTo>
                      <a:pt x="12676" y="35349"/>
                      <a:pt x="12986" y="35366"/>
                      <a:pt x="12882" y="35469"/>
                    </a:cubicBezTo>
                    <a:cubicBezTo>
                      <a:pt x="12779" y="35573"/>
                      <a:pt x="12882" y="35727"/>
                      <a:pt x="12968" y="35830"/>
                    </a:cubicBezTo>
                    <a:cubicBezTo>
                      <a:pt x="13054" y="35933"/>
                      <a:pt x="12968" y="35487"/>
                      <a:pt x="12968" y="35710"/>
                    </a:cubicBezTo>
                    <a:cubicBezTo>
                      <a:pt x="12968" y="35555"/>
                      <a:pt x="13106" y="35607"/>
                      <a:pt x="12968" y="35504"/>
                    </a:cubicBezTo>
                    <a:cubicBezTo>
                      <a:pt x="12831" y="35401"/>
                      <a:pt x="13363" y="35761"/>
                      <a:pt x="13363" y="35641"/>
                    </a:cubicBezTo>
                    <a:cubicBezTo>
                      <a:pt x="13363" y="35521"/>
                      <a:pt x="13363" y="35641"/>
                      <a:pt x="13466" y="35744"/>
                    </a:cubicBezTo>
                    <a:cubicBezTo>
                      <a:pt x="13569" y="35847"/>
                      <a:pt x="13466" y="35744"/>
                      <a:pt x="13466" y="35744"/>
                    </a:cubicBezTo>
                    <a:lnTo>
                      <a:pt x="13466" y="35744"/>
                    </a:lnTo>
                    <a:lnTo>
                      <a:pt x="13466" y="35744"/>
                    </a:lnTo>
                    <a:cubicBezTo>
                      <a:pt x="14841" y="36157"/>
                      <a:pt x="16438" y="37462"/>
                      <a:pt x="14926" y="38922"/>
                    </a:cubicBezTo>
                    <a:cubicBezTo>
                      <a:pt x="14926" y="38836"/>
                      <a:pt x="14926" y="38682"/>
                      <a:pt x="14926" y="38819"/>
                    </a:cubicBezTo>
                    <a:cubicBezTo>
                      <a:pt x="14926" y="38956"/>
                      <a:pt x="14823" y="38819"/>
                      <a:pt x="14806" y="38819"/>
                    </a:cubicBezTo>
                    <a:lnTo>
                      <a:pt x="14806" y="38819"/>
                    </a:lnTo>
                    <a:cubicBezTo>
                      <a:pt x="15133" y="39386"/>
                      <a:pt x="15717" y="41619"/>
                      <a:pt x="14806" y="41447"/>
                    </a:cubicBezTo>
                    <a:cubicBezTo>
                      <a:pt x="14806" y="41447"/>
                      <a:pt x="14514" y="41447"/>
                      <a:pt x="14806" y="41447"/>
                    </a:cubicBezTo>
                    <a:cubicBezTo>
                      <a:pt x="15098" y="41447"/>
                      <a:pt x="14652" y="41447"/>
                      <a:pt x="14600" y="41447"/>
                    </a:cubicBezTo>
                    <a:cubicBezTo>
                      <a:pt x="14549" y="41447"/>
                      <a:pt x="14600" y="41533"/>
                      <a:pt x="14600" y="41687"/>
                    </a:cubicBezTo>
                    <a:cubicBezTo>
                      <a:pt x="14360" y="41498"/>
                      <a:pt x="14257" y="41997"/>
                      <a:pt x="14154" y="41962"/>
                    </a:cubicBezTo>
                    <a:cubicBezTo>
                      <a:pt x="14050" y="41928"/>
                      <a:pt x="14154" y="41962"/>
                      <a:pt x="14154" y="41962"/>
                    </a:cubicBezTo>
                    <a:cubicBezTo>
                      <a:pt x="14154" y="41962"/>
                      <a:pt x="14291" y="42048"/>
                      <a:pt x="14154" y="42048"/>
                    </a:cubicBezTo>
                    <a:cubicBezTo>
                      <a:pt x="14016" y="42048"/>
                      <a:pt x="14154" y="42048"/>
                      <a:pt x="14154" y="42048"/>
                    </a:cubicBezTo>
                    <a:cubicBezTo>
                      <a:pt x="14154" y="42048"/>
                      <a:pt x="14446" y="42426"/>
                      <a:pt x="14411" y="42529"/>
                    </a:cubicBezTo>
                    <a:cubicBezTo>
                      <a:pt x="14377" y="42632"/>
                      <a:pt x="14411" y="43697"/>
                      <a:pt x="14411" y="43336"/>
                    </a:cubicBezTo>
                    <a:cubicBezTo>
                      <a:pt x="14411" y="43336"/>
                      <a:pt x="14411" y="43336"/>
                      <a:pt x="14411" y="43250"/>
                    </a:cubicBezTo>
                    <a:cubicBezTo>
                      <a:pt x="14411" y="43165"/>
                      <a:pt x="14411" y="43113"/>
                      <a:pt x="14411" y="43113"/>
                    </a:cubicBezTo>
                    <a:cubicBezTo>
                      <a:pt x="14338" y="43042"/>
                      <a:pt x="14257" y="42979"/>
                      <a:pt x="14171" y="42924"/>
                    </a:cubicBezTo>
                    <a:cubicBezTo>
                      <a:pt x="14231" y="42979"/>
                      <a:pt x="14283" y="43043"/>
                      <a:pt x="14325" y="43113"/>
                    </a:cubicBezTo>
                    <a:cubicBezTo>
                      <a:pt x="14325" y="43113"/>
                      <a:pt x="14446" y="43354"/>
                      <a:pt x="14325" y="43250"/>
                    </a:cubicBezTo>
                    <a:cubicBezTo>
                      <a:pt x="14858" y="44041"/>
                      <a:pt x="14325" y="44264"/>
                      <a:pt x="13844" y="43817"/>
                    </a:cubicBezTo>
                    <a:lnTo>
                      <a:pt x="14549" y="44418"/>
                    </a:lnTo>
                    <a:lnTo>
                      <a:pt x="14549" y="44418"/>
                    </a:lnTo>
                    <a:cubicBezTo>
                      <a:pt x="14637" y="44494"/>
                      <a:pt x="14707" y="44587"/>
                      <a:pt x="14755" y="44693"/>
                    </a:cubicBezTo>
                    <a:lnTo>
                      <a:pt x="14755" y="44693"/>
                    </a:lnTo>
                    <a:cubicBezTo>
                      <a:pt x="14755" y="44693"/>
                      <a:pt x="14944" y="44951"/>
                      <a:pt x="14755" y="44882"/>
                    </a:cubicBezTo>
                    <a:cubicBezTo>
                      <a:pt x="14566" y="44814"/>
                      <a:pt x="14394" y="44882"/>
                      <a:pt x="14291" y="44882"/>
                    </a:cubicBezTo>
                    <a:cubicBezTo>
                      <a:pt x="14188" y="44882"/>
                      <a:pt x="14480" y="45037"/>
                      <a:pt x="14566" y="45123"/>
                    </a:cubicBezTo>
                    <a:lnTo>
                      <a:pt x="14566" y="45123"/>
                    </a:lnTo>
                    <a:cubicBezTo>
                      <a:pt x="14909" y="45466"/>
                      <a:pt x="14995" y="45569"/>
                      <a:pt x="14463" y="45294"/>
                    </a:cubicBezTo>
                    <a:cubicBezTo>
                      <a:pt x="14621" y="45462"/>
                      <a:pt x="14807" y="45602"/>
                      <a:pt x="15012" y="45707"/>
                    </a:cubicBezTo>
                    <a:cubicBezTo>
                      <a:pt x="15012" y="45707"/>
                      <a:pt x="15012" y="45707"/>
                      <a:pt x="15012" y="45707"/>
                    </a:cubicBezTo>
                    <a:lnTo>
                      <a:pt x="15012" y="45707"/>
                    </a:lnTo>
                    <a:cubicBezTo>
                      <a:pt x="15304" y="45930"/>
                      <a:pt x="15133" y="45947"/>
                      <a:pt x="15717" y="46359"/>
                    </a:cubicBezTo>
                    <a:lnTo>
                      <a:pt x="15717" y="46359"/>
                    </a:lnTo>
                    <a:lnTo>
                      <a:pt x="15717" y="46359"/>
                    </a:lnTo>
                    <a:lnTo>
                      <a:pt x="15717" y="46359"/>
                    </a:lnTo>
                    <a:cubicBezTo>
                      <a:pt x="15991" y="46669"/>
                      <a:pt x="16438" y="46737"/>
                      <a:pt x="16730" y="47012"/>
                    </a:cubicBezTo>
                    <a:lnTo>
                      <a:pt x="16730" y="47012"/>
                    </a:lnTo>
                    <a:lnTo>
                      <a:pt x="16730" y="47012"/>
                    </a:lnTo>
                    <a:lnTo>
                      <a:pt x="16730" y="47012"/>
                    </a:lnTo>
                    <a:lnTo>
                      <a:pt x="16885" y="47132"/>
                    </a:lnTo>
                    <a:lnTo>
                      <a:pt x="16885" y="47132"/>
                    </a:lnTo>
                    <a:lnTo>
                      <a:pt x="17091" y="47270"/>
                    </a:lnTo>
                    <a:cubicBezTo>
                      <a:pt x="17091" y="47270"/>
                      <a:pt x="17091" y="47270"/>
                      <a:pt x="16988" y="47270"/>
                    </a:cubicBezTo>
                    <a:cubicBezTo>
                      <a:pt x="17278" y="47454"/>
                      <a:pt x="17582" y="47614"/>
                      <a:pt x="17898" y="47751"/>
                    </a:cubicBezTo>
                    <a:lnTo>
                      <a:pt x="17898" y="47751"/>
                    </a:lnTo>
                    <a:cubicBezTo>
                      <a:pt x="17795" y="47751"/>
                      <a:pt x="17898" y="47751"/>
                      <a:pt x="17898" y="47751"/>
                    </a:cubicBezTo>
                    <a:lnTo>
                      <a:pt x="17898" y="47751"/>
                    </a:lnTo>
                    <a:cubicBezTo>
                      <a:pt x="18059" y="47847"/>
                      <a:pt x="18225" y="47933"/>
                      <a:pt x="18396" y="48008"/>
                    </a:cubicBezTo>
                    <a:lnTo>
                      <a:pt x="18173" y="48008"/>
                    </a:lnTo>
                    <a:close/>
                    <a:moveTo>
                      <a:pt x="20560" y="10117"/>
                    </a:moveTo>
                    <a:cubicBezTo>
                      <a:pt x="20286" y="10409"/>
                      <a:pt x="20560" y="10014"/>
                      <a:pt x="20560" y="9980"/>
                    </a:cubicBezTo>
                    <a:cubicBezTo>
                      <a:pt x="20560" y="9945"/>
                      <a:pt x="20423" y="10134"/>
                      <a:pt x="20286" y="10323"/>
                    </a:cubicBezTo>
                    <a:cubicBezTo>
                      <a:pt x="19822" y="10083"/>
                      <a:pt x="19581" y="10976"/>
                      <a:pt x="19289" y="10907"/>
                    </a:cubicBezTo>
                    <a:cubicBezTo>
                      <a:pt x="19530" y="11165"/>
                      <a:pt x="19100" y="10907"/>
                      <a:pt x="19152" y="11165"/>
                    </a:cubicBezTo>
                    <a:cubicBezTo>
                      <a:pt x="19014" y="10959"/>
                      <a:pt x="19152" y="11165"/>
                      <a:pt x="19152" y="11165"/>
                    </a:cubicBezTo>
                    <a:cubicBezTo>
                      <a:pt x="19152" y="10907"/>
                      <a:pt x="19152" y="11457"/>
                      <a:pt x="18997" y="11165"/>
                    </a:cubicBezTo>
                    <a:cubicBezTo>
                      <a:pt x="18688" y="11165"/>
                      <a:pt x="18997" y="11577"/>
                      <a:pt x="18585" y="11577"/>
                    </a:cubicBezTo>
                    <a:cubicBezTo>
                      <a:pt x="18585" y="11577"/>
                      <a:pt x="18327" y="12024"/>
                      <a:pt x="18259" y="11903"/>
                    </a:cubicBezTo>
                    <a:cubicBezTo>
                      <a:pt x="18190" y="11783"/>
                      <a:pt x="17846" y="12453"/>
                      <a:pt x="18001" y="12109"/>
                    </a:cubicBezTo>
                    <a:cubicBezTo>
                      <a:pt x="17537" y="12401"/>
                      <a:pt x="18104" y="11938"/>
                      <a:pt x="17743" y="12006"/>
                    </a:cubicBezTo>
                    <a:cubicBezTo>
                      <a:pt x="18173" y="11680"/>
                      <a:pt x="18070" y="11749"/>
                      <a:pt x="17503" y="11783"/>
                    </a:cubicBezTo>
                    <a:cubicBezTo>
                      <a:pt x="17588" y="11313"/>
                      <a:pt x="17763" y="10864"/>
                      <a:pt x="18018" y="10461"/>
                    </a:cubicBezTo>
                    <a:cubicBezTo>
                      <a:pt x="18018" y="10220"/>
                      <a:pt x="18224" y="10461"/>
                      <a:pt x="18448" y="10134"/>
                    </a:cubicBezTo>
                    <a:cubicBezTo>
                      <a:pt x="17984" y="10306"/>
                      <a:pt x="17984" y="10134"/>
                      <a:pt x="18448" y="9739"/>
                    </a:cubicBezTo>
                    <a:cubicBezTo>
                      <a:pt x="18345" y="9739"/>
                      <a:pt x="18207" y="9739"/>
                      <a:pt x="18345" y="9739"/>
                    </a:cubicBezTo>
                    <a:cubicBezTo>
                      <a:pt x="18482" y="9739"/>
                      <a:pt x="18345" y="9636"/>
                      <a:pt x="18963" y="9344"/>
                    </a:cubicBezTo>
                    <a:cubicBezTo>
                      <a:pt x="17709" y="9808"/>
                      <a:pt x="19392" y="8966"/>
                      <a:pt x="18774" y="9104"/>
                    </a:cubicBezTo>
                    <a:cubicBezTo>
                      <a:pt x="19272" y="8657"/>
                      <a:pt x="19152" y="9293"/>
                      <a:pt x="19324" y="9104"/>
                    </a:cubicBezTo>
                    <a:cubicBezTo>
                      <a:pt x="18997" y="9104"/>
                      <a:pt x="19667" y="8863"/>
                      <a:pt x="19324" y="8966"/>
                    </a:cubicBezTo>
                    <a:cubicBezTo>
                      <a:pt x="19444" y="8846"/>
                      <a:pt x="19169" y="8966"/>
                      <a:pt x="18946" y="8966"/>
                    </a:cubicBezTo>
                    <a:cubicBezTo>
                      <a:pt x="19427" y="8537"/>
                      <a:pt x="19238" y="9086"/>
                      <a:pt x="19598" y="8674"/>
                    </a:cubicBezTo>
                    <a:cubicBezTo>
                      <a:pt x="19289" y="8846"/>
                      <a:pt x="19341" y="8554"/>
                      <a:pt x="19598" y="8674"/>
                    </a:cubicBezTo>
                    <a:cubicBezTo>
                      <a:pt x="19808" y="8533"/>
                      <a:pt x="20004" y="8372"/>
                      <a:pt x="20182" y="8193"/>
                    </a:cubicBezTo>
                    <a:cubicBezTo>
                      <a:pt x="19994" y="8193"/>
                      <a:pt x="20182" y="7266"/>
                      <a:pt x="20354" y="7953"/>
                    </a:cubicBezTo>
                    <a:cubicBezTo>
                      <a:pt x="20354" y="7953"/>
                      <a:pt x="20509" y="7712"/>
                      <a:pt x="20560" y="7764"/>
                    </a:cubicBezTo>
                    <a:cubicBezTo>
                      <a:pt x="20612" y="7815"/>
                      <a:pt x="21144" y="6991"/>
                      <a:pt x="20681" y="7386"/>
                    </a:cubicBezTo>
                    <a:cubicBezTo>
                      <a:pt x="20217" y="7781"/>
                      <a:pt x="21162" y="6922"/>
                      <a:pt x="21746" y="6338"/>
                    </a:cubicBezTo>
                    <a:cubicBezTo>
                      <a:pt x="23154" y="5256"/>
                      <a:pt x="21746" y="5497"/>
                      <a:pt x="22914" y="4981"/>
                    </a:cubicBezTo>
                    <a:cubicBezTo>
                      <a:pt x="23085" y="4981"/>
                      <a:pt x="23206" y="5067"/>
                      <a:pt x="23326" y="4844"/>
                    </a:cubicBezTo>
                    <a:cubicBezTo>
                      <a:pt x="26332" y="3556"/>
                      <a:pt x="25576" y="4260"/>
                      <a:pt x="26761" y="3693"/>
                    </a:cubicBezTo>
                    <a:cubicBezTo>
                      <a:pt x="26418" y="3882"/>
                      <a:pt x="26761" y="3693"/>
                      <a:pt x="26881" y="3693"/>
                    </a:cubicBezTo>
                    <a:cubicBezTo>
                      <a:pt x="26503" y="3951"/>
                      <a:pt x="26710" y="3693"/>
                      <a:pt x="26607" y="3951"/>
                    </a:cubicBezTo>
                    <a:cubicBezTo>
                      <a:pt x="26761" y="4140"/>
                      <a:pt x="25765" y="4243"/>
                      <a:pt x="26211" y="4208"/>
                    </a:cubicBezTo>
                    <a:cubicBezTo>
                      <a:pt x="26658" y="4174"/>
                      <a:pt x="26057" y="4346"/>
                      <a:pt x="26211" y="4329"/>
                    </a:cubicBezTo>
                    <a:cubicBezTo>
                      <a:pt x="26555" y="4054"/>
                      <a:pt x="26211" y="4483"/>
                      <a:pt x="26074" y="4500"/>
                    </a:cubicBezTo>
                    <a:cubicBezTo>
                      <a:pt x="25284" y="5119"/>
                      <a:pt x="27036" y="3744"/>
                      <a:pt x="26383" y="4621"/>
                    </a:cubicBezTo>
                    <a:cubicBezTo>
                      <a:pt x="26108" y="4844"/>
                      <a:pt x="25816" y="4861"/>
                      <a:pt x="26057" y="4947"/>
                    </a:cubicBezTo>
                    <a:cubicBezTo>
                      <a:pt x="25672" y="5283"/>
                      <a:pt x="25406" y="5735"/>
                      <a:pt x="25301" y="6235"/>
                    </a:cubicBezTo>
                    <a:cubicBezTo>
                      <a:pt x="25198" y="5874"/>
                      <a:pt x="24751" y="6424"/>
                      <a:pt x="25112" y="6373"/>
                    </a:cubicBezTo>
                    <a:cubicBezTo>
                      <a:pt x="24837" y="6596"/>
                      <a:pt x="25112" y="6373"/>
                      <a:pt x="25009" y="6596"/>
                    </a:cubicBezTo>
                    <a:cubicBezTo>
                      <a:pt x="24906" y="6819"/>
                      <a:pt x="24837" y="6596"/>
                      <a:pt x="24751" y="6596"/>
                    </a:cubicBezTo>
                    <a:cubicBezTo>
                      <a:pt x="24666" y="6596"/>
                      <a:pt x="24751" y="6957"/>
                      <a:pt x="24751" y="6768"/>
                    </a:cubicBezTo>
                    <a:cubicBezTo>
                      <a:pt x="24751" y="6871"/>
                      <a:pt x="25061" y="7128"/>
                      <a:pt x="24751" y="7180"/>
                    </a:cubicBezTo>
                    <a:cubicBezTo>
                      <a:pt x="24271" y="6750"/>
                      <a:pt x="24751" y="7575"/>
                      <a:pt x="24442" y="7489"/>
                    </a:cubicBezTo>
                    <a:cubicBezTo>
                      <a:pt x="23961" y="7729"/>
                      <a:pt x="24442" y="7060"/>
                      <a:pt x="24133" y="7489"/>
                    </a:cubicBezTo>
                    <a:cubicBezTo>
                      <a:pt x="24133" y="7283"/>
                      <a:pt x="23807" y="7609"/>
                      <a:pt x="23738" y="7626"/>
                    </a:cubicBezTo>
                    <a:cubicBezTo>
                      <a:pt x="24150" y="7626"/>
                      <a:pt x="23738" y="7764"/>
                      <a:pt x="23738" y="7781"/>
                    </a:cubicBezTo>
                    <a:cubicBezTo>
                      <a:pt x="24236" y="7781"/>
                      <a:pt x="23738" y="7918"/>
                      <a:pt x="23824" y="7987"/>
                    </a:cubicBezTo>
                    <a:cubicBezTo>
                      <a:pt x="24442" y="8090"/>
                      <a:pt x="23515" y="9705"/>
                      <a:pt x="23583" y="8262"/>
                    </a:cubicBezTo>
                    <a:cubicBezTo>
                      <a:pt x="23034" y="7901"/>
                      <a:pt x="23978" y="8657"/>
                      <a:pt x="23137" y="8520"/>
                    </a:cubicBezTo>
                    <a:cubicBezTo>
                      <a:pt x="23291" y="8640"/>
                      <a:pt x="22673" y="8777"/>
                      <a:pt x="22931" y="8726"/>
                    </a:cubicBezTo>
                    <a:cubicBezTo>
                      <a:pt x="23188" y="8674"/>
                      <a:pt x="23326" y="8915"/>
                      <a:pt x="22931" y="8846"/>
                    </a:cubicBezTo>
                    <a:cubicBezTo>
                      <a:pt x="22536" y="8777"/>
                      <a:pt x="24082" y="8846"/>
                      <a:pt x="23446" y="9121"/>
                    </a:cubicBezTo>
                    <a:cubicBezTo>
                      <a:pt x="23446" y="9121"/>
                      <a:pt x="23171" y="9327"/>
                      <a:pt x="23137" y="9275"/>
                    </a:cubicBezTo>
                    <a:cubicBezTo>
                      <a:pt x="23103" y="9224"/>
                      <a:pt x="21866" y="9859"/>
                      <a:pt x="21952" y="9396"/>
                    </a:cubicBezTo>
                    <a:cubicBezTo>
                      <a:pt x="22038" y="8932"/>
                      <a:pt x="21952" y="9636"/>
                      <a:pt x="21831" y="9653"/>
                    </a:cubicBezTo>
                    <a:cubicBezTo>
                      <a:pt x="21385" y="9688"/>
                      <a:pt x="20612" y="10529"/>
                      <a:pt x="20560" y="10117"/>
                    </a:cubicBezTo>
                    <a:close/>
                    <a:moveTo>
                      <a:pt x="23669" y="11440"/>
                    </a:moveTo>
                    <a:cubicBezTo>
                      <a:pt x="23669" y="11577"/>
                      <a:pt x="23463" y="11543"/>
                      <a:pt x="23412" y="11440"/>
                    </a:cubicBezTo>
                    <a:cubicBezTo>
                      <a:pt x="23360" y="11337"/>
                      <a:pt x="23223" y="11440"/>
                      <a:pt x="23274" y="11319"/>
                    </a:cubicBezTo>
                    <a:cubicBezTo>
                      <a:pt x="23326" y="11199"/>
                      <a:pt x="23188" y="11319"/>
                      <a:pt x="23274" y="11319"/>
                    </a:cubicBezTo>
                    <a:cubicBezTo>
                      <a:pt x="23173" y="11345"/>
                      <a:pt x="23067" y="11345"/>
                      <a:pt x="22965" y="11319"/>
                    </a:cubicBezTo>
                    <a:cubicBezTo>
                      <a:pt x="22965" y="11319"/>
                      <a:pt x="22965" y="11319"/>
                      <a:pt x="22965" y="11319"/>
                    </a:cubicBezTo>
                    <a:cubicBezTo>
                      <a:pt x="22965" y="11319"/>
                      <a:pt x="22965" y="11319"/>
                      <a:pt x="22965" y="11233"/>
                    </a:cubicBezTo>
                    <a:cubicBezTo>
                      <a:pt x="22965" y="11148"/>
                      <a:pt x="22965" y="11233"/>
                      <a:pt x="22965" y="11233"/>
                    </a:cubicBezTo>
                    <a:cubicBezTo>
                      <a:pt x="22965" y="11233"/>
                      <a:pt x="23120" y="11096"/>
                      <a:pt x="23206" y="11148"/>
                    </a:cubicBezTo>
                    <a:cubicBezTo>
                      <a:pt x="23291" y="11199"/>
                      <a:pt x="22948" y="11251"/>
                      <a:pt x="23206" y="11027"/>
                    </a:cubicBezTo>
                    <a:cubicBezTo>
                      <a:pt x="23206" y="11113"/>
                      <a:pt x="23051" y="11027"/>
                      <a:pt x="23206" y="10941"/>
                    </a:cubicBezTo>
                    <a:cubicBezTo>
                      <a:pt x="23360" y="10856"/>
                      <a:pt x="22948" y="10941"/>
                      <a:pt x="22948" y="10821"/>
                    </a:cubicBezTo>
                    <a:cubicBezTo>
                      <a:pt x="22948" y="10701"/>
                      <a:pt x="23206" y="10735"/>
                      <a:pt x="23223" y="10821"/>
                    </a:cubicBezTo>
                    <a:cubicBezTo>
                      <a:pt x="23240" y="10907"/>
                      <a:pt x="23395" y="10821"/>
                      <a:pt x="23412" y="10718"/>
                    </a:cubicBezTo>
                    <a:cubicBezTo>
                      <a:pt x="23429" y="10615"/>
                      <a:pt x="23291" y="10718"/>
                      <a:pt x="23412" y="10718"/>
                    </a:cubicBezTo>
                    <a:cubicBezTo>
                      <a:pt x="23532" y="10718"/>
                      <a:pt x="23291" y="10718"/>
                      <a:pt x="23412" y="10632"/>
                    </a:cubicBezTo>
                    <a:cubicBezTo>
                      <a:pt x="23532" y="10546"/>
                      <a:pt x="23412" y="10632"/>
                      <a:pt x="23412" y="10632"/>
                    </a:cubicBezTo>
                    <a:cubicBezTo>
                      <a:pt x="23412" y="10632"/>
                      <a:pt x="23412" y="10718"/>
                      <a:pt x="23412" y="10632"/>
                    </a:cubicBezTo>
                    <a:cubicBezTo>
                      <a:pt x="23412" y="10546"/>
                      <a:pt x="23412" y="10632"/>
                      <a:pt x="23412" y="10632"/>
                    </a:cubicBezTo>
                    <a:cubicBezTo>
                      <a:pt x="23223" y="10873"/>
                      <a:pt x="23120" y="10478"/>
                      <a:pt x="23291" y="10632"/>
                    </a:cubicBezTo>
                    <a:cubicBezTo>
                      <a:pt x="23463" y="10787"/>
                      <a:pt x="23291" y="10478"/>
                      <a:pt x="23291" y="10632"/>
                    </a:cubicBezTo>
                    <a:cubicBezTo>
                      <a:pt x="23291" y="10787"/>
                      <a:pt x="23291" y="10632"/>
                      <a:pt x="23291" y="10632"/>
                    </a:cubicBezTo>
                    <a:cubicBezTo>
                      <a:pt x="23291" y="10632"/>
                      <a:pt x="23291" y="10529"/>
                      <a:pt x="23291" y="10632"/>
                    </a:cubicBezTo>
                    <a:cubicBezTo>
                      <a:pt x="23291" y="10735"/>
                      <a:pt x="23291" y="10478"/>
                      <a:pt x="23291" y="10632"/>
                    </a:cubicBezTo>
                    <a:cubicBezTo>
                      <a:pt x="23291" y="10787"/>
                      <a:pt x="23412" y="10632"/>
                      <a:pt x="23291" y="10632"/>
                    </a:cubicBezTo>
                    <a:cubicBezTo>
                      <a:pt x="23171" y="10632"/>
                      <a:pt x="23395" y="10632"/>
                      <a:pt x="23291" y="10632"/>
                    </a:cubicBezTo>
                    <a:cubicBezTo>
                      <a:pt x="23188" y="10632"/>
                      <a:pt x="23120" y="10478"/>
                      <a:pt x="23291" y="10478"/>
                    </a:cubicBezTo>
                    <a:cubicBezTo>
                      <a:pt x="22999" y="10375"/>
                      <a:pt x="23395" y="10375"/>
                      <a:pt x="23291" y="10581"/>
                    </a:cubicBezTo>
                    <a:cubicBezTo>
                      <a:pt x="23291" y="10581"/>
                      <a:pt x="23291" y="10581"/>
                      <a:pt x="23291" y="10581"/>
                    </a:cubicBezTo>
                    <a:cubicBezTo>
                      <a:pt x="23291" y="10581"/>
                      <a:pt x="23291" y="10701"/>
                      <a:pt x="23291" y="10581"/>
                    </a:cubicBezTo>
                    <a:cubicBezTo>
                      <a:pt x="23302" y="10608"/>
                      <a:pt x="23302" y="10639"/>
                      <a:pt x="23291" y="10667"/>
                    </a:cubicBezTo>
                    <a:cubicBezTo>
                      <a:pt x="23291" y="10667"/>
                      <a:pt x="23291" y="10753"/>
                      <a:pt x="23291" y="10787"/>
                    </a:cubicBezTo>
                    <a:cubicBezTo>
                      <a:pt x="23291" y="10821"/>
                      <a:pt x="23291" y="10787"/>
                      <a:pt x="23291" y="10873"/>
                    </a:cubicBezTo>
                    <a:cubicBezTo>
                      <a:pt x="23311" y="10799"/>
                      <a:pt x="23361" y="10737"/>
                      <a:pt x="23429" y="10701"/>
                    </a:cubicBezTo>
                    <a:cubicBezTo>
                      <a:pt x="23429" y="10907"/>
                      <a:pt x="23429" y="10478"/>
                      <a:pt x="23601" y="10461"/>
                    </a:cubicBezTo>
                    <a:cubicBezTo>
                      <a:pt x="23772" y="10443"/>
                      <a:pt x="23601" y="10581"/>
                      <a:pt x="23601" y="10598"/>
                    </a:cubicBezTo>
                    <a:cubicBezTo>
                      <a:pt x="23601" y="10615"/>
                      <a:pt x="23687" y="10461"/>
                      <a:pt x="23790" y="10478"/>
                    </a:cubicBezTo>
                    <a:cubicBezTo>
                      <a:pt x="23832" y="10576"/>
                      <a:pt x="23832" y="10688"/>
                      <a:pt x="23790" y="10787"/>
                    </a:cubicBezTo>
                    <a:cubicBezTo>
                      <a:pt x="23893" y="10701"/>
                      <a:pt x="23790" y="10461"/>
                      <a:pt x="23961" y="10512"/>
                    </a:cubicBezTo>
                    <a:cubicBezTo>
                      <a:pt x="24133" y="10564"/>
                      <a:pt x="24116" y="10375"/>
                      <a:pt x="24099" y="10512"/>
                    </a:cubicBezTo>
                    <a:cubicBezTo>
                      <a:pt x="24082" y="10649"/>
                      <a:pt x="24356" y="10220"/>
                      <a:pt x="24322" y="10512"/>
                    </a:cubicBezTo>
                    <a:cubicBezTo>
                      <a:pt x="24288" y="10804"/>
                      <a:pt x="24442" y="10357"/>
                      <a:pt x="24528" y="10512"/>
                    </a:cubicBezTo>
                    <a:cubicBezTo>
                      <a:pt x="24614" y="10667"/>
                      <a:pt x="24356" y="10667"/>
                      <a:pt x="24528" y="10632"/>
                    </a:cubicBezTo>
                    <a:cubicBezTo>
                      <a:pt x="24700" y="10598"/>
                      <a:pt x="24425" y="10632"/>
                      <a:pt x="24528" y="10804"/>
                    </a:cubicBezTo>
                    <a:cubicBezTo>
                      <a:pt x="24631" y="10976"/>
                      <a:pt x="24528" y="10804"/>
                      <a:pt x="24528" y="10804"/>
                    </a:cubicBezTo>
                    <a:cubicBezTo>
                      <a:pt x="24751" y="10804"/>
                      <a:pt x="24614" y="10804"/>
                      <a:pt x="24528" y="10924"/>
                    </a:cubicBezTo>
                    <a:cubicBezTo>
                      <a:pt x="24442" y="11045"/>
                      <a:pt x="24528" y="11079"/>
                      <a:pt x="24528" y="11148"/>
                    </a:cubicBezTo>
                    <a:cubicBezTo>
                      <a:pt x="24374" y="10924"/>
                      <a:pt x="24528" y="11440"/>
                      <a:pt x="24288" y="11148"/>
                    </a:cubicBezTo>
                    <a:cubicBezTo>
                      <a:pt x="24288" y="11268"/>
                      <a:pt x="24064" y="11268"/>
                      <a:pt x="23978" y="11388"/>
                    </a:cubicBezTo>
                    <a:lnTo>
                      <a:pt x="23978" y="11388"/>
                    </a:lnTo>
                    <a:cubicBezTo>
                      <a:pt x="23978" y="11388"/>
                      <a:pt x="23841" y="11388"/>
                      <a:pt x="23790" y="11388"/>
                    </a:cubicBezTo>
                    <a:cubicBezTo>
                      <a:pt x="23738" y="11388"/>
                      <a:pt x="23790" y="11388"/>
                      <a:pt x="23790" y="11388"/>
                    </a:cubicBezTo>
                    <a:cubicBezTo>
                      <a:pt x="23790" y="11388"/>
                      <a:pt x="23738" y="11594"/>
                      <a:pt x="23669" y="11440"/>
                    </a:cubicBezTo>
                    <a:close/>
                    <a:moveTo>
                      <a:pt x="38184" y="41533"/>
                    </a:moveTo>
                    <a:cubicBezTo>
                      <a:pt x="38063" y="41224"/>
                      <a:pt x="38579" y="40880"/>
                      <a:pt x="38802" y="40640"/>
                    </a:cubicBezTo>
                    <a:cubicBezTo>
                      <a:pt x="39025" y="40399"/>
                      <a:pt x="39025" y="39729"/>
                      <a:pt x="39540" y="39523"/>
                    </a:cubicBezTo>
                    <a:lnTo>
                      <a:pt x="39540" y="39523"/>
                    </a:lnTo>
                    <a:cubicBezTo>
                      <a:pt x="39540" y="39523"/>
                      <a:pt x="39540" y="39523"/>
                      <a:pt x="39540" y="39523"/>
                    </a:cubicBezTo>
                    <a:cubicBezTo>
                      <a:pt x="39540" y="39523"/>
                      <a:pt x="39644" y="39523"/>
                      <a:pt x="39781" y="39386"/>
                    </a:cubicBezTo>
                    <a:cubicBezTo>
                      <a:pt x="39661" y="39678"/>
                      <a:pt x="40073" y="39077"/>
                      <a:pt x="39953" y="39386"/>
                    </a:cubicBezTo>
                    <a:cubicBezTo>
                      <a:pt x="39832" y="39695"/>
                      <a:pt x="39953" y="39386"/>
                      <a:pt x="39953" y="39386"/>
                    </a:cubicBezTo>
                    <a:cubicBezTo>
                      <a:pt x="39953" y="39386"/>
                      <a:pt x="39953" y="39386"/>
                      <a:pt x="39953" y="39248"/>
                    </a:cubicBezTo>
                    <a:cubicBezTo>
                      <a:pt x="39953" y="39111"/>
                      <a:pt x="40073" y="39248"/>
                      <a:pt x="39953" y="39248"/>
                    </a:cubicBezTo>
                    <a:lnTo>
                      <a:pt x="39953" y="39248"/>
                    </a:lnTo>
                    <a:cubicBezTo>
                      <a:pt x="39953" y="39248"/>
                      <a:pt x="39953" y="39248"/>
                      <a:pt x="39953" y="39369"/>
                    </a:cubicBezTo>
                    <a:cubicBezTo>
                      <a:pt x="39953" y="39489"/>
                      <a:pt x="40090" y="39197"/>
                      <a:pt x="40107" y="39266"/>
                    </a:cubicBezTo>
                    <a:cubicBezTo>
                      <a:pt x="40124" y="39334"/>
                      <a:pt x="40107" y="39266"/>
                      <a:pt x="40107" y="39145"/>
                    </a:cubicBezTo>
                    <a:cubicBezTo>
                      <a:pt x="40107" y="39025"/>
                      <a:pt x="40262" y="39145"/>
                      <a:pt x="40107" y="39042"/>
                    </a:cubicBezTo>
                    <a:cubicBezTo>
                      <a:pt x="39953" y="38939"/>
                      <a:pt x="40107" y="39145"/>
                      <a:pt x="40262" y="38939"/>
                    </a:cubicBezTo>
                    <a:cubicBezTo>
                      <a:pt x="40416" y="38733"/>
                      <a:pt x="40537" y="38733"/>
                      <a:pt x="40485" y="38561"/>
                    </a:cubicBezTo>
                    <a:cubicBezTo>
                      <a:pt x="40434" y="38389"/>
                      <a:pt x="40588" y="38561"/>
                      <a:pt x="40674" y="38441"/>
                    </a:cubicBezTo>
                    <a:cubicBezTo>
                      <a:pt x="40760" y="38321"/>
                      <a:pt x="40674" y="38664"/>
                      <a:pt x="40674" y="38664"/>
                    </a:cubicBezTo>
                    <a:cubicBezTo>
                      <a:pt x="41344" y="38922"/>
                      <a:pt x="37514" y="43560"/>
                      <a:pt x="38184" y="41533"/>
                    </a:cubicBezTo>
                    <a:close/>
                    <a:moveTo>
                      <a:pt x="49159" y="26589"/>
                    </a:moveTo>
                    <a:cubicBezTo>
                      <a:pt x="49159" y="26589"/>
                      <a:pt x="49159" y="26589"/>
                      <a:pt x="49159" y="26589"/>
                    </a:cubicBezTo>
                    <a:cubicBezTo>
                      <a:pt x="48810" y="27921"/>
                      <a:pt x="48552" y="29276"/>
                      <a:pt x="48386" y="30643"/>
                    </a:cubicBezTo>
                    <a:cubicBezTo>
                      <a:pt x="48386" y="30540"/>
                      <a:pt x="48215" y="30780"/>
                      <a:pt x="48215" y="30849"/>
                    </a:cubicBezTo>
                    <a:cubicBezTo>
                      <a:pt x="48026" y="31570"/>
                      <a:pt x="47579" y="26864"/>
                      <a:pt x="47613" y="26452"/>
                    </a:cubicBezTo>
                    <a:cubicBezTo>
                      <a:pt x="47459" y="26452"/>
                      <a:pt x="47613" y="26263"/>
                      <a:pt x="47613" y="26160"/>
                    </a:cubicBezTo>
                    <a:cubicBezTo>
                      <a:pt x="47613" y="26057"/>
                      <a:pt x="47528" y="26160"/>
                      <a:pt x="47528" y="26160"/>
                    </a:cubicBezTo>
                    <a:cubicBezTo>
                      <a:pt x="47528" y="26555"/>
                      <a:pt x="47373" y="27362"/>
                      <a:pt x="47098" y="26606"/>
                    </a:cubicBezTo>
                    <a:cubicBezTo>
                      <a:pt x="47098" y="26606"/>
                      <a:pt x="46909" y="26332"/>
                      <a:pt x="46995" y="26383"/>
                    </a:cubicBezTo>
                    <a:lnTo>
                      <a:pt x="46995" y="26383"/>
                    </a:lnTo>
                    <a:cubicBezTo>
                      <a:pt x="46995" y="26538"/>
                      <a:pt x="46995" y="26383"/>
                      <a:pt x="46995" y="26383"/>
                    </a:cubicBezTo>
                    <a:cubicBezTo>
                      <a:pt x="46995" y="26383"/>
                      <a:pt x="47201" y="26074"/>
                      <a:pt x="47081" y="26040"/>
                    </a:cubicBezTo>
                    <a:cubicBezTo>
                      <a:pt x="47081" y="26383"/>
                      <a:pt x="46583" y="26040"/>
                      <a:pt x="46806" y="25833"/>
                    </a:cubicBezTo>
                    <a:cubicBezTo>
                      <a:pt x="46806" y="25833"/>
                      <a:pt x="46806" y="25937"/>
                      <a:pt x="46686" y="25971"/>
                    </a:cubicBezTo>
                    <a:cubicBezTo>
                      <a:pt x="46566" y="26005"/>
                      <a:pt x="46686" y="25885"/>
                      <a:pt x="46549" y="25971"/>
                    </a:cubicBezTo>
                    <a:cubicBezTo>
                      <a:pt x="46411" y="26057"/>
                      <a:pt x="46549" y="25696"/>
                      <a:pt x="46428" y="25559"/>
                    </a:cubicBezTo>
                    <a:cubicBezTo>
                      <a:pt x="46239" y="25730"/>
                      <a:pt x="46428" y="25318"/>
                      <a:pt x="46119" y="25438"/>
                    </a:cubicBezTo>
                    <a:cubicBezTo>
                      <a:pt x="46119" y="25438"/>
                      <a:pt x="45965" y="25524"/>
                      <a:pt x="45913" y="25610"/>
                    </a:cubicBezTo>
                    <a:cubicBezTo>
                      <a:pt x="45861" y="25696"/>
                      <a:pt x="45810" y="25610"/>
                      <a:pt x="45741" y="25610"/>
                    </a:cubicBezTo>
                    <a:cubicBezTo>
                      <a:pt x="45673" y="25610"/>
                      <a:pt x="45604" y="25610"/>
                      <a:pt x="45552" y="25765"/>
                    </a:cubicBezTo>
                    <a:cubicBezTo>
                      <a:pt x="45501" y="25919"/>
                      <a:pt x="45552" y="25765"/>
                      <a:pt x="45432" y="25765"/>
                    </a:cubicBezTo>
                    <a:cubicBezTo>
                      <a:pt x="45312" y="25765"/>
                      <a:pt x="45260" y="25885"/>
                      <a:pt x="45209" y="25679"/>
                    </a:cubicBezTo>
                    <a:cubicBezTo>
                      <a:pt x="45209" y="25782"/>
                      <a:pt x="44814" y="25679"/>
                      <a:pt x="44728" y="25679"/>
                    </a:cubicBezTo>
                    <a:cubicBezTo>
                      <a:pt x="44642" y="25679"/>
                      <a:pt x="44573" y="25679"/>
                      <a:pt x="44453" y="25679"/>
                    </a:cubicBezTo>
                    <a:cubicBezTo>
                      <a:pt x="44178" y="24683"/>
                      <a:pt x="44144" y="25541"/>
                      <a:pt x="43663" y="25404"/>
                    </a:cubicBezTo>
                    <a:cubicBezTo>
                      <a:pt x="43560" y="25404"/>
                      <a:pt x="43251" y="25284"/>
                      <a:pt x="43285" y="25146"/>
                    </a:cubicBezTo>
                    <a:cubicBezTo>
                      <a:pt x="43319" y="25009"/>
                      <a:pt x="42838" y="25146"/>
                      <a:pt x="42804" y="24803"/>
                    </a:cubicBezTo>
                    <a:cubicBezTo>
                      <a:pt x="42804" y="24803"/>
                      <a:pt x="42684" y="24803"/>
                      <a:pt x="42804" y="24803"/>
                    </a:cubicBezTo>
                    <a:cubicBezTo>
                      <a:pt x="42632" y="24803"/>
                      <a:pt x="42564" y="24185"/>
                      <a:pt x="42375" y="24425"/>
                    </a:cubicBezTo>
                    <a:cubicBezTo>
                      <a:pt x="42375" y="24339"/>
                      <a:pt x="42220" y="24425"/>
                      <a:pt x="42272" y="24270"/>
                    </a:cubicBezTo>
                    <a:cubicBezTo>
                      <a:pt x="42323" y="24116"/>
                      <a:pt x="42272" y="24270"/>
                      <a:pt x="42272" y="24270"/>
                    </a:cubicBezTo>
                    <a:cubicBezTo>
                      <a:pt x="42272" y="24270"/>
                      <a:pt x="42272" y="24494"/>
                      <a:pt x="42272" y="24270"/>
                    </a:cubicBezTo>
                    <a:cubicBezTo>
                      <a:pt x="42272" y="24047"/>
                      <a:pt x="42272" y="24580"/>
                      <a:pt x="42100" y="24597"/>
                    </a:cubicBezTo>
                    <a:lnTo>
                      <a:pt x="42220" y="24597"/>
                    </a:lnTo>
                    <a:lnTo>
                      <a:pt x="42220" y="24597"/>
                    </a:lnTo>
                    <a:cubicBezTo>
                      <a:pt x="42220" y="24597"/>
                      <a:pt x="42220" y="24700"/>
                      <a:pt x="42220" y="24734"/>
                    </a:cubicBezTo>
                    <a:cubicBezTo>
                      <a:pt x="42220" y="24769"/>
                      <a:pt x="42220" y="24837"/>
                      <a:pt x="42220" y="24734"/>
                    </a:cubicBezTo>
                    <a:cubicBezTo>
                      <a:pt x="42259" y="24896"/>
                      <a:pt x="42365" y="25033"/>
                      <a:pt x="42512" y="25112"/>
                    </a:cubicBezTo>
                    <a:cubicBezTo>
                      <a:pt x="42512" y="25112"/>
                      <a:pt x="42821" y="25438"/>
                      <a:pt x="42770" y="25610"/>
                    </a:cubicBezTo>
                    <a:lnTo>
                      <a:pt x="42770" y="25610"/>
                    </a:lnTo>
                    <a:cubicBezTo>
                      <a:pt x="42993" y="25851"/>
                      <a:pt x="43027" y="26314"/>
                      <a:pt x="43045" y="25782"/>
                    </a:cubicBezTo>
                    <a:cubicBezTo>
                      <a:pt x="43045" y="25645"/>
                      <a:pt x="43045" y="25438"/>
                      <a:pt x="43165" y="25627"/>
                    </a:cubicBezTo>
                    <a:cubicBezTo>
                      <a:pt x="43133" y="25786"/>
                      <a:pt x="43133" y="25950"/>
                      <a:pt x="43165" y="26108"/>
                    </a:cubicBezTo>
                    <a:cubicBezTo>
                      <a:pt x="43165" y="26108"/>
                      <a:pt x="43165" y="26297"/>
                      <a:pt x="43165" y="26211"/>
                    </a:cubicBezTo>
                    <a:lnTo>
                      <a:pt x="43165" y="26366"/>
                    </a:lnTo>
                    <a:cubicBezTo>
                      <a:pt x="43371" y="26177"/>
                      <a:pt x="43646" y="26366"/>
                      <a:pt x="43766" y="26091"/>
                    </a:cubicBezTo>
                    <a:lnTo>
                      <a:pt x="43766" y="26091"/>
                    </a:lnTo>
                    <a:cubicBezTo>
                      <a:pt x="43766" y="25833"/>
                      <a:pt x="44024" y="25593"/>
                      <a:pt x="44058" y="25318"/>
                    </a:cubicBezTo>
                    <a:lnTo>
                      <a:pt x="44058" y="25318"/>
                    </a:lnTo>
                    <a:cubicBezTo>
                      <a:pt x="44058" y="25318"/>
                      <a:pt x="44058" y="25146"/>
                      <a:pt x="44058" y="25215"/>
                    </a:cubicBezTo>
                    <a:cubicBezTo>
                      <a:pt x="44058" y="25284"/>
                      <a:pt x="44058" y="25559"/>
                      <a:pt x="44058" y="25507"/>
                    </a:cubicBezTo>
                    <a:cubicBezTo>
                      <a:pt x="44058" y="25851"/>
                      <a:pt x="44247" y="26280"/>
                      <a:pt x="44642" y="26091"/>
                    </a:cubicBezTo>
                    <a:cubicBezTo>
                      <a:pt x="44947" y="26440"/>
                      <a:pt x="44947" y="26961"/>
                      <a:pt x="44642" y="27311"/>
                    </a:cubicBezTo>
                    <a:cubicBezTo>
                      <a:pt x="44642" y="27105"/>
                      <a:pt x="44487" y="27757"/>
                      <a:pt x="44642" y="27877"/>
                    </a:cubicBezTo>
                    <a:cubicBezTo>
                      <a:pt x="44230" y="27877"/>
                      <a:pt x="44505" y="28290"/>
                      <a:pt x="44109" y="28376"/>
                    </a:cubicBezTo>
                    <a:cubicBezTo>
                      <a:pt x="44109" y="28496"/>
                      <a:pt x="44109" y="28599"/>
                      <a:pt x="44109" y="28719"/>
                    </a:cubicBezTo>
                    <a:cubicBezTo>
                      <a:pt x="43847" y="28757"/>
                      <a:pt x="43612" y="28900"/>
                      <a:pt x="43457" y="29114"/>
                    </a:cubicBezTo>
                    <a:cubicBezTo>
                      <a:pt x="43457" y="29475"/>
                      <a:pt x="42924" y="29595"/>
                      <a:pt x="42684" y="29767"/>
                    </a:cubicBezTo>
                    <a:cubicBezTo>
                      <a:pt x="42443" y="29939"/>
                      <a:pt x="42495" y="30042"/>
                      <a:pt x="42357" y="29990"/>
                    </a:cubicBezTo>
                    <a:cubicBezTo>
                      <a:pt x="42248" y="30193"/>
                      <a:pt x="42016" y="30299"/>
                      <a:pt x="41791" y="30248"/>
                    </a:cubicBezTo>
                    <a:cubicBezTo>
                      <a:pt x="41649" y="30457"/>
                      <a:pt x="41423" y="30595"/>
                      <a:pt x="41172" y="30626"/>
                    </a:cubicBezTo>
                    <a:cubicBezTo>
                      <a:pt x="41035" y="30317"/>
                      <a:pt x="41172" y="29904"/>
                      <a:pt x="40897" y="29629"/>
                    </a:cubicBezTo>
                    <a:cubicBezTo>
                      <a:pt x="41155" y="29011"/>
                      <a:pt x="40262" y="28204"/>
                      <a:pt x="39850" y="27706"/>
                    </a:cubicBezTo>
                    <a:cubicBezTo>
                      <a:pt x="39850" y="27293"/>
                      <a:pt x="39747" y="26589"/>
                      <a:pt x="39283" y="26606"/>
                    </a:cubicBezTo>
                    <a:cubicBezTo>
                      <a:pt x="39111" y="25799"/>
                      <a:pt x="38166" y="25370"/>
                      <a:pt x="38338" y="24751"/>
                    </a:cubicBezTo>
                    <a:cubicBezTo>
                      <a:pt x="38218" y="24975"/>
                      <a:pt x="38338" y="25249"/>
                      <a:pt x="38201" y="25438"/>
                    </a:cubicBezTo>
                    <a:cubicBezTo>
                      <a:pt x="37948" y="25233"/>
                      <a:pt x="37727" y="24989"/>
                      <a:pt x="37548" y="24717"/>
                    </a:cubicBezTo>
                    <a:cubicBezTo>
                      <a:pt x="37840" y="25370"/>
                      <a:pt x="38304" y="26022"/>
                      <a:pt x="38682" y="26692"/>
                    </a:cubicBezTo>
                    <a:lnTo>
                      <a:pt x="38682" y="26692"/>
                    </a:lnTo>
                    <a:cubicBezTo>
                      <a:pt x="38718" y="26746"/>
                      <a:pt x="38765" y="26793"/>
                      <a:pt x="38819" y="26830"/>
                    </a:cubicBezTo>
                    <a:cubicBezTo>
                      <a:pt x="38819" y="26830"/>
                      <a:pt x="38716" y="26830"/>
                      <a:pt x="38699" y="26830"/>
                    </a:cubicBezTo>
                    <a:cubicBezTo>
                      <a:pt x="38699" y="27328"/>
                      <a:pt x="39231" y="27311"/>
                      <a:pt x="39317" y="27826"/>
                    </a:cubicBezTo>
                    <a:cubicBezTo>
                      <a:pt x="39180" y="27826"/>
                      <a:pt x="39420" y="28187"/>
                      <a:pt x="39317" y="28376"/>
                    </a:cubicBezTo>
                    <a:cubicBezTo>
                      <a:pt x="39214" y="28565"/>
                      <a:pt x="39644" y="28719"/>
                      <a:pt x="39712" y="28891"/>
                    </a:cubicBezTo>
                    <a:cubicBezTo>
                      <a:pt x="39781" y="29063"/>
                      <a:pt x="39884" y="29561"/>
                      <a:pt x="40021" y="29715"/>
                    </a:cubicBezTo>
                    <a:cubicBezTo>
                      <a:pt x="40159" y="29870"/>
                      <a:pt x="40142" y="30007"/>
                      <a:pt x="40021" y="29801"/>
                    </a:cubicBezTo>
                    <a:cubicBezTo>
                      <a:pt x="39901" y="29595"/>
                      <a:pt x="40021" y="30042"/>
                      <a:pt x="40193" y="29939"/>
                    </a:cubicBezTo>
                    <a:cubicBezTo>
                      <a:pt x="40571" y="29939"/>
                      <a:pt x="40708" y="30591"/>
                      <a:pt x="40932" y="30626"/>
                    </a:cubicBezTo>
                    <a:cubicBezTo>
                      <a:pt x="41155" y="30660"/>
                      <a:pt x="40932" y="30746"/>
                      <a:pt x="41035" y="30746"/>
                    </a:cubicBezTo>
                    <a:cubicBezTo>
                      <a:pt x="41037" y="30889"/>
                      <a:pt x="40935" y="31013"/>
                      <a:pt x="40794" y="31038"/>
                    </a:cubicBezTo>
                    <a:cubicBezTo>
                      <a:pt x="41035" y="31038"/>
                      <a:pt x="41086" y="31364"/>
                      <a:pt x="41327" y="31450"/>
                    </a:cubicBezTo>
                    <a:cubicBezTo>
                      <a:pt x="41782" y="31205"/>
                      <a:pt x="42267" y="31020"/>
                      <a:pt x="42770" y="30901"/>
                    </a:cubicBezTo>
                    <a:cubicBezTo>
                      <a:pt x="42857" y="30834"/>
                      <a:pt x="42933" y="30752"/>
                      <a:pt x="42993" y="30660"/>
                    </a:cubicBezTo>
                    <a:cubicBezTo>
                      <a:pt x="43165" y="30660"/>
                      <a:pt x="42993" y="31021"/>
                      <a:pt x="42993" y="31210"/>
                    </a:cubicBezTo>
                    <a:cubicBezTo>
                      <a:pt x="42993" y="31399"/>
                      <a:pt x="42993" y="31210"/>
                      <a:pt x="42993" y="31210"/>
                    </a:cubicBezTo>
                    <a:cubicBezTo>
                      <a:pt x="42684" y="33580"/>
                      <a:pt x="39163" y="34989"/>
                      <a:pt x="38922" y="37033"/>
                    </a:cubicBezTo>
                    <a:cubicBezTo>
                      <a:pt x="38922" y="37033"/>
                      <a:pt x="38716" y="37204"/>
                      <a:pt x="38802" y="37307"/>
                    </a:cubicBezTo>
                    <a:cubicBezTo>
                      <a:pt x="38888" y="37410"/>
                      <a:pt x="38596" y="37874"/>
                      <a:pt x="38802" y="38012"/>
                    </a:cubicBezTo>
                    <a:cubicBezTo>
                      <a:pt x="38630" y="38407"/>
                      <a:pt x="38493" y="38991"/>
                      <a:pt x="38355" y="39248"/>
                    </a:cubicBezTo>
                    <a:cubicBezTo>
                      <a:pt x="38218" y="39506"/>
                      <a:pt x="38149" y="39369"/>
                      <a:pt x="38355" y="39351"/>
                    </a:cubicBezTo>
                    <a:cubicBezTo>
                      <a:pt x="38063" y="39781"/>
                      <a:pt x="37514" y="39901"/>
                      <a:pt x="37119" y="40193"/>
                    </a:cubicBezTo>
                    <a:lnTo>
                      <a:pt x="37119" y="40193"/>
                    </a:lnTo>
                    <a:cubicBezTo>
                      <a:pt x="36902" y="40432"/>
                      <a:pt x="36622" y="40604"/>
                      <a:pt x="36311" y="40691"/>
                    </a:cubicBezTo>
                    <a:cubicBezTo>
                      <a:pt x="36339" y="40751"/>
                      <a:pt x="36339" y="40820"/>
                      <a:pt x="36311" y="40880"/>
                    </a:cubicBezTo>
                    <a:cubicBezTo>
                      <a:pt x="36311" y="40880"/>
                      <a:pt x="36311" y="41000"/>
                      <a:pt x="36311" y="41035"/>
                    </a:cubicBezTo>
                    <a:cubicBezTo>
                      <a:pt x="36311" y="41069"/>
                      <a:pt x="36311" y="41292"/>
                      <a:pt x="36311" y="41395"/>
                    </a:cubicBezTo>
                    <a:cubicBezTo>
                      <a:pt x="36311" y="41498"/>
                      <a:pt x="36311" y="41310"/>
                      <a:pt x="36311" y="41292"/>
                    </a:cubicBezTo>
                    <a:lnTo>
                      <a:pt x="36311" y="41292"/>
                    </a:lnTo>
                    <a:lnTo>
                      <a:pt x="36311" y="41292"/>
                    </a:lnTo>
                    <a:cubicBezTo>
                      <a:pt x="36311" y="41447"/>
                      <a:pt x="36122" y="41567"/>
                      <a:pt x="36054" y="41705"/>
                    </a:cubicBezTo>
                    <a:lnTo>
                      <a:pt x="36054" y="41705"/>
                    </a:lnTo>
                    <a:cubicBezTo>
                      <a:pt x="35865" y="42117"/>
                      <a:pt x="35126" y="41997"/>
                      <a:pt x="35006" y="42392"/>
                    </a:cubicBezTo>
                    <a:lnTo>
                      <a:pt x="35126" y="42392"/>
                    </a:lnTo>
                    <a:cubicBezTo>
                      <a:pt x="35084" y="42471"/>
                      <a:pt x="35025" y="42542"/>
                      <a:pt x="34954" y="42598"/>
                    </a:cubicBezTo>
                    <a:lnTo>
                      <a:pt x="34954" y="42598"/>
                    </a:lnTo>
                    <a:cubicBezTo>
                      <a:pt x="34162" y="43425"/>
                      <a:pt x="33158" y="44019"/>
                      <a:pt x="32051" y="44315"/>
                    </a:cubicBezTo>
                    <a:cubicBezTo>
                      <a:pt x="31588" y="44161"/>
                      <a:pt x="31124" y="44453"/>
                      <a:pt x="30660" y="44418"/>
                    </a:cubicBezTo>
                    <a:cubicBezTo>
                      <a:pt x="30660" y="44333"/>
                      <a:pt x="30660" y="44418"/>
                      <a:pt x="30660" y="44418"/>
                    </a:cubicBezTo>
                    <a:cubicBezTo>
                      <a:pt x="30660" y="44418"/>
                      <a:pt x="30557" y="44333"/>
                      <a:pt x="30660" y="44418"/>
                    </a:cubicBezTo>
                    <a:cubicBezTo>
                      <a:pt x="30763" y="44504"/>
                      <a:pt x="30798" y="44230"/>
                      <a:pt x="30660" y="44092"/>
                    </a:cubicBezTo>
                    <a:cubicBezTo>
                      <a:pt x="30987" y="43938"/>
                      <a:pt x="30660" y="43508"/>
                      <a:pt x="30660" y="43199"/>
                    </a:cubicBezTo>
                    <a:cubicBezTo>
                      <a:pt x="30128" y="42392"/>
                      <a:pt x="30437" y="41189"/>
                      <a:pt x="29836" y="40296"/>
                    </a:cubicBezTo>
                    <a:cubicBezTo>
                      <a:pt x="29836" y="39369"/>
                      <a:pt x="31210" y="38956"/>
                      <a:pt x="30591" y="38046"/>
                    </a:cubicBezTo>
                    <a:cubicBezTo>
                      <a:pt x="30866" y="37840"/>
                      <a:pt x="30591" y="37428"/>
                      <a:pt x="30471" y="37204"/>
                    </a:cubicBezTo>
                    <a:lnTo>
                      <a:pt x="30574" y="37204"/>
                    </a:lnTo>
                    <a:cubicBezTo>
                      <a:pt x="30574" y="37204"/>
                      <a:pt x="30334" y="37204"/>
                      <a:pt x="30454" y="37050"/>
                    </a:cubicBezTo>
                    <a:cubicBezTo>
                      <a:pt x="30248" y="36449"/>
                      <a:pt x="29561" y="36242"/>
                      <a:pt x="29423" y="35607"/>
                    </a:cubicBezTo>
                    <a:cubicBezTo>
                      <a:pt x="29578" y="35607"/>
                      <a:pt x="29612" y="35487"/>
                      <a:pt x="29630" y="35298"/>
                    </a:cubicBezTo>
                    <a:cubicBezTo>
                      <a:pt x="29647" y="35109"/>
                      <a:pt x="29767" y="35298"/>
                      <a:pt x="29819" y="35298"/>
                    </a:cubicBezTo>
                    <a:cubicBezTo>
                      <a:pt x="29741" y="35301"/>
                      <a:pt x="29670" y="35252"/>
                      <a:pt x="29647" y="35177"/>
                    </a:cubicBezTo>
                    <a:cubicBezTo>
                      <a:pt x="29767" y="35177"/>
                      <a:pt x="29750" y="35057"/>
                      <a:pt x="29647" y="35040"/>
                    </a:cubicBezTo>
                    <a:cubicBezTo>
                      <a:pt x="29897" y="34793"/>
                      <a:pt x="29972" y="34419"/>
                      <a:pt x="29836" y="34095"/>
                    </a:cubicBezTo>
                    <a:cubicBezTo>
                      <a:pt x="29681" y="34198"/>
                      <a:pt x="29612" y="34095"/>
                      <a:pt x="29612" y="33906"/>
                    </a:cubicBezTo>
                    <a:cubicBezTo>
                      <a:pt x="29559" y="33957"/>
                      <a:pt x="29477" y="33957"/>
                      <a:pt x="29423" y="33906"/>
                    </a:cubicBezTo>
                    <a:cubicBezTo>
                      <a:pt x="29269" y="34095"/>
                      <a:pt x="28771" y="34078"/>
                      <a:pt x="28496" y="34044"/>
                    </a:cubicBezTo>
                    <a:cubicBezTo>
                      <a:pt x="28118" y="32807"/>
                      <a:pt x="26778" y="33529"/>
                      <a:pt x="25937" y="33821"/>
                    </a:cubicBezTo>
                    <a:cubicBezTo>
                      <a:pt x="24219" y="33305"/>
                      <a:pt x="23961" y="34490"/>
                      <a:pt x="22501" y="32687"/>
                    </a:cubicBezTo>
                    <a:cubicBezTo>
                      <a:pt x="22330" y="32687"/>
                      <a:pt x="22364" y="32429"/>
                      <a:pt x="22226" y="32361"/>
                    </a:cubicBezTo>
                    <a:cubicBezTo>
                      <a:pt x="22089" y="32292"/>
                      <a:pt x="22226" y="32240"/>
                      <a:pt x="22226" y="32137"/>
                    </a:cubicBezTo>
                    <a:cubicBezTo>
                      <a:pt x="22226" y="32034"/>
                      <a:pt x="21883" y="31897"/>
                      <a:pt x="21986" y="31828"/>
                    </a:cubicBezTo>
                    <a:cubicBezTo>
                      <a:pt x="21608" y="31828"/>
                      <a:pt x="21814" y="31485"/>
                      <a:pt x="21591" y="31536"/>
                    </a:cubicBezTo>
                    <a:cubicBezTo>
                      <a:pt x="21368" y="31588"/>
                      <a:pt x="21591" y="31450"/>
                      <a:pt x="21436" y="31450"/>
                    </a:cubicBezTo>
                    <a:lnTo>
                      <a:pt x="21436" y="31450"/>
                    </a:lnTo>
                    <a:lnTo>
                      <a:pt x="21436" y="31450"/>
                    </a:lnTo>
                    <a:cubicBezTo>
                      <a:pt x="21436" y="31450"/>
                      <a:pt x="21436" y="31450"/>
                      <a:pt x="21436" y="31347"/>
                    </a:cubicBezTo>
                    <a:cubicBezTo>
                      <a:pt x="21436" y="31244"/>
                      <a:pt x="21625" y="31347"/>
                      <a:pt x="21642" y="31347"/>
                    </a:cubicBezTo>
                    <a:cubicBezTo>
                      <a:pt x="21660" y="31347"/>
                      <a:pt x="21076" y="31347"/>
                      <a:pt x="21247" y="31158"/>
                    </a:cubicBezTo>
                    <a:cubicBezTo>
                      <a:pt x="21110" y="31158"/>
                      <a:pt x="21076" y="31158"/>
                      <a:pt x="21041" y="30986"/>
                    </a:cubicBezTo>
                    <a:cubicBezTo>
                      <a:pt x="21007" y="30815"/>
                      <a:pt x="21162" y="30986"/>
                      <a:pt x="21213" y="30986"/>
                    </a:cubicBezTo>
                    <a:cubicBezTo>
                      <a:pt x="21265" y="30986"/>
                      <a:pt x="21076" y="30986"/>
                      <a:pt x="21024" y="30986"/>
                    </a:cubicBezTo>
                    <a:cubicBezTo>
                      <a:pt x="20973" y="30986"/>
                      <a:pt x="21024" y="30849"/>
                      <a:pt x="21024" y="30780"/>
                    </a:cubicBezTo>
                    <a:cubicBezTo>
                      <a:pt x="21024" y="30712"/>
                      <a:pt x="21179" y="30935"/>
                      <a:pt x="21299" y="30780"/>
                    </a:cubicBezTo>
                    <a:cubicBezTo>
                      <a:pt x="21419" y="30626"/>
                      <a:pt x="21024" y="30694"/>
                      <a:pt x="21144" y="30626"/>
                    </a:cubicBezTo>
                    <a:lnTo>
                      <a:pt x="21144" y="30626"/>
                    </a:lnTo>
                    <a:cubicBezTo>
                      <a:pt x="21144" y="30626"/>
                      <a:pt x="20990" y="30368"/>
                      <a:pt x="20921" y="30299"/>
                    </a:cubicBezTo>
                    <a:cubicBezTo>
                      <a:pt x="21365" y="29847"/>
                      <a:pt x="21523" y="29187"/>
                      <a:pt x="21333" y="28582"/>
                    </a:cubicBezTo>
                    <a:cubicBezTo>
                      <a:pt x="21471" y="28582"/>
                      <a:pt x="21333" y="28393"/>
                      <a:pt x="21436" y="28358"/>
                    </a:cubicBezTo>
                    <a:cubicBezTo>
                      <a:pt x="21539" y="28324"/>
                      <a:pt x="21265" y="28255"/>
                      <a:pt x="21247" y="28135"/>
                    </a:cubicBezTo>
                    <a:lnTo>
                      <a:pt x="21247" y="28221"/>
                    </a:lnTo>
                    <a:cubicBezTo>
                      <a:pt x="21228" y="27927"/>
                      <a:pt x="21357" y="27644"/>
                      <a:pt x="21591" y="27465"/>
                    </a:cubicBezTo>
                    <a:cubicBezTo>
                      <a:pt x="21952" y="26297"/>
                      <a:pt x="23103" y="25833"/>
                      <a:pt x="23927" y="25043"/>
                    </a:cubicBezTo>
                    <a:cubicBezTo>
                      <a:pt x="23935" y="24883"/>
                      <a:pt x="23935" y="24723"/>
                      <a:pt x="23927" y="24562"/>
                    </a:cubicBezTo>
                    <a:cubicBezTo>
                      <a:pt x="23927" y="24373"/>
                      <a:pt x="24288" y="24288"/>
                      <a:pt x="24133" y="24081"/>
                    </a:cubicBezTo>
                    <a:cubicBezTo>
                      <a:pt x="24677" y="23812"/>
                      <a:pt x="25139" y="23403"/>
                      <a:pt x="25473" y="22896"/>
                    </a:cubicBezTo>
                    <a:cubicBezTo>
                      <a:pt x="25473" y="23240"/>
                      <a:pt x="26005" y="23223"/>
                      <a:pt x="26194" y="23102"/>
                    </a:cubicBezTo>
                    <a:cubicBezTo>
                      <a:pt x="26521" y="23497"/>
                      <a:pt x="27225" y="22828"/>
                      <a:pt x="27586" y="22725"/>
                    </a:cubicBezTo>
                    <a:cubicBezTo>
                      <a:pt x="27946" y="22621"/>
                      <a:pt x="28771" y="22725"/>
                      <a:pt x="29063" y="22587"/>
                    </a:cubicBezTo>
                    <a:cubicBezTo>
                      <a:pt x="29355" y="22450"/>
                      <a:pt x="29286" y="22828"/>
                      <a:pt x="29372" y="22587"/>
                    </a:cubicBezTo>
                    <a:cubicBezTo>
                      <a:pt x="29647" y="22828"/>
                      <a:pt x="29939" y="22450"/>
                      <a:pt x="30162" y="22587"/>
                    </a:cubicBezTo>
                    <a:cubicBezTo>
                      <a:pt x="30162" y="22398"/>
                      <a:pt x="30299" y="22725"/>
                      <a:pt x="30385" y="22776"/>
                    </a:cubicBezTo>
                    <a:cubicBezTo>
                      <a:pt x="30746" y="22415"/>
                      <a:pt x="30488" y="22862"/>
                      <a:pt x="30385" y="23017"/>
                    </a:cubicBezTo>
                    <a:cubicBezTo>
                      <a:pt x="31021" y="23446"/>
                      <a:pt x="29956" y="23618"/>
                      <a:pt x="30385" y="23910"/>
                    </a:cubicBezTo>
                    <a:cubicBezTo>
                      <a:pt x="30385" y="23910"/>
                      <a:pt x="30385" y="23910"/>
                      <a:pt x="30506" y="23910"/>
                    </a:cubicBezTo>
                    <a:cubicBezTo>
                      <a:pt x="30626" y="23910"/>
                      <a:pt x="30506" y="23824"/>
                      <a:pt x="30506" y="23910"/>
                    </a:cubicBezTo>
                    <a:cubicBezTo>
                      <a:pt x="30677" y="24322"/>
                      <a:pt x="31313" y="24013"/>
                      <a:pt x="31622" y="24236"/>
                    </a:cubicBezTo>
                    <a:cubicBezTo>
                      <a:pt x="34851" y="26469"/>
                      <a:pt x="32343" y="23566"/>
                      <a:pt x="34473" y="24236"/>
                    </a:cubicBezTo>
                    <a:cubicBezTo>
                      <a:pt x="34834" y="24580"/>
                      <a:pt x="35641" y="24477"/>
                      <a:pt x="36191" y="24700"/>
                    </a:cubicBezTo>
                    <a:cubicBezTo>
                      <a:pt x="36741" y="24923"/>
                      <a:pt x="36724" y="24597"/>
                      <a:pt x="37084" y="24494"/>
                    </a:cubicBezTo>
                    <a:cubicBezTo>
                      <a:pt x="36844" y="24580"/>
                      <a:pt x="37084" y="24494"/>
                      <a:pt x="37187" y="24494"/>
                    </a:cubicBezTo>
                    <a:cubicBezTo>
                      <a:pt x="37290" y="24494"/>
                      <a:pt x="37187" y="24494"/>
                      <a:pt x="37187" y="24494"/>
                    </a:cubicBezTo>
                    <a:cubicBezTo>
                      <a:pt x="37187" y="24494"/>
                      <a:pt x="37411" y="24494"/>
                      <a:pt x="37462" y="24494"/>
                    </a:cubicBezTo>
                    <a:cubicBezTo>
                      <a:pt x="37514" y="24494"/>
                      <a:pt x="37565" y="24614"/>
                      <a:pt x="37565" y="24665"/>
                    </a:cubicBezTo>
                    <a:cubicBezTo>
                      <a:pt x="37565" y="24717"/>
                      <a:pt x="37565" y="24562"/>
                      <a:pt x="37565" y="24494"/>
                    </a:cubicBezTo>
                    <a:cubicBezTo>
                      <a:pt x="38733" y="24889"/>
                      <a:pt x="38338" y="22776"/>
                      <a:pt x="38407" y="22381"/>
                    </a:cubicBezTo>
                    <a:cubicBezTo>
                      <a:pt x="38218" y="22536"/>
                      <a:pt x="37892" y="22381"/>
                      <a:pt x="37840" y="22656"/>
                    </a:cubicBezTo>
                    <a:cubicBezTo>
                      <a:pt x="37496" y="23051"/>
                      <a:pt x="36775" y="22106"/>
                      <a:pt x="36775" y="22656"/>
                    </a:cubicBezTo>
                    <a:cubicBezTo>
                      <a:pt x="36620" y="22656"/>
                      <a:pt x="36225" y="22828"/>
                      <a:pt x="36277" y="22536"/>
                    </a:cubicBezTo>
                    <a:cubicBezTo>
                      <a:pt x="36277" y="22536"/>
                      <a:pt x="36277" y="22536"/>
                      <a:pt x="36140" y="22536"/>
                    </a:cubicBezTo>
                    <a:cubicBezTo>
                      <a:pt x="36002" y="22536"/>
                      <a:pt x="35951" y="22690"/>
                      <a:pt x="35933" y="22536"/>
                    </a:cubicBezTo>
                    <a:lnTo>
                      <a:pt x="35727" y="22536"/>
                    </a:lnTo>
                    <a:cubicBezTo>
                      <a:pt x="35727" y="22450"/>
                      <a:pt x="35951" y="22536"/>
                      <a:pt x="35951" y="22398"/>
                    </a:cubicBezTo>
                    <a:cubicBezTo>
                      <a:pt x="35951" y="22261"/>
                      <a:pt x="35556" y="22501"/>
                      <a:pt x="35762" y="22398"/>
                    </a:cubicBezTo>
                    <a:cubicBezTo>
                      <a:pt x="35521" y="22244"/>
                      <a:pt x="35762" y="22106"/>
                      <a:pt x="35401" y="22020"/>
                    </a:cubicBezTo>
                    <a:cubicBezTo>
                      <a:pt x="35040" y="21934"/>
                      <a:pt x="35401" y="21883"/>
                      <a:pt x="35401" y="21831"/>
                    </a:cubicBezTo>
                    <a:cubicBezTo>
                      <a:pt x="35401" y="21780"/>
                      <a:pt x="35401" y="21952"/>
                      <a:pt x="35573" y="21831"/>
                    </a:cubicBezTo>
                    <a:lnTo>
                      <a:pt x="35573" y="21831"/>
                    </a:lnTo>
                    <a:cubicBezTo>
                      <a:pt x="35573" y="21831"/>
                      <a:pt x="35710" y="21831"/>
                      <a:pt x="35676" y="21694"/>
                    </a:cubicBezTo>
                    <a:cubicBezTo>
                      <a:pt x="35641" y="21557"/>
                      <a:pt x="35504" y="21522"/>
                      <a:pt x="35676" y="21488"/>
                    </a:cubicBezTo>
                    <a:cubicBezTo>
                      <a:pt x="35195" y="21660"/>
                      <a:pt x="35435" y="20938"/>
                      <a:pt x="35779" y="21179"/>
                    </a:cubicBezTo>
                    <a:cubicBezTo>
                      <a:pt x="35779" y="21041"/>
                      <a:pt x="36071" y="21179"/>
                      <a:pt x="36225" y="21179"/>
                    </a:cubicBezTo>
                    <a:cubicBezTo>
                      <a:pt x="35916" y="21058"/>
                      <a:pt x="36363" y="21076"/>
                      <a:pt x="36397" y="20990"/>
                    </a:cubicBezTo>
                    <a:cubicBezTo>
                      <a:pt x="35676" y="20766"/>
                      <a:pt x="36775" y="20869"/>
                      <a:pt x="36827" y="20784"/>
                    </a:cubicBezTo>
                    <a:cubicBezTo>
                      <a:pt x="36964" y="20406"/>
                      <a:pt x="37479" y="20457"/>
                      <a:pt x="37788" y="20371"/>
                    </a:cubicBezTo>
                    <a:cubicBezTo>
                      <a:pt x="37788" y="20543"/>
                      <a:pt x="37960" y="20560"/>
                      <a:pt x="38063" y="20371"/>
                    </a:cubicBezTo>
                    <a:cubicBezTo>
                      <a:pt x="38166" y="20182"/>
                      <a:pt x="38201" y="20663"/>
                      <a:pt x="38287" y="20526"/>
                    </a:cubicBezTo>
                    <a:cubicBezTo>
                      <a:pt x="40760" y="21024"/>
                      <a:pt x="38991" y="19324"/>
                      <a:pt x="37857" y="19049"/>
                    </a:cubicBezTo>
                    <a:cubicBezTo>
                      <a:pt x="37857" y="19049"/>
                      <a:pt x="37857" y="19049"/>
                      <a:pt x="37857" y="18911"/>
                    </a:cubicBezTo>
                    <a:cubicBezTo>
                      <a:pt x="37857" y="18774"/>
                      <a:pt x="38063" y="18911"/>
                      <a:pt x="37977" y="18791"/>
                    </a:cubicBezTo>
                    <a:cubicBezTo>
                      <a:pt x="37892" y="18671"/>
                      <a:pt x="38201" y="18637"/>
                      <a:pt x="37977" y="18551"/>
                    </a:cubicBezTo>
                    <a:cubicBezTo>
                      <a:pt x="37754" y="18465"/>
                      <a:pt x="37874" y="18551"/>
                      <a:pt x="37857" y="18448"/>
                    </a:cubicBezTo>
                    <a:cubicBezTo>
                      <a:pt x="37840" y="18345"/>
                      <a:pt x="38029" y="18448"/>
                      <a:pt x="38029" y="18448"/>
                    </a:cubicBezTo>
                    <a:cubicBezTo>
                      <a:pt x="38029" y="18448"/>
                      <a:pt x="38166" y="18310"/>
                      <a:pt x="38132" y="18224"/>
                    </a:cubicBezTo>
                    <a:cubicBezTo>
                      <a:pt x="38098" y="18138"/>
                      <a:pt x="37651" y="18224"/>
                      <a:pt x="37548" y="18499"/>
                    </a:cubicBezTo>
                    <a:cubicBezTo>
                      <a:pt x="37548" y="18499"/>
                      <a:pt x="37445" y="18585"/>
                      <a:pt x="37359" y="18499"/>
                    </a:cubicBezTo>
                    <a:cubicBezTo>
                      <a:pt x="37273" y="18413"/>
                      <a:pt x="37256" y="18499"/>
                      <a:pt x="37204" y="18499"/>
                    </a:cubicBezTo>
                    <a:cubicBezTo>
                      <a:pt x="37153" y="18499"/>
                      <a:pt x="37204" y="18774"/>
                      <a:pt x="37204" y="18705"/>
                    </a:cubicBezTo>
                    <a:cubicBezTo>
                      <a:pt x="37204" y="18637"/>
                      <a:pt x="37204" y="18585"/>
                      <a:pt x="37204" y="18568"/>
                    </a:cubicBezTo>
                    <a:cubicBezTo>
                      <a:pt x="37204" y="18551"/>
                      <a:pt x="36964" y="18722"/>
                      <a:pt x="36878" y="18791"/>
                    </a:cubicBezTo>
                    <a:cubicBezTo>
                      <a:pt x="36792" y="18860"/>
                      <a:pt x="37170" y="18791"/>
                      <a:pt x="37136" y="18946"/>
                    </a:cubicBezTo>
                    <a:cubicBezTo>
                      <a:pt x="37101" y="19100"/>
                      <a:pt x="37136" y="18946"/>
                      <a:pt x="37136" y="18946"/>
                    </a:cubicBezTo>
                    <a:cubicBezTo>
                      <a:pt x="37136" y="18946"/>
                      <a:pt x="37136" y="19066"/>
                      <a:pt x="37325" y="19049"/>
                    </a:cubicBezTo>
                    <a:cubicBezTo>
                      <a:pt x="37514" y="19032"/>
                      <a:pt x="37016" y="18825"/>
                      <a:pt x="37084" y="18705"/>
                    </a:cubicBezTo>
                    <a:cubicBezTo>
                      <a:pt x="37153" y="18585"/>
                      <a:pt x="37273" y="18980"/>
                      <a:pt x="37393" y="19014"/>
                    </a:cubicBezTo>
                    <a:cubicBezTo>
                      <a:pt x="37514" y="19049"/>
                      <a:pt x="37393" y="19014"/>
                      <a:pt x="37514" y="19014"/>
                    </a:cubicBezTo>
                    <a:cubicBezTo>
                      <a:pt x="37634" y="19014"/>
                      <a:pt x="37617" y="18929"/>
                      <a:pt x="37685" y="18929"/>
                    </a:cubicBezTo>
                    <a:cubicBezTo>
                      <a:pt x="37754" y="18929"/>
                      <a:pt x="37685" y="19152"/>
                      <a:pt x="37462" y="19100"/>
                    </a:cubicBezTo>
                    <a:cubicBezTo>
                      <a:pt x="37239" y="19049"/>
                      <a:pt x="36861" y="19650"/>
                      <a:pt x="36912" y="19100"/>
                    </a:cubicBezTo>
                    <a:cubicBezTo>
                      <a:pt x="36775" y="18980"/>
                      <a:pt x="36466" y="19100"/>
                      <a:pt x="36758" y="18860"/>
                    </a:cubicBezTo>
                    <a:cubicBezTo>
                      <a:pt x="37050" y="18619"/>
                      <a:pt x="36620" y="18602"/>
                      <a:pt x="36500" y="18740"/>
                    </a:cubicBezTo>
                    <a:cubicBezTo>
                      <a:pt x="36380" y="18877"/>
                      <a:pt x="36311" y="18740"/>
                      <a:pt x="36380" y="18619"/>
                    </a:cubicBezTo>
                    <a:cubicBezTo>
                      <a:pt x="36449" y="18499"/>
                      <a:pt x="36191" y="18619"/>
                      <a:pt x="36157" y="18619"/>
                    </a:cubicBezTo>
                    <a:cubicBezTo>
                      <a:pt x="36122" y="18619"/>
                      <a:pt x="36380" y="18619"/>
                      <a:pt x="36449" y="18619"/>
                    </a:cubicBezTo>
                    <a:cubicBezTo>
                      <a:pt x="36396" y="18670"/>
                      <a:pt x="36313" y="18670"/>
                      <a:pt x="36260" y="18619"/>
                    </a:cubicBezTo>
                    <a:cubicBezTo>
                      <a:pt x="36260" y="18791"/>
                      <a:pt x="36122" y="18619"/>
                      <a:pt x="36088" y="18740"/>
                    </a:cubicBezTo>
                    <a:cubicBezTo>
                      <a:pt x="36054" y="18860"/>
                      <a:pt x="36088" y="18929"/>
                      <a:pt x="35916" y="18946"/>
                    </a:cubicBezTo>
                    <a:cubicBezTo>
                      <a:pt x="35744" y="18963"/>
                      <a:pt x="35916" y="19221"/>
                      <a:pt x="35796" y="19083"/>
                    </a:cubicBezTo>
                    <a:cubicBezTo>
                      <a:pt x="35916" y="19392"/>
                      <a:pt x="35796" y="19409"/>
                      <a:pt x="35607" y="19598"/>
                    </a:cubicBezTo>
                    <a:cubicBezTo>
                      <a:pt x="35418" y="19787"/>
                      <a:pt x="35607" y="19856"/>
                      <a:pt x="35607" y="19993"/>
                    </a:cubicBezTo>
                    <a:cubicBezTo>
                      <a:pt x="35607" y="20131"/>
                      <a:pt x="35401" y="20097"/>
                      <a:pt x="35470" y="20251"/>
                    </a:cubicBezTo>
                    <a:cubicBezTo>
                      <a:pt x="35538" y="20406"/>
                      <a:pt x="35607" y="20440"/>
                      <a:pt x="35607" y="20698"/>
                    </a:cubicBezTo>
                    <a:cubicBezTo>
                      <a:pt x="35607" y="20955"/>
                      <a:pt x="36054" y="20835"/>
                      <a:pt x="35899" y="20990"/>
                    </a:cubicBezTo>
                    <a:cubicBezTo>
                      <a:pt x="35744" y="21144"/>
                      <a:pt x="35435" y="21144"/>
                      <a:pt x="35212" y="21333"/>
                    </a:cubicBezTo>
                    <a:cubicBezTo>
                      <a:pt x="35212" y="21230"/>
                      <a:pt x="35212" y="21179"/>
                      <a:pt x="35315" y="21144"/>
                    </a:cubicBezTo>
                    <a:cubicBezTo>
                      <a:pt x="35109" y="21144"/>
                      <a:pt x="34851" y="20887"/>
                      <a:pt x="34731" y="21144"/>
                    </a:cubicBezTo>
                    <a:cubicBezTo>
                      <a:pt x="34559" y="21144"/>
                      <a:pt x="34611" y="21144"/>
                      <a:pt x="34491" y="21230"/>
                    </a:cubicBezTo>
                    <a:cubicBezTo>
                      <a:pt x="34370" y="21316"/>
                      <a:pt x="34491" y="21333"/>
                      <a:pt x="34611" y="21385"/>
                    </a:cubicBezTo>
                    <a:cubicBezTo>
                      <a:pt x="34731" y="21436"/>
                      <a:pt x="34422" y="21299"/>
                      <a:pt x="34439" y="21385"/>
                    </a:cubicBezTo>
                    <a:cubicBezTo>
                      <a:pt x="34456" y="21471"/>
                      <a:pt x="34559" y="21385"/>
                      <a:pt x="34439" y="21471"/>
                    </a:cubicBezTo>
                    <a:cubicBezTo>
                      <a:pt x="34319" y="21557"/>
                      <a:pt x="34164" y="21350"/>
                      <a:pt x="34439" y="21471"/>
                    </a:cubicBezTo>
                    <a:cubicBezTo>
                      <a:pt x="34302" y="21471"/>
                      <a:pt x="34250" y="21333"/>
                      <a:pt x="34164" y="21282"/>
                    </a:cubicBezTo>
                    <a:cubicBezTo>
                      <a:pt x="34078" y="21230"/>
                      <a:pt x="33924" y="21402"/>
                      <a:pt x="34164" y="21522"/>
                    </a:cubicBezTo>
                    <a:cubicBezTo>
                      <a:pt x="34405" y="21642"/>
                      <a:pt x="34542" y="21986"/>
                      <a:pt x="34164" y="21728"/>
                    </a:cubicBezTo>
                    <a:cubicBezTo>
                      <a:pt x="34164" y="21728"/>
                      <a:pt x="34164" y="21728"/>
                      <a:pt x="34164" y="21728"/>
                    </a:cubicBezTo>
                    <a:cubicBezTo>
                      <a:pt x="34164" y="21728"/>
                      <a:pt x="34164" y="21849"/>
                      <a:pt x="34164" y="21831"/>
                    </a:cubicBezTo>
                    <a:cubicBezTo>
                      <a:pt x="34353" y="21969"/>
                      <a:pt x="34680" y="22020"/>
                      <a:pt x="34662" y="22295"/>
                    </a:cubicBezTo>
                    <a:cubicBezTo>
                      <a:pt x="34542" y="22295"/>
                      <a:pt x="34473" y="22175"/>
                      <a:pt x="34336" y="22295"/>
                    </a:cubicBezTo>
                    <a:cubicBezTo>
                      <a:pt x="34199" y="22415"/>
                      <a:pt x="34645" y="22536"/>
                      <a:pt x="34456" y="22467"/>
                    </a:cubicBezTo>
                    <a:cubicBezTo>
                      <a:pt x="34267" y="22398"/>
                      <a:pt x="34456" y="22467"/>
                      <a:pt x="34456" y="22467"/>
                    </a:cubicBezTo>
                    <a:cubicBezTo>
                      <a:pt x="34456" y="22467"/>
                      <a:pt x="34456" y="22707"/>
                      <a:pt x="34456" y="22776"/>
                    </a:cubicBezTo>
                    <a:cubicBezTo>
                      <a:pt x="34456" y="22845"/>
                      <a:pt x="34216" y="22587"/>
                      <a:pt x="34250" y="22776"/>
                    </a:cubicBezTo>
                    <a:cubicBezTo>
                      <a:pt x="34250" y="22621"/>
                      <a:pt x="34147" y="22639"/>
                      <a:pt x="34078" y="22518"/>
                    </a:cubicBezTo>
                    <a:cubicBezTo>
                      <a:pt x="34010" y="22398"/>
                      <a:pt x="34078" y="22604"/>
                      <a:pt x="34078" y="22656"/>
                    </a:cubicBezTo>
                    <a:cubicBezTo>
                      <a:pt x="33988" y="22604"/>
                      <a:pt x="33946" y="22498"/>
                      <a:pt x="33975" y="22398"/>
                    </a:cubicBezTo>
                    <a:cubicBezTo>
                      <a:pt x="33855" y="22295"/>
                      <a:pt x="33666" y="22226"/>
                      <a:pt x="33855" y="22089"/>
                    </a:cubicBezTo>
                    <a:cubicBezTo>
                      <a:pt x="34044" y="21952"/>
                      <a:pt x="34199" y="22261"/>
                      <a:pt x="34353" y="22089"/>
                    </a:cubicBezTo>
                    <a:cubicBezTo>
                      <a:pt x="34216" y="22089"/>
                      <a:pt x="34061" y="21917"/>
                      <a:pt x="33958" y="22089"/>
                    </a:cubicBezTo>
                    <a:cubicBezTo>
                      <a:pt x="33855" y="22261"/>
                      <a:pt x="33838" y="21969"/>
                      <a:pt x="33786" y="22089"/>
                    </a:cubicBezTo>
                    <a:cubicBezTo>
                      <a:pt x="33546" y="21849"/>
                      <a:pt x="33374" y="21471"/>
                      <a:pt x="33065" y="21316"/>
                    </a:cubicBezTo>
                    <a:cubicBezTo>
                      <a:pt x="33065" y="21127"/>
                      <a:pt x="33065" y="20921"/>
                      <a:pt x="33065" y="20732"/>
                    </a:cubicBezTo>
                    <a:cubicBezTo>
                      <a:pt x="32859" y="20732"/>
                      <a:pt x="32739" y="20457"/>
                      <a:pt x="32584" y="20320"/>
                    </a:cubicBezTo>
                    <a:cubicBezTo>
                      <a:pt x="32429" y="20182"/>
                      <a:pt x="32326" y="20320"/>
                      <a:pt x="32275" y="20320"/>
                    </a:cubicBezTo>
                    <a:cubicBezTo>
                      <a:pt x="32223" y="20320"/>
                      <a:pt x="32275" y="20320"/>
                      <a:pt x="32395" y="20320"/>
                    </a:cubicBezTo>
                    <a:cubicBezTo>
                      <a:pt x="32515" y="20320"/>
                      <a:pt x="32103" y="20062"/>
                      <a:pt x="31931" y="20131"/>
                    </a:cubicBezTo>
                    <a:cubicBezTo>
                      <a:pt x="31759" y="20200"/>
                      <a:pt x="31416" y="19839"/>
                      <a:pt x="31742" y="19856"/>
                    </a:cubicBezTo>
                    <a:cubicBezTo>
                      <a:pt x="31347" y="19616"/>
                      <a:pt x="31536" y="19135"/>
                      <a:pt x="31175" y="19633"/>
                    </a:cubicBezTo>
                    <a:cubicBezTo>
                      <a:pt x="31175" y="19530"/>
                      <a:pt x="31038" y="19409"/>
                      <a:pt x="31175" y="19306"/>
                    </a:cubicBezTo>
                    <a:cubicBezTo>
                      <a:pt x="31313" y="19203"/>
                      <a:pt x="30832" y="19306"/>
                      <a:pt x="30746" y="19427"/>
                    </a:cubicBezTo>
                    <a:cubicBezTo>
                      <a:pt x="30746" y="19942"/>
                      <a:pt x="31347" y="20268"/>
                      <a:pt x="31656" y="20681"/>
                    </a:cubicBezTo>
                    <a:cubicBezTo>
                      <a:pt x="31811" y="20681"/>
                      <a:pt x="32223" y="20681"/>
                      <a:pt x="31983" y="20887"/>
                    </a:cubicBezTo>
                    <a:cubicBezTo>
                      <a:pt x="32223" y="21024"/>
                      <a:pt x="32979" y="21161"/>
                      <a:pt x="32807" y="21539"/>
                    </a:cubicBezTo>
                    <a:cubicBezTo>
                      <a:pt x="32653" y="21539"/>
                      <a:pt x="32807" y="21282"/>
                      <a:pt x="32532" y="21333"/>
                    </a:cubicBezTo>
                    <a:cubicBezTo>
                      <a:pt x="32258" y="21385"/>
                      <a:pt x="32258" y="21539"/>
                      <a:pt x="32309" y="21625"/>
                    </a:cubicBezTo>
                    <a:cubicBezTo>
                      <a:pt x="32670" y="21728"/>
                      <a:pt x="32309" y="21934"/>
                      <a:pt x="32309" y="22141"/>
                    </a:cubicBezTo>
                    <a:cubicBezTo>
                      <a:pt x="32309" y="22347"/>
                      <a:pt x="31845" y="22415"/>
                      <a:pt x="32086" y="22141"/>
                    </a:cubicBezTo>
                    <a:cubicBezTo>
                      <a:pt x="32197" y="21856"/>
                      <a:pt x="32069" y="21534"/>
                      <a:pt x="31794" y="21402"/>
                    </a:cubicBezTo>
                    <a:cubicBezTo>
                      <a:pt x="31639" y="21402"/>
                      <a:pt x="31794" y="21282"/>
                      <a:pt x="31656" y="21230"/>
                    </a:cubicBezTo>
                    <a:cubicBezTo>
                      <a:pt x="31518" y="21226"/>
                      <a:pt x="31393" y="21147"/>
                      <a:pt x="31330" y="21024"/>
                    </a:cubicBezTo>
                    <a:cubicBezTo>
                      <a:pt x="30317" y="21024"/>
                      <a:pt x="30145" y="18980"/>
                      <a:pt x="29080" y="20217"/>
                    </a:cubicBezTo>
                    <a:cubicBezTo>
                      <a:pt x="29080" y="20423"/>
                      <a:pt x="28736" y="20217"/>
                      <a:pt x="28633" y="20114"/>
                    </a:cubicBezTo>
                    <a:cubicBezTo>
                      <a:pt x="27568" y="19993"/>
                      <a:pt x="28633" y="20921"/>
                      <a:pt x="27448" y="21093"/>
                    </a:cubicBezTo>
                    <a:cubicBezTo>
                      <a:pt x="27534" y="21093"/>
                      <a:pt x="27448" y="21265"/>
                      <a:pt x="27448" y="21213"/>
                    </a:cubicBezTo>
                    <a:cubicBezTo>
                      <a:pt x="26744" y="21763"/>
                      <a:pt x="27448" y="21728"/>
                      <a:pt x="27191" y="22003"/>
                    </a:cubicBezTo>
                    <a:cubicBezTo>
                      <a:pt x="26950" y="22003"/>
                      <a:pt x="27070" y="22450"/>
                      <a:pt x="26847" y="22398"/>
                    </a:cubicBezTo>
                    <a:cubicBezTo>
                      <a:pt x="26418" y="22862"/>
                      <a:pt x="25919" y="22398"/>
                      <a:pt x="25421" y="22896"/>
                    </a:cubicBezTo>
                    <a:cubicBezTo>
                      <a:pt x="25095" y="22896"/>
                      <a:pt x="25147" y="22192"/>
                      <a:pt x="24700" y="22501"/>
                    </a:cubicBezTo>
                    <a:cubicBezTo>
                      <a:pt x="24700" y="22501"/>
                      <a:pt x="24494" y="22364"/>
                      <a:pt x="24408" y="22501"/>
                    </a:cubicBezTo>
                    <a:cubicBezTo>
                      <a:pt x="24426" y="22310"/>
                      <a:pt x="24460" y="22120"/>
                      <a:pt x="24511" y="21934"/>
                    </a:cubicBezTo>
                    <a:cubicBezTo>
                      <a:pt x="24185" y="21934"/>
                      <a:pt x="24511" y="21934"/>
                      <a:pt x="24511" y="21763"/>
                    </a:cubicBezTo>
                    <a:cubicBezTo>
                      <a:pt x="24099" y="22020"/>
                      <a:pt x="24614" y="21299"/>
                      <a:pt x="24631" y="21144"/>
                    </a:cubicBezTo>
                    <a:cubicBezTo>
                      <a:pt x="24648" y="20990"/>
                      <a:pt x="24631" y="20595"/>
                      <a:pt x="24734" y="20457"/>
                    </a:cubicBezTo>
                    <a:lnTo>
                      <a:pt x="24734" y="20457"/>
                    </a:lnTo>
                    <a:cubicBezTo>
                      <a:pt x="24734" y="20457"/>
                      <a:pt x="24734" y="20457"/>
                      <a:pt x="24734" y="20337"/>
                    </a:cubicBezTo>
                    <a:cubicBezTo>
                      <a:pt x="24734" y="20217"/>
                      <a:pt x="24734" y="20337"/>
                      <a:pt x="24734" y="20234"/>
                    </a:cubicBezTo>
                    <a:cubicBezTo>
                      <a:pt x="24734" y="20131"/>
                      <a:pt x="24940" y="20097"/>
                      <a:pt x="25026" y="20045"/>
                    </a:cubicBezTo>
                    <a:cubicBezTo>
                      <a:pt x="25112" y="19993"/>
                      <a:pt x="25404" y="20045"/>
                      <a:pt x="25490" y="20045"/>
                    </a:cubicBezTo>
                    <a:cubicBezTo>
                      <a:pt x="25851" y="20045"/>
                      <a:pt x="26246" y="20217"/>
                      <a:pt x="26607" y="20131"/>
                    </a:cubicBezTo>
                    <a:cubicBezTo>
                      <a:pt x="27242" y="20629"/>
                      <a:pt x="26847" y="18911"/>
                      <a:pt x="27276" y="19564"/>
                    </a:cubicBezTo>
                    <a:cubicBezTo>
                      <a:pt x="27276" y="19461"/>
                      <a:pt x="27173" y="19306"/>
                      <a:pt x="27053" y="19289"/>
                    </a:cubicBezTo>
                    <a:cubicBezTo>
                      <a:pt x="27225" y="19066"/>
                      <a:pt x="26899" y="19014"/>
                      <a:pt x="26813" y="18860"/>
                    </a:cubicBezTo>
                    <a:cubicBezTo>
                      <a:pt x="26727" y="18705"/>
                      <a:pt x="26813" y="18619"/>
                      <a:pt x="26950" y="18722"/>
                    </a:cubicBezTo>
                    <a:cubicBezTo>
                      <a:pt x="26847" y="18568"/>
                      <a:pt x="26727" y="18825"/>
                      <a:pt x="26727" y="18551"/>
                    </a:cubicBezTo>
                    <a:cubicBezTo>
                      <a:pt x="26607" y="18551"/>
                      <a:pt x="26400" y="18345"/>
                      <a:pt x="26229" y="18465"/>
                    </a:cubicBezTo>
                    <a:cubicBezTo>
                      <a:pt x="26057" y="18585"/>
                      <a:pt x="26229" y="18465"/>
                      <a:pt x="26229" y="18345"/>
                    </a:cubicBezTo>
                    <a:cubicBezTo>
                      <a:pt x="26229" y="18224"/>
                      <a:pt x="26332" y="18190"/>
                      <a:pt x="26229" y="18345"/>
                    </a:cubicBezTo>
                    <a:cubicBezTo>
                      <a:pt x="26126" y="18499"/>
                      <a:pt x="26229" y="18345"/>
                      <a:pt x="26229" y="18345"/>
                    </a:cubicBezTo>
                    <a:cubicBezTo>
                      <a:pt x="25851" y="18224"/>
                      <a:pt x="26435" y="18207"/>
                      <a:pt x="26555" y="18121"/>
                    </a:cubicBezTo>
                    <a:cubicBezTo>
                      <a:pt x="26692" y="18293"/>
                      <a:pt x="26795" y="18121"/>
                      <a:pt x="27019" y="18241"/>
                    </a:cubicBezTo>
                    <a:cubicBezTo>
                      <a:pt x="26989" y="18096"/>
                      <a:pt x="26949" y="17952"/>
                      <a:pt x="26899" y="17812"/>
                    </a:cubicBezTo>
                    <a:cubicBezTo>
                      <a:pt x="26899" y="17812"/>
                      <a:pt x="27053" y="17812"/>
                      <a:pt x="27105" y="17812"/>
                    </a:cubicBezTo>
                    <a:cubicBezTo>
                      <a:pt x="27156" y="17812"/>
                      <a:pt x="27397" y="18001"/>
                      <a:pt x="27500" y="17812"/>
                    </a:cubicBezTo>
                    <a:cubicBezTo>
                      <a:pt x="27259" y="17623"/>
                      <a:pt x="27775" y="17709"/>
                      <a:pt x="27775" y="17606"/>
                    </a:cubicBezTo>
                    <a:cubicBezTo>
                      <a:pt x="27775" y="17503"/>
                      <a:pt x="27860" y="17383"/>
                      <a:pt x="27895" y="17280"/>
                    </a:cubicBezTo>
                    <a:cubicBezTo>
                      <a:pt x="27929" y="17177"/>
                      <a:pt x="28204" y="16988"/>
                      <a:pt x="28444" y="17125"/>
                    </a:cubicBezTo>
                    <a:cubicBezTo>
                      <a:pt x="28273" y="17125"/>
                      <a:pt x="28221" y="16919"/>
                      <a:pt x="28444" y="17125"/>
                    </a:cubicBezTo>
                    <a:cubicBezTo>
                      <a:pt x="28668" y="17331"/>
                      <a:pt x="28324" y="17005"/>
                      <a:pt x="28547" y="17022"/>
                    </a:cubicBezTo>
                    <a:cubicBezTo>
                      <a:pt x="28187" y="16764"/>
                      <a:pt x="28925" y="16112"/>
                      <a:pt x="29286" y="16438"/>
                    </a:cubicBezTo>
                    <a:cubicBezTo>
                      <a:pt x="29028" y="16249"/>
                      <a:pt x="29389" y="16112"/>
                      <a:pt x="29458" y="16438"/>
                    </a:cubicBezTo>
                    <a:cubicBezTo>
                      <a:pt x="29458" y="16197"/>
                      <a:pt x="29458" y="16438"/>
                      <a:pt x="29595" y="16438"/>
                    </a:cubicBezTo>
                    <a:cubicBezTo>
                      <a:pt x="29441" y="16026"/>
                      <a:pt x="29750" y="16232"/>
                      <a:pt x="29956" y="16301"/>
                    </a:cubicBezTo>
                    <a:cubicBezTo>
                      <a:pt x="29389" y="16043"/>
                      <a:pt x="29544" y="15493"/>
                      <a:pt x="29389" y="15115"/>
                    </a:cubicBezTo>
                    <a:cubicBezTo>
                      <a:pt x="29630" y="15115"/>
                      <a:pt x="29527" y="14961"/>
                      <a:pt x="29664" y="15115"/>
                    </a:cubicBezTo>
                    <a:cubicBezTo>
                      <a:pt x="29664" y="14634"/>
                      <a:pt x="29836" y="15115"/>
                      <a:pt x="30025" y="15115"/>
                    </a:cubicBezTo>
                    <a:cubicBezTo>
                      <a:pt x="30025" y="15373"/>
                      <a:pt x="29527" y="15528"/>
                      <a:pt x="29922" y="16009"/>
                    </a:cubicBezTo>
                    <a:cubicBezTo>
                      <a:pt x="29922" y="15888"/>
                      <a:pt x="30334" y="16009"/>
                      <a:pt x="30059" y="16094"/>
                    </a:cubicBezTo>
                    <a:cubicBezTo>
                      <a:pt x="30591" y="16094"/>
                      <a:pt x="30385" y="15768"/>
                      <a:pt x="30883" y="16094"/>
                    </a:cubicBezTo>
                    <a:cubicBezTo>
                      <a:pt x="31124" y="16472"/>
                      <a:pt x="31656" y="15356"/>
                      <a:pt x="32103" y="15768"/>
                    </a:cubicBezTo>
                    <a:cubicBezTo>
                      <a:pt x="31828" y="15768"/>
                      <a:pt x="32103" y="16043"/>
                      <a:pt x="32326" y="15768"/>
                    </a:cubicBezTo>
                    <a:cubicBezTo>
                      <a:pt x="32299" y="15829"/>
                      <a:pt x="32250" y="15878"/>
                      <a:pt x="32189" y="15905"/>
                    </a:cubicBezTo>
                    <a:cubicBezTo>
                      <a:pt x="34078" y="15820"/>
                      <a:pt x="31656" y="15270"/>
                      <a:pt x="32704" y="14497"/>
                    </a:cubicBezTo>
                    <a:cubicBezTo>
                      <a:pt x="33082" y="15081"/>
                      <a:pt x="33202" y="14686"/>
                      <a:pt x="33031" y="14222"/>
                    </a:cubicBezTo>
                    <a:cubicBezTo>
                      <a:pt x="33031" y="14428"/>
                      <a:pt x="32739" y="14222"/>
                      <a:pt x="32842" y="14068"/>
                    </a:cubicBezTo>
                    <a:cubicBezTo>
                      <a:pt x="32532" y="14068"/>
                      <a:pt x="32842" y="13758"/>
                      <a:pt x="32842" y="13690"/>
                    </a:cubicBezTo>
                    <a:cubicBezTo>
                      <a:pt x="32842" y="13621"/>
                      <a:pt x="33082" y="13690"/>
                      <a:pt x="32979" y="13690"/>
                    </a:cubicBezTo>
                    <a:lnTo>
                      <a:pt x="33615" y="13793"/>
                    </a:lnTo>
                    <a:cubicBezTo>
                      <a:pt x="33426" y="13501"/>
                      <a:pt x="33615" y="13690"/>
                      <a:pt x="33752" y="13466"/>
                    </a:cubicBezTo>
                    <a:cubicBezTo>
                      <a:pt x="33889" y="13243"/>
                      <a:pt x="33305" y="13363"/>
                      <a:pt x="33546" y="13192"/>
                    </a:cubicBezTo>
                    <a:cubicBezTo>
                      <a:pt x="33546" y="13192"/>
                      <a:pt x="33426" y="13295"/>
                      <a:pt x="33408" y="13192"/>
                    </a:cubicBezTo>
                    <a:cubicBezTo>
                      <a:pt x="33408" y="13346"/>
                      <a:pt x="33099" y="13363"/>
                      <a:pt x="33031" y="13312"/>
                    </a:cubicBezTo>
                    <a:cubicBezTo>
                      <a:pt x="32962" y="13260"/>
                      <a:pt x="33031" y="13312"/>
                      <a:pt x="33031" y="13312"/>
                    </a:cubicBezTo>
                    <a:cubicBezTo>
                      <a:pt x="33031" y="13312"/>
                      <a:pt x="33031" y="13552"/>
                      <a:pt x="33031" y="13312"/>
                    </a:cubicBezTo>
                    <a:cubicBezTo>
                      <a:pt x="33031" y="13449"/>
                      <a:pt x="32601" y="13466"/>
                      <a:pt x="32567" y="13621"/>
                    </a:cubicBezTo>
                    <a:cubicBezTo>
                      <a:pt x="32567" y="13312"/>
                      <a:pt x="32412" y="13415"/>
                      <a:pt x="32172" y="13260"/>
                    </a:cubicBezTo>
                    <a:cubicBezTo>
                      <a:pt x="31931" y="13106"/>
                      <a:pt x="31691" y="12144"/>
                      <a:pt x="31914" y="12058"/>
                    </a:cubicBezTo>
                    <a:cubicBezTo>
                      <a:pt x="32137" y="11972"/>
                      <a:pt x="31914" y="11972"/>
                      <a:pt x="32017" y="12058"/>
                    </a:cubicBezTo>
                    <a:cubicBezTo>
                      <a:pt x="32120" y="12144"/>
                      <a:pt x="32017" y="11921"/>
                      <a:pt x="32017" y="11817"/>
                    </a:cubicBezTo>
                    <a:cubicBezTo>
                      <a:pt x="32017" y="11714"/>
                      <a:pt x="32240" y="11354"/>
                      <a:pt x="32309" y="11457"/>
                    </a:cubicBezTo>
                    <a:cubicBezTo>
                      <a:pt x="32103" y="11010"/>
                      <a:pt x="31708" y="11148"/>
                      <a:pt x="31502" y="11182"/>
                    </a:cubicBezTo>
                    <a:cubicBezTo>
                      <a:pt x="31622" y="11354"/>
                      <a:pt x="31502" y="11577"/>
                      <a:pt x="31656" y="11714"/>
                    </a:cubicBezTo>
                    <a:cubicBezTo>
                      <a:pt x="31532" y="12056"/>
                      <a:pt x="31318" y="12359"/>
                      <a:pt x="31038" y="12590"/>
                    </a:cubicBezTo>
                    <a:cubicBezTo>
                      <a:pt x="31158" y="12676"/>
                      <a:pt x="31038" y="12848"/>
                      <a:pt x="31175" y="12968"/>
                    </a:cubicBezTo>
                    <a:cubicBezTo>
                      <a:pt x="30883" y="13123"/>
                      <a:pt x="32189" y="13999"/>
                      <a:pt x="31382" y="13793"/>
                    </a:cubicBezTo>
                    <a:cubicBezTo>
                      <a:pt x="31382" y="13793"/>
                      <a:pt x="30901" y="13793"/>
                      <a:pt x="31210" y="13913"/>
                    </a:cubicBezTo>
                    <a:cubicBezTo>
                      <a:pt x="31519" y="14033"/>
                      <a:pt x="31811" y="14119"/>
                      <a:pt x="31485" y="14050"/>
                    </a:cubicBezTo>
                    <a:cubicBezTo>
                      <a:pt x="31485" y="14050"/>
                      <a:pt x="31485" y="14257"/>
                      <a:pt x="31364" y="14188"/>
                    </a:cubicBezTo>
                    <a:cubicBezTo>
                      <a:pt x="31244" y="14119"/>
                      <a:pt x="31467" y="14325"/>
                      <a:pt x="31364" y="14342"/>
                    </a:cubicBezTo>
                    <a:cubicBezTo>
                      <a:pt x="31485" y="14342"/>
                      <a:pt x="31519" y="14600"/>
                      <a:pt x="31364" y="14514"/>
                    </a:cubicBezTo>
                    <a:cubicBezTo>
                      <a:pt x="31502" y="14789"/>
                      <a:pt x="31519" y="15510"/>
                      <a:pt x="31090" y="15236"/>
                    </a:cubicBezTo>
                    <a:cubicBezTo>
                      <a:pt x="30815" y="16301"/>
                      <a:pt x="30059" y="14153"/>
                      <a:pt x="30162" y="14050"/>
                    </a:cubicBezTo>
                    <a:cubicBezTo>
                      <a:pt x="29990" y="13947"/>
                      <a:pt x="29939" y="13844"/>
                      <a:pt x="29939" y="13810"/>
                    </a:cubicBezTo>
                    <a:cubicBezTo>
                      <a:pt x="29958" y="13906"/>
                      <a:pt x="29958" y="14006"/>
                      <a:pt x="29939" y="14102"/>
                    </a:cubicBezTo>
                    <a:cubicBezTo>
                      <a:pt x="29939" y="14102"/>
                      <a:pt x="29939" y="14102"/>
                      <a:pt x="29733" y="13965"/>
                    </a:cubicBezTo>
                    <a:cubicBezTo>
                      <a:pt x="29733" y="14119"/>
                      <a:pt x="29733" y="14360"/>
                      <a:pt x="29595" y="14291"/>
                    </a:cubicBezTo>
                    <a:cubicBezTo>
                      <a:pt x="29733" y="14463"/>
                      <a:pt x="29286" y="14583"/>
                      <a:pt x="29183" y="14428"/>
                    </a:cubicBezTo>
                    <a:cubicBezTo>
                      <a:pt x="29080" y="14549"/>
                      <a:pt x="28651" y="14050"/>
                      <a:pt x="29183" y="14102"/>
                    </a:cubicBezTo>
                    <a:cubicBezTo>
                      <a:pt x="28960" y="14102"/>
                      <a:pt x="29183" y="13999"/>
                      <a:pt x="29011" y="13879"/>
                    </a:cubicBezTo>
                    <a:cubicBezTo>
                      <a:pt x="29011" y="14188"/>
                      <a:pt x="28771" y="13690"/>
                      <a:pt x="29011" y="13879"/>
                    </a:cubicBezTo>
                    <a:cubicBezTo>
                      <a:pt x="29252" y="14068"/>
                      <a:pt x="29011" y="13879"/>
                      <a:pt x="29166" y="13776"/>
                    </a:cubicBezTo>
                    <a:cubicBezTo>
                      <a:pt x="28960" y="13776"/>
                      <a:pt x="29166" y="13449"/>
                      <a:pt x="29166" y="13655"/>
                    </a:cubicBezTo>
                    <a:cubicBezTo>
                      <a:pt x="29118" y="13609"/>
                      <a:pt x="29118" y="13533"/>
                      <a:pt x="29164" y="13485"/>
                    </a:cubicBezTo>
                    <a:cubicBezTo>
                      <a:pt x="29165" y="13485"/>
                      <a:pt x="29165" y="13484"/>
                      <a:pt x="29166" y="13484"/>
                    </a:cubicBezTo>
                    <a:cubicBezTo>
                      <a:pt x="28943" y="13569"/>
                      <a:pt x="28822" y="13724"/>
                      <a:pt x="28943" y="13484"/>
                    </a:cubicBezTo>
                    <a:cubicBezTo>
                      <a:pt x="28788" y="13484"/>
                      <a:pt x="28736" y="13569"/>
                      <a:pt x="28943" y="13381"/>
                    </a:cubicBezTo>
                    <a:cubicBezTo>
                      <a:pt x="28599" y="13243"/>
                      <a:pt x="29544" y="13484"/>
                      <a:pt x="29355" y="13157"/>
                    </a:cubicBezTo>
                    <a:cubicBezTo>
                      <a:pt x="29355" y="13329"/>
                      <a:pt x="28582" y="13295"/>
                      <a:pt x="28994" y="13157"/>
                    </a:cubicBezTo>
                    <a:cubicBezTo>
                      <a:pt x="28651" y="13157"/>
                      <a:pt x="28994" y="13037"/>
                      <a:pt x="29183" y="13020"/>
                    </a:cubicBezTo>
                    <a:cubicBezTo>
                      <a:pt x="28822" y="13020"/>
                      <a:pt x="28754" y="12831"/>
                      <a:pt x="29046" y="12917"/>
                    </a:cubicBezTo>
                    <a:cubicBezTo>
                      <a:pt x="28960" y="12917"/>
                      <a:pt x="29046" y="12779"/>
                      <a:pt x="29183" y="12917"/>
                    </a:cubicBezTo>
                    <a:lnTo>
                      <a:pt x="29183" y="12797"/>
                    </a:lnTo>
                    <a:cubicBezTo>
                      <a:pt x="29183" y="12797"/>
                      <a:pt x="29183" y="12797"/>
                      <a:pt x="29441" y="12797"/>
                    </a:cubicBezTo>
                    <a:cubicBezTo>
                      <a:pt x="29114" y="12797"/>
                      <a:pt x="29303" y="12590"/>
                      <a:pt x="29578" y="12797"/>
                    </a:cubicBezTo>
                    <a:cubicBezTo>
                      <a:pt x="29217" y="12505"/>
                      <a:pt x="29578" y="12797"/>
                      <a:pt x="29578" y="12676"/>
                    </a:cubicBezTo>
                    <a:cubicBezTo>
                      <a:pt x="29578" y="12556"/>
                      <a:pt x="29922" y="12213"/>
                      <a:pt x="29767" y="12676"/>
                    </a:cubicBezTo>
                    <a:cubicBezTo>
                      <a:pt x="30007" y="12539"/>
                      <a:pt x="29973" y="12539"/>
                      <a:pt x="30059" y="12298"/>
                    </a:cubicBezTo>
                    <a:cubicBezTo>
                      <a:pt x="30145" y="12058"/>
                      <a:pt x="29784" y="12814"/>
                      <a:pt x="29801" y="12419"/>
                    </a:cubicBezTo>
                    <a:cubicBezTo>
                      <a:pt x="29664" y="12522"/>
                      <a:pt x="29801" y="12161"/>
                      <a:pt x="29801" y="12195"/>
                    </a:cubicBezTo>
                    <a:cubicBezTo>
                      <a:pt x="29801" y="12230"/>
                      <a:pt x="29990" y="12006"/>
                      <a:pt x="30145" y="11766"/>
                    </a:cubicBezTo>
                    <a:cubicBezTo>
                      <a:pt x="29990" y="11886"/>
                      <a:pt x="30059" y="11525"/>
                      <a:pt x="30145" y="11611"/>
                    </a:cubicBezTo>
                    <a:cubicBezTo>
                      <a:pt x="30231" y="11697"/>
                      <a:pt x="30145" y="11440"/>
                      <a:pt x="30145" y="11525"/>
                    </a:cubicBezTo>
                    <a:cubicBezTo>
                      <a:pt x="30042" y="11319"/>
                      <a:pt x="30145" y="11440"/>
                      <a:pt x="30145" y="11337"/>
                    </a:cubicBezTo>
                    <a:cubicBezTo>
                      <a:pt x="29939" y="11337"/>
                      <a:pt x="30145" y="11233"/>
                      <a:pt x="30025" y="11148"/>
                    </a:cubicBezTo>
                    <a:cubicBezTo>
                      <a:pt x="29904" y="11062"/>
                      <a:pt x="30025" y="10821"/>
                      <a:pt x="30334" y="10976"/>
                    </a:cubicBezTo>
                    <a:cubicBezTo>
                      <a:pt x="30179" y="10890"/>
                      <a:pt x="30111" y="10735"/>
                      <a:pt x="30334" y="10838"/>
                    </a:cubicBezTo>
                    <a:cubicBezTo>
                      <a:pt x="30557" y="10941"/>
                      <a:pt x="30162" y="10701"/>
                      <a:pt x="30334" y="10684"/>
                    </a:cubicBezTo>
                    <a:cubicBezTo>
                      <a:pt x="30042" y="10684"/>
                      <a:pt x="30334" y="10684"/>
                      <a:pt x="30334" y="10478"/>
                    </a:cubicBezTo>
                    <a:cubicBezTo>
                      <a:pt x="30523" y="10478"/>
                      <a:pt x="30488" y="10478"/>
                      <a:pt x="30506" y="10478"/>
                    </a:cubicBezTo>
                    <a:cubicBezTo>
                      <a:pt x="30918" y="10564"/>
                      <a:pt x="30214" y="10323"/>
                      <a:pt x="30506" y="10323"/>
                    </a:cubicBezTo>
                    <a:cubicBezTo>
                      <a:pt x="30506" y="10323"/>
                      <a:pt x="30506" y="10220"/>
                      <a:pt x="30506" y="10220"/>
                    </a:cubicBezTo>
                    <a:cubicBezTo>
                      <a:pt x="30506" y="10220"/>
                      <a:pt x="30506" y="9911"/>
                      <a:pt x="30609" y="10117"/>
                    </a:cubicBezTo>
                    <a:cubicBezTo>
                      <a:pt x="30712" y="10323"/>
                      <a:pt x="30609" y="10117"/>
                      <a:pt x="30609" y="10117"/>
                    </a:cubicBezTo>
                    <a:cubicBezTo>
                      <a:pt x="30385" y="9980"/>
                      <a:pt x="30609" y="10014"/>
                      <a:pt x="30609" y="10117"/>
                    </a:cubicBezTo>
                    <a:cubicBezTo>
                      <a:pt x="30609" y="10220"/>
                      <a:pt x="30609" y="9773"/>
                      <a:pt x="30609" y="10117"/>
                    </a:cubicBezTo>
                    <a:cubicBezTo>
                      <a:pt x="30609" y="9670"/>
                      <a:pt x="30609" y="10237"/>
                      <a:pt x="30798" y="10117"/>
                    </a:cubicBezTo>
                    <a:cubicBezTo>
                      <a:pt x="30609" y="9773"/>
                      <a:pt x="31021" y="10117"/>
                      <a:pt x="30798" y="9739"/>
                    </a:cubicBezTo>
                    <a:cubicBezTo>
                      <a:pt x="30901" y="9739"/>
                      <a:pt x="31038" y="9911"/>
                      <a:pt x="31124" y="9894"/>
                    </a:cubicBezTo>
                    <a:cubicBezTo>
                      <a:pt x="31210" y="9877"/>
                      <a:pt x="31124" y="9602"/>
                      <a:pt x="31124" y="9619"/>
                    </a:cubicBezTo>
                    <a:cubicBezTo>
                      <a:pt x="31124" y="9636"/>
                      <a:pt x="30969" y="9464"/>
                      <a:pt x="31124" y="9619"/>
                    </a:cubicBezTo>
                    <a:cubicBezTo>
                      <a:pt x="31279" y="9773"/>
                      <a:pt x="31124" y="9499"/>
                      <a:pt x="31124" y="9619"/>
                    </a:cubicBezTo>
                    <a:cubicBezTo>
                      <a:pt x="31244" y="9447"/>
                      <a:pt x="31279" y="10426"/>
                      <a:pt x="31261" y="9619"/>
                    </a:cubicBezTo>
                    <a:cubicBezTo>
                      <a:pt x="31536" y="10134"/>
                      <a:pt x="31261" y="9516"/>
                      <a:pt x="31450" y="9499"/>
                    </a:cubicBezTo>
                    <a:cubicBezTo>
                      <a:pt x="31639" y="9481"/>
                      <a:pt x="31450" y="9653"/>
                      <a:pt x="31553" y="9842"/>
                    </a:cubicBezTo>
                    <a:cubicBezTo>
                      <a:pt x="31656" y="10031"/>
                      <a:pt x="31639" y="9842"/>
                      <a:pt x="31674" y="9842"/>
                    </a:cubicBezTo>
                    <a:cubicBezTo>
                      <a:pt x="31502" y="9499"/>
                      <a:pt x="31863" y="9688"/>
                      <a:pt x="31845" y="9842"/>
                    </a:cubicBezTo>
                    <a:cubicBezTo>
                      <a:pt x="32172" y="9842"/>
                      <a:pt x="32051" y="10134"/>
                      <a:pt x="31742" y="10031"/>
                    </a:cubicBezTo>
                    <a:cubicBezTo>
                      <a:pt x="31845" y="10031"/>
                      <a:pt x="31948" y="10031"/>
                      <a:pt x="32000" y="10220"/>
                    </a:cubicBezTo>
                    <a:cubicBezTo>
                      <a:pt x="32051" y="10409"/>
                      <a:pt x="32120" y="10083"/>
                      <a:pt x="32275" y="10220"/>
                    </a:cubicBezTo>
                    <a:cubicBezTo>
                      <a:pt x="32275" y="10100"/>
                      <a:pt x="32275" y="10117"/>
                      <a:pt x="32275" y="10048"/>
                    </a:cubicBezTo>
                    <a:cubicBezTo>
                      <a:pt x="32275" y="9980"/>
                      <a:pt x="32653" y="10306"/>
                      <a:pt x="32378" y="10048"/>
                    </a:cubicBezTo>
                    <a:cubicBezTo>
                      <a:pt x="32378" y="10237"/>
                      <a:pt x="32567" y="10048"/>
                      <a:pt x="32584" y="10220"/>
                    </a:cubicBezTo>
                    <a:cubicBezTo>
                      <a:pt x="32601" y="10392"/>
                      <a:pt x="33220" y="10220"/>
                      <a:pt x="33683" y="10529"/>
                    </a:cubicBezTo>
                    <a:cubicBezTo>
                      <a:pt x="33563" y="10392"/>
                      <a:pt x="34044" y="10735"/>
                      <a:pt x="33804" y="10529"/>
                    </a:cubicBezTo>
                    <a:cubicBezTo>
                      <a:pt x="34697" y="10838"/>
                      <a:pt x="34611" y="11852"/>
                      <a:pt x="33597" y="11354"/>
                    </a:cubicBezTo>
                    <a:cubicBezTo>
                      <a:pt x="33477" y="11354"/>
                      <a:pt x="33477" y="11354"/>
                      <a:pt x="33426" y="11354"/>
                    </a:cubicBezTo>
                    <a:cubicBezTo>
                      <a:pt x="33374" y="11354"/>
                      <a:pt x="32910" y="11096"/>
                      <a:pt x="33065" y="11354"/>
                    </a:cubicBezTo>
                    <a:cubicBezTo>
                      <a:pt x="33220" y="11611"/>
                      <a:pt x="33460" y="11491"/>
                      <a:pt x="33357" y="11663"/>
                    </a:cubicBezTo>
                    <a:cubicBezTo>
                      <a:pt x="33632" y="11663"/>
                      <a:pt x="34834" y="13277"/>
                      <a:pt x="34576" y="12333"/>
                    </a:cubicBezTo>
                    <a:cubicBezTo>
                      <a:pt x="34388" y="12505"/>
                      <a:pt x="34113" y="12058"/>
                      <a:pt x="34250" y="12006"/>
                    </a:cubicBezTo>
                    <a:cubicBezTo>
                      <a:pt x="35693" y="12917"/>
                      <a:pt x="33975" y="11148"/>
                      <a:pt x="34972" y="11474"/>
                    </a:cubicBezTo>
                    <a:cubicBezTo>
                      <a:pt x="34972" y="11337"/>
                      <a:pt x="35092" y="11474"/>
                      <a:pt x="35143" y="11474"/>
                    </a:cubicBezTo>
                    <a:cubicBezTo>
                      <a:pt x="34895" y="11040"/>
                      <a:pt x="34569" y="10656"/>
                      <a:pt x="34181" y="10340"/>
                    </a:cubicBezTo>
                    <a:cubicBezTo>
                      <a:pt x="34491" y="10340"/>
                      <a:pt x="34972" y="10443"/>
                      <a:pt x="34800" y="10753"/>
                    </a:cubicBezTo>
                    <a:cubicBezTo>
                      <a:pt x="35195" y="11354"/>
                      <a:pt x="35349" y="10753"/>
                      <a:pt x="35143" y="10529"/>
                    </a:cubicBezTo>
                    <a:cubicBezTo>
                      <a:pt x="35315" y="10529"/>
                      <a:pt x="35143" y="9945"/>
                      <a:pt x="35401" y="10289"/>
                    </a:cubicBezTo>
                    <a:cubicBezTo>
                      <a:pt x="35401" y="10186"/>
                      <a:pt x="35178" y="9980"/>
                      <a:pt x="35401" y="10151"/>
                    </a:cubicBezTo>
                    <a:cubicBezTo>
                      <a:pt x="35229" y="9705"/>
                      <a:pt x="35521" y="10151"/>
                      <a:pt x="35727" y="10306"/>
                    </a:cubicBezTo>
                    <a:cubicBezTo>
                      <a:pt x="35727" y="10203"/>
                      <a:pt x="35727" y="10169"/>
                      <a:pt x="35727" y="10306"/>
                    </a:cubicBezTo>
                    <a:cubicBezTo>
                      <a:pt x="35504" y="10048"/>
                      <a:pt x="35882" y="10134"/>
                      <a:pt x="35830" y="9842"/>
                    </a:cubicBezTo>
                    <a:cubicBezTo>
                      <a:pt x="35951" y="9997"/>
                      <a:pt x="36311" y="10272"/>
                      <a:pt x="36019" y="9945"/>
                    </a:cubicBezTo>
                    <a:cubicBezTo>
                      <a:pt x="36191" y="9945"/>
                      <a:pt x="35916" y="9791"/>
                      <a:pt x="36122" y="9945"/>
                    </a:cubicBezTo>
                    <a:cubicBezTo>
                      <a:pt x="36035" y="9882"/>
                      <a:pt x="35943" y="9824"/>
                      <a:pt x="35848" y="9773"/>
                    </a:cubicBezTo>
                    <a:lnTo>
                      <a:pt x="35848" y="9773"/>
                    </a:lnTo>
                    <a:cubicBezTo>
                      <a:pt x="35057" y="9155"/>
                      <a:pt x="36586" y="9619"/>
                      <a:pt x="36981" y="9894"/>
                    </a:cubicBezTo>
                    <a:cubicBezTo>
                      <a:pt x="36792" y="9619"/>
                      <a:pt x="36517" y="9567"/>
                      <a:pt x="36260" y="9361"/>
                    </a:cubicBezTo>
                    <a:lnTo>
                      <a:pt x="36260" y="9361"/>
                    </a:lnTo>
                    <a:cubicBezTo>
                      <a:pt x="36260" y="9361"/>
                      <a:pt x="36260" y="9361"/>
                      <a:pt x="36140" y="9361"/>
                    </a:cubicBezTo>
                    <a:lnTo>
                      <a:pt x="36140" y="9361"/>
                    </a:lnTo>
                    <a:lnTo>
                      <a:pt x="35882" y="9155"/>
                    </a:lnTo>
                    <a:cubicBezTo>
                      <a:pt x="36019" y="9155"/>
                      <a:pt x="35624" y="8983"/>
                      <a:pt x="35727" y="8983"/>
                    </a:cubicBezTo>
                    <a:cubicBezTo>
                      <a:pt x="35504" y="8880"/>
                      <a:pt x="34353" y="7918"/>
                      <a:pt x="34594" y="7884"/>
                    </a:cubicBezTo>
                    <a:cubicBezTo>
                      <a:pt x="35435" y="8193"/>
                      <a:pt x="36311" y="9086"/>
                      <a:pt x="37136" y="9602"/>
                    </a:cubicBezTo>
                    <a:lnTo>
                      <a:pt x="37136" y="9602"/>
                    </a:lnTo>
                    <a:cubicBezTo>
                      <a:pt x="37389" y="9800"/>
                      <a:pt x="37614" y="10031"/>
                      <a:pt x="37806" y="10289"/>
                    </a:cubicBezTo>
                    <a:lnTo>
                      <a:pt x="37806" y="10289"/>
                    </a:lnTo>
                    <a:cubicBezTo>
                      <a:pt x="37995" y="10409"/>
                      <a:pt x="37977" y="10581"/>
                      <a:pt x="37806" y="10289"/>
                    </a:cubicBezTo>
                    <a:cubicBezTo>
                      <a:pt x="37806" y="10289"/>
                      <a:pt x="37479" y="10289"/>
                      <a:pt x="37703" y="10426"/>
                    </a:cubicBezTo>
                    <a:cubicBezTo>
                      <a:pt x="38939" y="10701"/>
                      <a:pt x="37256" y="9619"/>
                      <a:pt x="37101" y="9275"/>
                    </a:cubicBezTo>
                    <a:cubicBezTo>
                      <a:pt x="37101" y="9275"/>
                      <a:pt x="37101" y="9275"/>
                      <a:pt x="37101" y="9275"/>
                    </a:cubicBezTo>
                    <a:cubicBezTo>
                      <a:pt x="36284" y="8916"/>
                      <a:pt x="35525" y="8435"/>
                      <a:pt x="34851" y="7850"/>
                    </a:cubicBezTo>
                    <a:cubicBezTo>
                      <a:pt x="35229" y="8021"/>
                      <a:pt x="35573" y="8399"/>
                      <a:pt x="35933" y="8451"/>
                    </a:cubicBezTo>
                    <a:cubicBezTo>
                      <a:pt x="35796" y="8262"/>
                      <a:pt x="36208" y="8571"/>
                      <a:pt x="36105" y="8451"/>
                    </a:cubicBezTo>
                    <a:cubicBezTo>
                      <a:pt x="35827" y="8436"/>
                      <a:pt x="35564" y="8320"/>
                      <a:pt x="35367" y="8125"/>
                    </a:cubicBezTo>
                    <a:cubicBezTo>
                      <a:pt x="35727" y="8279"/>
                      <a:pt x="35367" y="8125"/>
                      <a:pt x="35367" y="8039"/>
                    </a:cubicBezTo>
                    <a:lnTo>
                      <a:pt x="35367" y="8039"/>
                    </a:lnTo>
                    <a:cubicBezTo>
                      <a:pt x="34886" y="7455"/>
                      <a:pt x="37084" y="8880"/>
                      <a:pt x="36363" y="8331"/>
                    </a:cubicBezTo>
                    <a:cubicBezTo>
                      <a:pt x="36637" y="8531"/>
                      <a:pt x="36938" y="8693"/>
                      <a:pt x="37256" y="8812"/>
                    </a:cubicBezTo>
                    <a:cubicBezTo>
                      <a:pt x="36947" y="8605"/>
                      <a:pt x="37256" y="8691"/>
                      <a:pt x="37428" y="8812"/>
                    </a:cubicBezTo>
                    <a:cubicBezTo>
                      <a:pt x="37325" y="8709"/>
                      <a:pt x="37033" y="8588"/>
                      <a:pt x="37101" y="8709"/>
                    </a:cubicBezTo>
                    <a:cubicBezTo>
                      <a:pt x="36569" y="8468"/>
                      <a:pt x="36019" y="8056"/>
                      <a:pt x="35384" y="7798"/>
                    </a:cubicBezTo>
                    <a:cubicBezTo>
                      <a:pt x="35212" y="7798"/>
                      <a:pt x="34405" y="7403"/>
                      <a:pt x="34525" y="7231"/>
                    </a:cubicBezTo>
                    <a:cubicBezTo>
                      <a:pt x="34284" y="6922"/>
                      <a:pt x="34697" y="7334"/>
                      <a:pt x="34851" y="7317"/>
                    </a:cubicBezTo>
                    <a:cubicBezTo>
                      <a:pt x="34628" y="7317"/>
                      <a:pt x="34491" y="7042"/>
                      <a:pt x="34267" y="7008"/>
                    </a:cubicBezTo>
                    <a:cubicBezTo>
                      <a:pt x="34044" y="6974"/>
                      <a:pt x="34061" y="7008"/>
                      <a:pt x="34027" y="6922"/>
                    </a:cubicBezTo>
                    <a:cubicBezTo>
                      <a:pt x="33992" y="6836"/>
                      <a:pt x="34130" y="6922"/>
                      <a:pt x="34027" y="6922"/>
                    </a:cubicBezTo>
                    <a:cubicBezTo>
                      <a:pt x="33924" y="6922"/>
                      <a:pt x="33838" y="6836"/>
                      <a:pt x="33872" y="6922"/>
                    </a:cubicBezTo>
                    <a:cubicBezTo>
                      <a:pt x="33907" y="7008"/>
                      <a:pt x="33683" y="6802"/>
                      <a:pt x="33872" y="6922"/>
                    </a:cubicBezTo>
                    <a:lnTo>
                      <a:pt x="33615" y="6768"/>
                    </a:lnTo>
                    <a:cubicBezTo>
                      <a:pt x="33615" y="6768"/>
                      <a:pt x="33615" y="6768"/>
                      <a:pt x="33615" y="6768"/>
                    </a:cubicBezTo>
                    <a:lnTo>
                      <a:pt x="33168" y="6458"/>
                    </a:lnTo>
                    <a:lnTo>
                      <a:pt x="33168" y="6458"/>
                    </a:lnTo>
                    <a:cubicBezTo>
                      <a:pt x="33086" y="6395"/>
                      <a:pt x="33000" y="6338"/>
                      <a:pt x="32910" y="6287"/>
                    </a:cubicBezTo>
                    <a:lnTo>
                      <a:pt x="32910" y="6287"/>
                    </a:lnTo>
                    <a:lnTo>
                      <a:pt x="32910" y="6287"/>
                    </a:lnTo>
                    <a:lnTo>
                      <a:pt x="32910" y="6287"/>
                    </a:lnTo>
                    <a:lnTo>
                      <a:pt x="32687" y="6184"/>
                    </a:lnTo>
                    <a:lnTo>
                      <a:pt x="32687" y="6184"/>
                    </a:lnTo>
                    <a:cubicBezTo>
                      <a:pt x="32687" y="6184"/>
                      <a:pt x="32515" y="6184"/>
                      <a:pt x="32687" y="6184"/>
                    </a:cubicBezTo>
                    <a:lnTo>
                      <a:pt x="32687" y="6184"/>
                    </a:lnTo>
                    <a:lnTo>
                      <a:pt x="32687" y="6184"/>
                    </a:lnTo>
                    <a:lnTo>
                      <a:pt x="32962" y="6287"/>
                    </a:lnTo>
                    <a:lnTo>
                      <a:pt x="32739" y="6184"/>
                    </a:lnTo>
                    <a:lnTo>
                      <a:pt x="32893" y="6184"/>
                    </a:lnTo>
                    <a:lnTo>
                      <a:pt x="32807" y="6184"/>
                    </a:lnTo>
                    <a:cubicBezTo>
                      <a:pt x="32762" y="6174"/>
                      <a:pt x="32715" y="6174"/>
                      <a:pt x="32670" y="6184"/>
                    </a:cubicBezTo>
                    <a:lnTo>
                      <a:pt x="32670" y="6184"/>
                    </a:lnTo>
                    <a:cubicBezTo>
                      <a:pt x="32625" y="6193"/>
                      <a:pt x="32578" y="6193"/>
                      <a:pt x="32532" y="6184"/>
                    </a:cubicBezTo>
                    <a:lnTo>
                      <a:pt x="32876" y="6304"/>
                    </a:lnTo>
                    <a:cubicBezTo>
                      <a:pt x="32750" y="6242"/>
                      <a:pt x="32618" y="6196"/>
                      <a:pt x="32481" y="6166"/>
                    </a:cubicBezTo>
                    <a:lnTo>
                      <a:pt x="32481" y="6166"/>
                    </a:lnTo>
                    <a:cubicBezTo>
                      <a:pt x="32481" y="6166"/>
                      <a:pt x="32292" y="6166"/>
                      <a:pt x="32343" y="6166"/>
                    </a:cubicBezTo>
                    <a:cubicBezTo>
                      <a:pt x="32395" y="6166"/>
                      <a:pt x="32343" y="6166"/>
                      <a:pt x="32343" y="6166"/>
                    </a:cubicBezTo>
                    <a:lnTo>
                      <a:pt x="32343" y="6166"/>
                    </a:lnTo>
                    <a:lnTo>
                      <a:pt x="32206" y="6166"/>
                    </a:lnTo>
                    <a:lnTo>
                      <a:pt x="32206" y="6166"/>
                    </a:lnTo>
                    <a:lnTo>
                      <a:pt x="31742" y="6029"/>
                    </a:lnTo>
                    <a:lnTo>
                      <a:pt x="31742" y="6029"/>
                    </a:lnTo>
                    <a:cubicBezTo>
                      <a:pt x="31571" y="6029"/>
                      <a:pt x="30763" y="5720"/>
                      <a:pt x="30952" y="5754"/>
                    </a:cubicBezTo>
                    <a:lnTo>
                      <a:pt x="30952" y="5754"/>
                    </a:lnTo>
                    <a:lnTo>
                      <a:pt x="31055" y="5754"/>
                    </a:lnTo>
                    <a:lnTo>
                      <a:pt x="31055" y="5754"/>
                    </a:lnTo>
                    <a:cubicBezTo>
                      <a:pt x="31244" y="5754"/>
                      <a:pt x="31416" y="5857"/>
                      <a:pt x="31605" y="5909"/>
                    </a:cubicBezTo>
                    <a:lnTo>
                      <a:pt x="31416" y="5909"/>
                    </a:lnTo>
                    <a:lnTo>
                      <a:pt x="31588" y="5909"/>
                    </a:lnTo>
                    <a:lnTo>
                      <a:pt x="31485" y="5909"/>
                    </a:lnTo>
                    <a:cubicBezTo>
                      <a:pt x="31588" y="5909"/>
                      <a:pt x="31364" y="5909"/>
                      <a:pt x="31485" y="5909"/>
                    </a:cubicBezTo>
                    <a:lnTo>
                      <a:pt x="31485" y="5909"/>
                    </a:lnTo>
                    <a:cubicBezTo>
                      <a:pt x="31794" y="5995"/>
                      <a:pt x="32481" y="6201"/>
                      <a:pt x="31811" y="5909"/>
                    </a:cubicBezTo>
                    <a:lnTo>
                      <a:pt x="31811" y="5909"/>
                    </a:lnTo>
                    <a:lnTo>
                      <a:pt x="31708" y="5909"/>
                    </a:lnTo>
                    <a:lnTo>
                      <a:pt x="31708" y="5909"/>
                    </a:lnTo>
                    <a:lnTo>
                      <a:pt x="31708" y="5909"/>
                    </a:lnTo>
                    <a:lnTo>
                      <a:pt x="31708" y="5909"/>
                    </a:lnTo>
                    <a:lnTo>
                      <a:pt x="31708" y="5909"/>
                    </a:lnTo>
                    <a:lnTo>
                      <a:pt x="32292" y="6046"/>
                    </a:lnTo>
                    <a:lnTo>
                      <a:pt x="32051" y="6046"/>
                    </a:lnTo>
                    <a:lnTo>
                      <a:pt x="32378" y="6046"/>
                    </a:lnTo>
                    <a:lnTo>
                      <a:pt x="32635" y="6046"/>
                    </a:lnTo>
                    <a:lnTo>
                      <a:pt x="32635" y="6046"/>
                    </a:lnTo>
                    <a:cubicBezTo>
                      <a:pt x="32412" y="6046"/>
                      <a:pt x="32635" y="6046"/>
                      <a:pt x="32773" y="6046"/>
                    </a:cubicBezTo>
                    <a:lnTo>
                      <a:pt x="32773" y="6046"/>
                    </a:lnTo>
                    <a:lnTo>
                      <a:pt x="32773" y="6046"/>
                    </a:lnTo>
                    <a:cubicBezTo>
                      <a:pt x="33198" y="6156"/>
                      <a:pt x="33612" y="6306"/>
                      <a:pt x="34010" y="6493"/>
                    </a:cubicBezTo>
                    <a:cubicBezTo>
                      <a:pt x="34010" y="6493"/>
                      <a:pt x="34010" y="6493"/>
                      <a:pt x="34010" y="6493"/>
                    </a:cubicBezTo>
                    <a:cubicBezTo>
                      <a:pt x="34010" y="6493"/>
                      <a:pt x="34456" y="6665"/>
                      <a:pt x="34645" y="6768"/>
                    </a:cubicBezTo>
                    <a:lnTo>
                      <a:pt x="34645" y="6768"/>
                    </a:lnTo>
                    <a:lnTo>
                      <a:pt x="35470" y="7163"/>
                    </a:lnTo>
                    <a:cubicBezTo>
                      <a:pt x="35212" y="7025"/>
                      <a:pt x="34954" y="6871"/>
                      <a:pt x="34662" y="6733"/>
                    </a:cubicBezTo>
                    <a:lnTo>
                      <a:pt x="34662" y="6733"/>
                    </a:lnTo>
                    <a:lnTo>
                      <a:pt x="34353" y="6596"/>
                    </a:lnTo>
                    <a:lnTo>
                      <a:pt x="34491" y="6596"/>
                    </a:lnTo>
                    <a:cubicBezTo>
                      <a:pt x="34491" y="6596"/>
                      <a:pt x="34044" y="6441"/>
                      <a:pt x="34250" y="6493"/>
                    </a:cubicBezTo>
                    <a:lnTo>
                      <a:pt x="34113" y="6493"/>
                    </a:lnTo>
                    <a:lnTo>
                      <a:pt x="34422" y="6596"/>
                    </a:lnTo>
                    <a:cubicBezTo>
                      <a:pt x="34327" y="6538"/>
                      <a:pt x="34222" y="6497"/>
                      <a:pt x="34113" y="6476"/>
                    </a:cubicBezTo>
                    <a:cubicBezTo>
                      <a:pt x="34287" y="6517"/>
                      <a:pt x="34459" y="6568"/>
                      <a:pt x="34628" y="6630"/>
                    </a:cubicBezTo>
                    <a:lnTo>
                      <a:pt x="34473" y="6630"/>
                    </a:lnTo>
                    <a:lnTo>
                      <a:pt x="34473" y="6630"/>
                    </a:lnTo>
                    <a:lnTo>
                      <a:pt x="33700" y="4827"/>
                    </a:lnTo>
                    <a:cubicBezTo>
                      <a:pt x="42679" y="7791"/>
                      <a:pt x="48892" y="15993"/>
                      <a:pt x="49314" y="25438"/>
                    </a:cubicBezTo>
                    <a:cubicBezTo>
                      <a:pt x="49301" y="25780"/>
                      <a:pt x="49255" y="26119"/>
                      <a:pt x="49177" y="26452"/>
                    </a:cubicBezTo>
                    <a:cubicBezTo>
                      <a:pt x="49245" y="26349"/>
                      <a:pt x="49159" y="26538"/>
                      <a:pt x="49159" y="26589"/>
                    </a:cubicBezTo>
                    <a:close/>
                  </a:path>
                </a:pathLst>
              </a:custGeom>
              <a:solidFill>
                <a:srgbClr val="00B0F0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</a:pPr>
                <a:endParaRPr sz="1400" b="0" i="0" u="none" strike="noStrike" cap="none">
                  <a:solidFill>
                    <a:srgbClr val="B4B4B4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48" name="Google Shape;348;p35"/>
              <p:cNvSpPr/>
              <p:nvPr/>
            </p:nvSpPr>
            <p:spPr>
              <a:xfrm rot="-5400000">
                <a:off x="12026199" y="6563439"/>
                <a:ext cx="13277" cy="68070"/>
              </a:xfrm>
              <a:custGeom>
                <a:avLst/>
                <a:gdLst/>
                <a:ahLst/>
                <a:cxnLst/>
                <a:rect l="l" t="t" r="r" b="b"/>
                <a:pathLst>
                  <a:path w="13277" h="68070" extrusionOk="0">
                    <a:moveTo>
                      <a:pt x="13277" y="12024"/>
                    </a:moveTo>
                    <a:lnTo>
                      <a:pt x="0" y="12024"/>
                    </a:lnTo>
                    <a:lnTo>
                      <a:pt x="0" y="0"/>
                    </a:lnTo>
                    <a:lnTo>
                      <a:pt x="13277" y="0"/>
                    </a:lnTo>
                    <a:close/>
                    <a:moveTo>
                      <a:pt x="0" y="17984"/>
                    </a:moveTo>
                    <a:lnTo>
                      <a:pt x="13277" y="17984"/>
                    </a:lnTo>
                    <a:lnTo>
                      <a:pt x="13277" y="68070"/>
                    </a:lnTo>
                    <a:lnTo>
                      <a:pt x="0" y="68070"/>
                    </a:lnTo>
                    <a:close/>
                  </a:path>
                </a:pathLst>
              </a:custGeom>
              <a:solidFill>
                <a:srgbClr val="00B0F0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</a:pPr>
                <a:endParaRPr sz="1400" b="0" i="0" u="none" strike="noStrike" cap="none">
                  <a:solidFill>
                    <a:srgbClr val="B4B4B4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49" name="Google Shape;349;p35"/>
              <p:cNvSpPr/>
              <p:nvPr/>
            </p:nvSpPr>
            <p:spPr>
              <a:xfrm rot="-5400000">
                <a:off x="12018640" y="6529825"/>
                <a:ext cx="45208" cy="51256"/>
              </a:xfrm>
              <a:custGeom>
                <a:avLst/>
                <a:gdLst/>
                <a:ahLst/>
                <a:cxnLst/>
                <a:rect l="l" t="t" r="r" b="b"/>
                <a:pathLst>
                  <a:path w="45208" h="51256" extrusionOk="0">
                    <a:moveTo>
                      <a:pt x="40279" y="4038"/>
                    </a:moveTo>
                    <a:cubicBezTo>
                      <a:pt x="43565" y="6752"/>
                      <a:pt x="45209" y="11246"/>
                      <a:pt x="45209" y="17521"/>
                    </a:cubicBezTo>
                    <a:lnTo>
                      <a:pt x="45209" y="51256"/>
                    </a:lnTo>
                    <a:lnTo>
                      <a:pt x="31794" y="51256"/>
                    </a:lnTo>
                    <a:lnTo>
                      <a:pt x="31794" y="20785"/>
                    </a:lnTo>
                    <a:cubicBezTo>
                      <a:pt x="31892" y="18712"/>
                      <a:pt x="31535" y="16642"/>
                      <a:pt x="30746" y="14722"/>
                    </a:cubicBezTo>
                    <a:cubicBezTo>
                      <a:pt x="29458" y="12162"/>
                      <a:pt x="27036" y="10874"/>
                      <a:pt x="23446" y="10874"/>
                    </a:cubicBezTo>
                    <a:cubicBezTo>
                      <a:pt x="19509" y="10574"/>
                      <a:pt x="15832" y="12861"/>
                      <a:pt x="14360" y="16525"/>
                    </a:cubicBezTo>
                    <a:cubicBezTo>
                      <a:pt x="13437" y="18959"/>
                      <a:pt x="13005" y="21550"/>
                      <a:pt x="13089" y="24152"/>
                    </a:cubicBezTo>
                    <a:lnTo>
                      <a:pt x="13089" y="51256"/>
                    </a:lnTo>
                    <a:lnTo>
                      <a:pt x="0" y="51256"/>
                    </a:lnTo>
                    <a:lnTo>
                      <a:pt x="0" y="1272"/>
                    </a:lnTo>
                    <a:lnTo>
                      <a:pt x="12676" y="1272"/>
                    </a:lnTo>
                    <a:lnTo>
                      <a:pt x="12676" y="8607"/>
                    </a:lnTo>
                    <a:cubicBezTo>
                      <a:pt x="13939" y="6498"/>
                      <a:pt x="15548" y="4617"/>
                      <a:pt x="17434" y="3042"/>
                    </a:cubicBezTo>
                    <a:cubicBezTo>
                      <a:pt x="20409" y="938"/>
                      <a:pt x="23996" y="-125"/>
                      <a:pt x="27637" y="19"/>
                    </a:cubicBezTo>
                    <a:cubicBezTo>
                      <a:pt x="32194" y="-181"/>
                      <a:pt x="36674" y="1243"/>
                      <a:pt x="40279" y="4038"/>
                    </a:cubicBezTo>
                    <a:close/>
                  </a:path>
                </a:pathLst>
              </a:custGeom>
              <a:solidFill>
                <a:srgbClr val="00B0F0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</a:pPr>
                <a:endParaRPr sz="1400" b="0" i="0" u="none" strike="noStrike" cap="none">
                  <a:solidFill>
                    <a:srgbClr val="B4B4B4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50" name="Google Shape;350;p35"/>
              <p:cNvSpPr/>
              <p:nvPr/>
            </p:nvSpPr>
            <p:spPr>
              <a:xfrm rot="-5400000">
                <a:off x="12018195" y="6477145"/>
                <a:ext cx="28942" cy="68414"/>
              </a:xfrm>
              <a:custGeom>
                <a:avLst/>
                <a:gdLst/>
                <a:ahLst/>
                <a:cxnLst/>
                <a:rect l="l" t="t" r="r" b="b"/>
                <a:pathLst>
                  <a:path w="28942" h="68414" extrusionOk="0">
                    <a:moveTo>
                      <a:pt x="25868" y="0"/>
                    </a:moveTo>
                    <a:lnTo>
                      <a:pt x="28616" y="206"/>
                    </a:lnTo>
                    <a:lnTo>
                      <a:pt x="28616" y="10941"/>
                    </a:lnTo>
                    <a:cubicBezTo>
                      <a:pt x="27390" y="10808"/>
                      <a:pt x="26157" y="10739"/>
                      <a:pt x="24923" y="10735"/>
                    </a:cubicBezTo>
                    <a:cubicBezTo>
                      <a:pt x="23616" y="10538"/>
                      <a:pt x="22290" y="10956"/>
                      <a:pt x="21333" y="11869"/>
                    </a:cubicBezTo>
                    <a:cubicBezTo>
                      <a:pt x="20704" y="12627"/>
                      <a:pt x="20358" y="13580"/>
                      <a:pt x="20354" y="14566"/>
                    </a:cubicBezTo>
                    <a:lnTo>
                      <a:pt x="20354" y="18791"/>
                    </a:lnTo>
                    <a:lnTo>
                      <a:pt x="28943" y="18791"/>
                    </a:lnTo>
                    <a:lnTo>
                      <a:pt x="28943" y="28032"/>
                    </a:lnTo>
                    <a:lnTo>
                      <a:pt x="20354" y="28032"/>
                    </a:lnTo>
                    <a:lnTo>
                      <a:pt x="20354" y="68414"/>
                    </a:lnTo>
                    <a:lnTo>
                      <a:pt x="7352" y="68414"/>
                    </a:lnTo>
                    <a:lnTo>
                      <a:pt x="7352" y="28032"/>
                    </a:lnTo>
                    <a:lnTo>
                      <a:pt x="0" y="28032"/>
                    </a:lnTo>
                    <a:lnTo>
                      <a:pt x="0" y="18791"/>
                    </a:lnTo>
                    <a:lnTo>
                      <a:pt x="7163" y="18791"/>
                    </a:lnTo>
                    <a:lnTo>
                      <a:pt x="7163" y="15579"/>
                    </a:lnTo>
                    <a:cubicBezTo>
                      <a:pt x="7163" y="10220"/>
                      <a:pt x="8067" y="6527"/>
                      <a:pt x="9877" y="4500"/>
                    </a:cubicBezTo>
                    <a:cubicBezTo>
                      <a:pt x="11783" y="1494"/>
                      <a:pt x="16352" y="0"/>
                      <a:pt x="23618" y="0"/>
                    </a:cubicBezTo>
                    <a:cubicBezTo>
                      <a:pt x="24442" y="0"/>
                      <a:pt x="25198" y="0"/>
                      <a:pt x="25868" y="0"/>
                    </a:cubicBezTo>
                    <a:close/>
                  </a:path>
                </a:pathLst>
              </a:custGeom>
              <a:solidFill>
                <a:srgbClr val="00B0F0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</a:pPr>
                <a:endParaRPr sz="1400" b="0" i="0" u="none" strike="noStrike" cap="none">
                  <a:solidFill>
                    <a:srgbClr val="B4B4B4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51" name="Google Shape;351;p35"/>
              <p:cNvSpPr/>
              <p:nvPr/>
            </p:nvSpPr>
            <p:spPr>
              <a:xfrm rot="-5400000">
                <a:off x="12016830" y="6161182"/>
                <a:ext cx="49036" cy="51048"/>
              </a:xfrm>
              <a:custGeom>
                <a:avLst/>
                <a:gdLst/>
                <a:ahLst/>
                <a:cxnLst/>
                <a:rect l="l" t="t" r="r" b="b"/>
                <a:pathLst>
                  <a:path w="49036" h="51048" extrusionOk="0">
                    <a:moveTo>
                      <a:pt x="42949" y="43542"/>
                    </a:moveTo>
                    <a:cubicBezTo>
                      <a:pt x="38907" y="48535"/>
                      <a:pt x="32763" y="51037"/>
                      <a:pt x="24519" y="51049"/>
                    </a:cubicBezTo>
                    <a:cubicBezTo>
                      <a:pt x="16274" y="51060"/>
                      <a:pt x="10125" y="48558"/>
                      <a:pt x="6071" y="43542"/>
                    </a:cubicBezTo>
                    <a:cubicBezTo>
                      <a:pt x="2000" y="38452"/>
                      <a:pt x="-145" y="32091"/>
                      <a:pt x="8" y="25576"/>
                    </a:cubicBezTo>
                    <a:cubicBezTo>
                      <a:pt x="-130" y="19058"/>
                      <a:pt x="2016" y="12697"/>
                      <a:pt x="6071" y="7592"/>
                    </a:cubicBezTo>
                    <a:cubicBezTo>
                      <a:pt x="10125" y="2519"/>
                      <a:pt x="16274" y="-11"/>
                      <a:pt x="24519" y="0"/>
                    </a:cubicBezTo>
                    <a:cubicBezTo>
                      <a:pt x="32763" y="12"/>
                      <a:pt x="38907" y="2542"/>
                      <a:pt x="42949" y="7592"/>
                    </a:cubicBezTo>
                    <a:cubicBezTo>
                      <a:pt x="47010" y="12695"/>
                      <a:pt x="49160" y="19056"/>
                      <a:pt x="49030" y="25576"/>
                    </a:cubicBezTo>
                    <a:cubicBezTo>
                      <a:pt x="49177" y="32093"/>
                      <a:pt x="47023" y="38454"/>
                      <a:pt x="42949" y="43542"/>
                    </a:cubicBezTo>
                    <a:close/>
                    <a:moveTo>
                      <a:pt x="32918" y="36672"/>
                    </a:moveTo>
                    <a:cubicBezTo>
                      <a:pt x="35077" y="33390"/>
                      <a:pt x="36115" y="29497"/>
                      <a:pt x="35872" y="25576"/>
                    </a:cubicBezTo>
                    <a:cubicBezTo>
                      <a:pt x="36123" y="21654"/>
                      <a:pt x="35086" y="17758"/>
                      <a:pt x="32918" y="14480"/>
                    </a:cubicBezTo>
                    <a:cubicBezTo>
                      <a:pt x="28893" y="9808"/>
                      <a:pt x="21844" y="9283"/>
                      <a:pt x="17172" y="13307"/>
                    </a:cubicBezTo>
                    <a:cubicBezTo>
                      <a:pt x="16753" y="13668"/>
                      <a:pt x="16360" y="14060"/>
                      <a:pt x="15999" y="14480"/>
                    </a:cubicBezTo>
                    <a:cubicBezTo>
                      <a:pt x="13826" y="17756"/>
                      <a:pt x="12782" y="21652"/>
                      <a:pt x="13027" y="25576"/>
                    </a:cubicBezTo>
                    <a:cubicBezTo>
                      <a:pt x="12782" y="29510"/>
                      <a:pt x="13824" y="33418"/>
                      <a:pt x="15999" y="36706"/>
                    </a:cubicBezTo>
                    <a:cubicBezTo>
                      <a:pt x="19994" y="41378"/>
                      <a:pt x="27020" y="41927"/>
                      <a:pt x="31692" y="37932"/>
                    </a:cubicBezTo>
                    <a:cubicBezTo>
                      <a:pt x="32131" y="37556"/>
                      <a:pt x="32542" y="37146"/>
                      <a:pt x="32918" y="36706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</a:pPr>
                <a:endParaRPr sz="1400" b="0" i="0" u="none" strike="noStrike" cap="none">
                  <a:solidFill>
                    <a:srgbClr val="B4B4B4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52" name="Google Shape;352;p35"/>
              <p:cNvSpPr/>
              <p:nvPr/>
            </p:nvSpPr>
            <p:spPr>
              <a:xfrm rot="-5400000">
                <a:off x="12005374" y="6370523"/>
                <a:ext cx="71791" cy="51205"/>
              </a:xfrm>
              <a:custGeom>
                <a:avLst/>
                <a:gdLst/>
                <a:ahLst/>
                <a:cxnLst/>
                <a:rect l="l" t="t" r="r" b="b"/>
                <a:pathLst>
                  <a:path w="71791" h="51205" extrusionOk="0">
                    <a:moveTo>
                      <a:pt x="62643" y="1307"/>
                    </a:moveTo>
                    <a:cubicBezTo>
                      <a:pt x="64938" y="2282"/>
                      <a:pt x="66944" y="3832"/>
                      <a:pt x="68466" y="5808"/>
                    </a:cubicBezTo>
                    <a:cubicBezTo>
                      <a:pt x="69936" y="7685"/>
                      <a:pt x="70917" y="9898"/>
                      <a:pt x="71317" y="12249"/>
                    </a:cubicBezTo>
                    <a:cubicBezTo>
                      <a:pt x="71680" y="14693"/>
                      <a:pt x="71834" y="17164"/>
                      <a:pt x="71781" y="19635"/>
                    </a:cubicBezTo>
                    <a:lnTo>
                      <a:pt x="71781" y="51205"/>
                    </a:lnTo>
                    <a:lnTo>
                      <a:pt x="58349" y="51205"/>
                    </a:lnTo>
                    <a:lnTo>
                      <a:pt x="58349" y="19308"/>
                    </a:lnTo>
                    <a:cubicBezTo>
                      <a:pt x="58414" y="17701"/>
                      <a:pt x="58101" y="16101"/>
                      <a:pt x="57438" y="14636"/>
                    </a:cubicBezTo>
                    <a:cubicBezTo>
                      <a:pt x="56188" y="12289"/>
                      <a:pt x="53642" y="10931"/>
                      <a:pt x="50997" y="11201"/>
                    </a:cubicBezTo>
                    <a:cubicBezTo>
                      <a:pt x="47802" y="10957"/>
                      <a:pt x="44803" y="12763"/>
                      <a:pt x="43525" y="15701"/>
                    </a:cubicBezTo>
                    <a:cubicBezTo>
                      <a:pt x="42766" y="17522"/>
                      <a:pt x="42404" y="19483"/>
                      <a:pt x="42460" y="21455"/>
                    </a:cubicBezTo>
                    <a:lnTo>
                      <a:pt x="42460" y="51205"/>
                    </a:lnTo>
                    <a:lnTo>
                      <a:pt x="29269" y="51205"/>
                    </a:lnTo>
                    <a:lnTo>
                      <a:pt x="29269" y="21387"/>
                    </a:lnTo>
                    <a:cubicBezTo>
                      <a:pt x="29389" y="19189"/>
                      <a:pt x="29080" y="16990"/>
                      <a:pt x="28359" y="14911"/>
                    </a:cubicBezTo>
                    <a:cubicBezTo>
                      <a:pt x="27192" y="12446"/>
                      <a:pt x="24595" y="10986"/>
                      <a:pt x="21883" y="11270"/>
                    </a:cubicBezTo>
                    <a:cubicBezTo>
                      <a:pt x="18138" y="11270"/>
                      <a:pt x="15626" y="12484"/>
                      <a:pt x="14342" y="14911"/>
                    </a:cubicBezTo>
                    <a:cubicBezTo>
                      <a:pt x="13527" y="16854"/>
                      <a:pt x="13162" y="18956"/>
                      <a:pt x="13277" y="21060"/>
                    </a:cubicBezTo>
                    <a:lnTo>
                      <a:pt x="13277" y="51205"/>
                    </a:lnTo>
                    <a:lnTo>
                      <a:pt x="0" y="51205"/>
                    </a:lnTo>
                    <a:lnTo>
                      <a:pt x="0" y="1221"/>
                    </a:lnTo>
                    <a:lnTo>
                      <a:pt x="12728" y="1221"/>
                    </a:lnTo>
                    <a:lnTo>
                      <a:pt x="12728" y="8556"/>
                    </a:lnTo>
                    <a:cubicBezTo>
                      <a:pt x="13930" y="6449"/>
                      <a:pt x="15488" y="4567"/>
                      <a:pt x="17331" y="2991"/>
                    </a:cubicBezTo>
                    <a:cubicBezTo>
                      <a:pt x="23120" y="-769"/>
                      <a:pt x="30538" y="-929"/>
                      <a:pt x="36483" y="2578"/>
                    </a:cubicBezTo>
                    <a:cubicBezTo>
                      <a:pt x="38381" y="4179"/>
                      <a:pt x="39841" y="6236"/>
                      <a:pt x="40726" y="8556"/>
                    </a:cubicBezTo>
                    <a:cubicBezTo>
                      <a:pt x="42206" y="5843"/>
                      <a:pt x="44413" y="3595"/>
                      <a:pt x="47098" y="2063"/>
                    </a:cubicBezTo>
                    <a:cubicBezTo>
                      <a:pt x="49896" y="665"/>
                      <a:pt x="52988" y="-42"/>
                      <a:pt x="56116" y="2"/>
                    </a:cubicBezTo>
                    <a:cubicBezTo>
                      <a:pt x="58356" y="15"/>
                      <a:pt x="60571" y="458"/>
                      <a:pt x="62643" y="1307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</a:pPr>
                <a:endParaRPr sz="1400" b="0" i="0" u="none" strike="noStrike" cap="none">
                  <a:solidFill>
                    <a:srgbClr val="B4B4B4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53" name="Google Shape;353;p35"/>
              <p:cNvSpPr/>
              <p:nvPr/>
            </p:nvSpPr>
            <p:spPr>
              <a:xfrm rot="-5400000">
                <a:off x="12026199" y="6307354"/>
                <a:ext cx="13277" cy="68070"/>
              </a:xfrm>
              <a:custGeom>
                <a:avLst/>
                <a:gdLst/>
                <a:ahLst/>
                <a:cxnLst/>
                <a:rect l="l" t="t" r="r" b="b"/>
                <a:pathLst>
                  <a:path w="13277" h="68070" extrusionOk="0">
                    <a:moveTo>
                      <a:pt x="13278" y="12024"/>
                    </a:moveTo>
                    <a:lnTo>
                      <a:pt x="0" y="12024"/>
                    </a:lnTo>
                    <a:lnTo>
                      <a:pt x="0" y="0"/>
                    </a:lnTo>
                    <a:lnTo>
                      <a:pt x="13278" y="0"/>
                    </a:lnTo>
                    <a:close/>
                    <a:moveTo>
                      <a:pt x="0" y="17984"/>
                    </a:moveTo>
                    <a:lnTo>
                      <a:pt x="13278" y="17984"/>
                    </a:lnTo>
                    <a:lnTo>
                      <a:pt x="13278" y="68070"/>
                    </a:lnTo>
                    <a:lnTo>
                      <a:pt x="0" y="68070"/>
                    </a:ln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</a:pPr>
                <a:endParaRPr sz="1400" b="0" i="0" u="none" strike="noStrike" cap="none">
                  <a:solidFill>
                    <a:srgbClr val="B4B4B4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54" name="Google Shape;354;p35"/>
              <p:cNvSpPr/>
              <p:nvPr/>
            </p:nvSpPr>
            <p:spPr>
              <a:xfrm rot="-5400000">
                <a:off x="12018641" y="6273739"/>
                <a:ext cx="45208" cy="51255"/>
              </a:xfrm>
              <a:custGeom>
                <a:avLst/>
                <a:gdLst/>
                <a:ahLst/>
                <a:cxnLst/>
                <a:rect l="l" t="t" r="r" b="b"/>
                <a:pathLst>
                  <a:path w="45208" h="51255" extrusionOk="0">
                    <a:moveTo>
                      <a:pt x="40296" y="4038"/>
                    </a:moveTo>
                    <a:cubicBezTo>
                      <a:pt x="43560" y="6752"/>
                      <a:pt x="45209" y="11252"/>
                      <a:pt x="45209" y="17521"/>
                    </a:cubicBezTo>
                    <a:lnTo>
                      <a:pt x="45209" y="51256"/>
                    </a:lnTo>
                    <a:lnTo>
                      <a:pt x="31794" y="51256"/>
                    </a:lnTo>
                    <a:lnTo>
                      <a:pt x="31794" y="20785"/>
                    </a:lnTo>
                    <a:cubicBezTo>
                      <a:pt x="31900" y="18711"/>
                      <a:pt x="31543" y="16639"/>
                      <a:pt x="30746" y="14722"/>
                    </a:cubicBezTo>
                    <a:cubicBezTo>
                      <a:pt x="29458" y="12162"/>
                      <a:pt x="27036" y="10874"/>
                      <a:pt x="23446" y="10874"/>
                    </a:cubicBezTo>
                    <a:cubicBezTo>
                      <a:pt x="19511" y="10565"/>
                      <a:pt x="15833" y="12857"/>
                      <a:pt x="14377" y="16525"/>
                    </a:cubicBezTo>
                    <a:cubicBezTo>
                      <a:pt x="13439" y="18955"/>
                      <a:pt x="13001" y="21549"/>
                      <a:pt x="13089" y="24151"/>
                    </a:cubicBezTo>
                    <a:lnTo>
                      <a:pt x="13089" y="51256"/>
                    </a:lnTo>
                    <a:lnTo>
                      <a:pt x="0" y="51256"/>
                    </a:lnTo>
                    <a:lnTo>
                      <a:pt x="0" y="1272"/>
                    </a:lnTo>
                    <a:lnTo>
                      <a:pt x="12676" y="1272"/>
                    </a:lnTo>
                    <a:lnTo>
                      <a:pt x="12676" y="8607"/>
                    </a:lnTo>
                    <a:cubicBezTo>
                      <a:pt x="13946" y="6502"/>
                      <a:pt x="15553" y="4622"/>
                      <a:pt x="17434" y="3042"/>
                    </a:cubicBezTo>
                    <a:cubicBezTo>
                      <a:pt x="20409" y="938"/>
                      <a:pt x="23996" y="-125"/>
                      <a:pt x="27637" y="18"/>
                    </a:cubicBezTo>
                    <a:cubicBezTo>
                      <a:pt x="32199" y="-181"/>
                      <a:pt x="36684" y="1243"/>
                      <a:pt x="40296" y="4038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</a:pPr>
                <a:endParaRPr sz="1400" b="0" i="0" u="none" strike="noStrike" cap="none">
                  <a:solidFill>
                    <a:srgbClr val="B4B4B4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55" name="Google Shape;355;p35"/>
              <p:cNvSpPr/>
              <p:nvPr/>
            </p:nvSpPr>
            <p:spPr>
              <a:xfrm rot="-5400000">
                <a:off x="12017163" y="6218687"/>
                <a:ext cx="48082" cy="51510"/>
              </a:xfrm>
              <a:custGeom>
                <a:avLst/>
                <a:gdLst/>
                <a:ahLst/>
                <a:cxnLst/>
                <a:rect l="l" t="t" r="r" b="b"/>
                <a:pathLst>
                  <a:path w="48082" h="51510" extrusionOk="0">
                    <a:moveTo>
                      <a:pt x="35384" y="2281"/>
                    </a:moveTo>
                    <a:cubicBezTo>
                      <a:pt x="38804" y="3821"/>
                      <a:pt x="41712" y="6306"/>
                      <a:pt x="43766" y="9444"/>
                    </a:cubicBezTo>
                    <a:cubicBezTo>
                      <a:pt x="45803" y="12448"/>
                      <a:pt x="47126" y="15880"/>
                      <a:pt x="47631" y="19475"/>
                    </a:cubicBezTo>
                    <a:cubicBezTo>
                      <a:pt x="48021" y="22665"/>
                      <a:pt x="48160" y="25881"/>
                      <a:pt x="48043" y="29094"/>
                    </a:cubicBezTo>
                    <a:lnTo>
                      <a:pt x="12711" y="29094"/>
                    </a:lnTo>
                    <a:cubicBezTo>
                      <a:pt x="12900" y="33955"/>
                      <a:pt x="14600" y="37373"/>
                      <a:pt x="17778" y="39400"/>
                    </a:cubicBezTo>
                    <a:cubicBezTo>
                      <a:pt x="19884" y="40669"/>
                      <a:pt x="22311" y="41306"/>
                      <a:pt x="24769" y="41237"/>
                    </a:cubicBezTo>
                    <a:cubicBezTo>
                      <a:pt x="27307" y="41354"/>
                      <a:pt x="29803" y="40563"/>
                      <a:pt x="31811" y="39004"/>
                    </a:cubicBezTo>
                    <a:cubicBezTo>
                      <a:pt x="32891" y="38080"/>
                      <a:pt x="33774" y="36947"/>
                      <a:pt x="34405" y="35672"/>
                    </a:cubicBezTo>
                    <a:lnTo>
                      <a:pt x="47407" y="35672"/>
                    </a:lnTo>
                    <a:cubicBezTo>
                      <a:pt x="46818" y="39021"/>
                      <a:pt x="45169" y="42092"/>
                      <a:pt x="42701" y="44432"/>
                    </a:cubicBezTo>
                    <a:cubicBezTo>
                      <a:pt x="38355" y="49156"/>
                      <a:pt x="32292" y="51509"/>
                      <a:pt x="24459" y="51509"/>
                    </a:cubicBezTo>
                    <a:cubicBezTo>
                      <a:pt x="18245" y="51584"/>
                      <a:pt x="12202" y="49474"/>
                      <a:pt x="7386" y="45549"/>
                    </a:cubicBezTo>
                    <a:cubicBezTo>
                      <a:pt x="2461" y="41564"/>
                      <a:pt x="0" y="35094"/>
                      <a:pt x="0" y="26139"/>
                    </a:cubicBezTo>
                    <a:cubicBezTo>
                      <a:pt x="0" y="17746"/>
                      <a:pt x="2228" y="11304"/>
                      <a:pt x="6682" y="6816"/>
                    </a:cubicBezTo>
                    <a:cubicBezTo>
                      <a:pt x="11252" y="2254"/>
                      <a:pt x="17508" y="-208"/>
                      <a:pt x="23961" y="14"/>
                    </a:cubicBezTo>
                    <a:cubicBezTo>
                      <a:pt x="27886" y="-52"/>
                      <a:pt x="31782" y="721"/>
                      <a:pt x="35384" y="2281"/>
                    </a:cubicBezTo>
                    <a:close/>
                    <a:moveTo>
                      <a:pt x="16490" y="13223"/>
                    </a:moveTo>
                    <a:cubicBezTo>
                      <a:pt x="14554" y="15309"/>
                      <a:pt x="13350" y="17967"/>
                      <a:pt x="13054" y="20797"/>
                    </a:cubicBezTo>
                    <a:lnTo>
                      <a:pt x="34886" y="20797"/>
                    </a:lnTo>
                    <a:cubicBezTo>
                      <a:pt x="34844" y="17880"/>
                      <a:pt x="33601" y="15108"/>
                      <a:pt x="31450" y="13137"/>
                    </a:cubicBezTo>
                    <a:cubicBezTo>
                      <a:pt x="29363" y="11367"/>
                      <a:pt x="26698" y="10426"/>
                      <a:pt x="23961" y="10491"/>
                    </a:cubicBezTo>
                    <a:cubicBezTo>
                      <a:pt x="21201" y="10337"/>
                      <a:pt x="18499" y="11325"/>
                      <a:pt x="16490" y="13223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</a:pPr>
                <a:endParaRPr sz="1400" b="0" i="0" u="none" strike="noStrike" cap="none">
                  <a:solidFill>
                    <a:srgbClr val="B4B4B4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pic>
          <p:nvPicPr>
            <p:cNvPr id="356" name="Google Shape;356;p3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 rot="-5400000">
              <a:off x="11811888" y="6322371"/>
              <a:ext cx="441438" cy="68706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357" name="Google Shape;357;p35"/>
            <p:cNvSpPr txBox="1"/>
            <p:nvPr/>
          </p:nvSpPr>
          <p:spPr>
            <a:xfrm rot="-5400000">
              <a:off x="11250972" y="5263963"/>
              <a:ext cx="1567737" cy="1108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b" anchorCtr="0">
              <a:spAutoFit/>
            </a:bodyPr>
            <a:lstStyle/>
            <a:p>
              <a:pPr marL="0" marR="0" lvl="0" indent="0" algn="l" rtl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800"/>
                <a:buFont typeface="Arial"/>
                <a:buNone/>
              </a:pPr>
              <a:r>
                <a:rPr lang="en-US" sz="800" b="0" i="0" u="none" strike="noStrike" cap="none">
                  <a:solidFill>
                    <a:srgbClr val="B4B4B4"/>
                  </a:solidFill>
                  <a:latin typeface="Calibri"/>
                  <a:ea typeface="Calibri"/>
                  <a:cs typeface="Calibri"/>
                  <a:sym typeface="Calibri"/>
                </a:rPr>
                <a:t>Copyright © 2020. All rights reserved.</a:t>
              </a: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358" name="Google Shape;358;p35"/>
          <p:cNvSpPr txBox="1"/>
          <p:nvPr/>
        </p:nvSpPr>
        <p:spPr>
          <a:xfrm>
            <a:off x="11490153" y="6465614"/>
            <a:ext cx="150682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marR="0" lvl="0" indent="0" algn="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fld id="{00000000-1234-1234-1234-123412341234}" type="slidenum">
              <a:rPr lang="en-US"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rPr>
              <a:t>‹#›</a:t>
            </a:fld>
            <a:endParaRPr sz="1000" b="0" i="0" u="none" strike="noStrike" cap="none">
              <a:solidFill>
                <a:srgbClr val="7F7F7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 Slide (Option 2)" type="title">
  <p:cSld name="Title Slide (Option 2)">
    <p:spTree>
      <p:nvGrpSpPr>
        <p:cNvPr id="1" name="Shape 3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3" name="Google Shape;33;p46" descr="A large body of water with a city in the background&#10;&#10;Description automatically generated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69998" y="270000"/>
            <a:ext cx="11652001" cy="6318000"/>
          </a:xfrm>
          <a:prstGeom prst="rect">
            <a:avLst/>
          </a:prstGeom>
          <a:noFill/>
          <a:ln>
            <a:noFill/>
          </a:ln>
        </p:spPr>
      </p:pic>
      <p:sp>
        <p:nvSpPr>
          <p:cNvPr id="34" name="Google Shape;34;p46"/>
          <p:cNvSpPr/>
          <p:nvPr/>
        </p:nvSpPr>
        <p:spPr>
          <a:xfrm>
            <a:off x="536448" y="540000"/>
            <a:ext cx="6363891" cy="6318000"/>
          </a:xfrm>
          <a:prstGeom prst="rect">
            <a:avLst/>
          </a:prstGeom>
          <a:gradFill>
            <a:gsLst>
              <a:gs pos="0">
                <a:srgbClr val="062379"/>
              </a:gs>
              <a:gs pos="26000">
                <a:srgbClr val="0934B6">
                  <a:alpha val="88235"/>
                </a:srgbClr>
              </a:gs>
              <a:gs pos="64000">
                <a:srgbClr val="036DFF">
                  <a:alpha val="80000"/>
                </a:srgbClr>
              </a:gs>
              <a:gs pos="100000">
                <a:srgbClr val="43E1D3">
                  <a:alpha val="88235"/>
                </a:srgbClr>
              </a:gs>
            </a:gsLst>
            <a:lin ang="270000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5" name="Google Shape;35;p46"/>
          <p:cNvSpPr txBox="1">
            <a:spLocks noGrp="1"/>
          </p:cNvSpPr>
          <p:nvPr>
            <p:ph type="ctrTitle"/>
          </p:nvPr>
        </p:nvSpPr>
        <p:spPr>
          <a:xfrm>
            <a:off x="902896" y="3066686"/>
            <a:ext cx="5337943" cy="123110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5000"/>
              <a:buFont typeface="Franklin Gothic"/>
              <a:buNone/>
              <a:defRPr sz="5000" cap="none">
                <a:solidFill>
                  <a:schemeClr val="lt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6" name="Google Shape;36;p46"/>
          <p:cNvSpPr txBox="1">
            <a:spLocks noGrp="1"/>
          </p:cNvSpPr>
          <p:nvPr>
            <p:ph type="subTitle" idx="1"/>
          </p:nvPr>
        </p:nvSpPr>
        <p:spPr>
          <a:xfrm>
            <a:off x="902896" y="4348579"/>
            <a:ext cx="5337943" cy="2923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95000"/>
              </a:lnSpc>
              <a:spcBef>
                <a:spcPts val="1000"/>
              </a:spcBef>
              <a:spcAft>
                <a:spcPts val="0"/>
              </a:spcAft>
              <a:buClr>
                <a:schemeClr val="lt1"/>
              </a:buClr>
              <a:buSzPts val="2000"/>
              <a:buNone/>
              <a:defRPr sz="2000" cap="none">
                <a:solidFill>
                  <a:schemeClr val="lt1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1pPr>
            <a:lvl2pPr lvl="1" algn="l">
              <a:lnSpc>
                <a:spcPct val="95000"/>
              </a:lnSpc>
              <a:spcBef>
                <a:spcPts val="500"/>
              </a:spcBef>
              <a:spcAft>
                <a:spcPts val="0"/>
              </a:spcAft>
              <a:buSzPts val="1620"/>
              <a:buChar char="▪"/>
              <a:defRPr/>
            </a:lvl2pPr>
            <a:lvl3pPr lvl="2" algn="l">
              <a:lnSpc>
                <a:spcPct val="95000"/>
              </a:lnSpc>
              <a:spcBef>
                <a:spcPts val="300"/>
              </a:spcBef>
              <a:spcAft>
                <a:spcPts val="0"/>
              </a:spcAft>
              <a:buSzPts val="1800"/>
              <a:buChar char="−"/>
              <a:defRPr/>
            </a:lvl3pPr>
            <a:lvl4pPr lvl="3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620"/>
              <a:buChar char="▪"/>
              <a:defRPr/>
            </a:lvl4pPr>
            <a:lvl5pPr lvl="4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800"/>
              <a:buChar char="−"/>
              <a:defRPr/>
            </a:lvl5pPr>
            <a:lvl6pPr lvl="5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lvl="6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lvl="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lvl="8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7" name="Google Shape;37;p46"/>
          <p:cNvSpPr txBox="1">
            <a:spLocks noGrp="1"/>
          </p:cNvSpPr>
          <p:nvPr>
            <p:ph type="dt" idx="10"/>
          </p:nvPr>
        </p:nvSpPr>
        <p:spPr>
          <a:xfrm>
            <a:off x="902896" y="5923689"/>
            <a:ext cx="1599925" cy="1938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chemeClr val="lt1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pic>
        <p:nvPicPr>
          <p:cNvPr id="38" name="Google Shape;38;p46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902896" y="901732"/>
            <a:ext cx="2497452" cy="57428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97270892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">
    <p:spTree>
      <p:nvGrpSpPr>
        <p:cNvPr id="1" name="Shape 3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Google Shape;40;p47"/>
          <p:cNvSpPr txBox="1">
            <a:spLocks noGrp="1"/>
          </p:cNvSpPr>
          <p:nvPr>
            <p:ph type="title"/>
          </p:nvPr>
        </p:nvSpPr>
        <p:spPr>
          <a:xfrm>
            <a:off x="539400" y="560588"/>
            <a:ext cx="11089972" cy="42229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200"/>
              <a:buFont typeface="Franklin Gothic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1" name="Google Shape;41;p47"/>
          <p:cNvSpPr txBox="1">
            <a:spLocks noGrp="1"/>
          </p:cNvSpPr>
          <p:nvPr>
            <p:ph type="sldNum" idx="12"/>
          </p:nvPr>
        </p:nvSpPr>
        <p:spPr>
          <a:xfrm>
            <a:off x="11490153" y="6465614"/>
            <a:ext cx="150682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marL="0" marR="0" lvl="0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42" name="Google Shape;42;p47"/>
          <p:cNvSpPr txBox="1">
            <a:spLocks noGrp="1"/>
          </p:cNvSpPr>
          <p:nvPr>
            <p:ph type="ftr" idx="11"/>
          </p:nvPr>
        </p:nvSpPr>
        <p:spPr>
          <a:xfrm>
            <a:off x="550863" y="6465614"/>
            <a:ext cx="5545138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41739790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 type="obj">
  <p:cSld name="OBJECT">
    <p:spTree>
      <p:nvGrpSpPr>
        <p:cNvPr id="1" name="Shape 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Google Shape;26;p12"/>
          <p:cNvSpPr txBox="1"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7" name="Google Shape;27;p12"/>
          <p:cNvSpPr txBox="1"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8" name="Google Shape;28;p12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9" name="Google Shape;29;p12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0" name="Google Shape;30;p12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Breaker Slide_1">
  <p:cSld name="Breaker Slide_1">
    <p:bg>
      <p:bgPr>
        <a:solidFill>
          <a:schemeClr val="lt2"/>
        </a:solidFill>
        <a:effectLst/>
      </p:bgPr>
    </p:bg>
    <p:spTree>
      <p:nvGrpSpPr>
        <p:cNvPr id="1" name="Shape 4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4" name="Google Shape;44;p68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45" name="Google Shape;45;p68"/>
          <p:cNvSpPr/>
          <p:nvPr/>
        </p:nvSpPr>
        <p:spPr>
          <a:xfrm>
            <a:off x="0" y="0"/>
            <a:ext cx="2682587" cy="6858000"/>
          </a:xfrm>
          <a:prstGeom prst="rect">
            <a:avLst/>
          </a:prstGeom>
          <a:solidFill>
            <a:schemeClr val="lt2">
              <a:alpha val="68235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6" name="Google Shape;46;p68"/>
          <p:cNvSpPr/>
          <p:nvPr/>
        </p:nvSpPr>
        <p:spPr>
          <a:xfrm>
            <a:off x="0" y="3700463"/>
            <a:ext cx="9412014" cy="2414587"/>
          </a:xfrm>
          <a:prstGeom prst="rect">
            <a:avLst/>
          </a:prstGeom>
          <a:gradFill>
            <a:gsLst>
              <a:gs pos="0">
                <a:srgbClr val="062379"/>
              </a:gs>
              <a:gs pos="55000">
                <a:srgbClr val="385ED2"/>
              </a:gs>
              <a:gs pos="76000">
                <a:srgbClr val="4873F5">
                  <a:alpha val="88235"/>
                </a:srgbClr>
              </a:gs>
              <a:gs pos="100000">
                <a:srgbClr val="43E1D3">
                  <a:alpha val="88235"/>
                </a:srgbClr>
              </a:gs>
            </a:gsLst>
            <a:lin ang="300000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7" name="Google Shape;47;p68"/>
          <p:cNvSpPr txBox="1">
            <a:spLocks noGrp="1"/>
          </p:cNvSpPr>
          <p:nvPr>
            <p:ph type="title"/>
          </p:nvPr>
        </p:nvSpPr>
        <p:spPr>
          <a:xfrm>
            <a:off x="737591" y="4108436"/>
            <a:ext cx="8494899" cy="1569660"/>
          </a:xfrm>
          <a:prstGeom prst="rect">
            <a:avLst/>
          </a:prstGeom>
          <a:noFill/>
          <a:ln>
            <a:noFill/>
          </a:ln>
          <a:effectLst>
            <a:outerShdw blurRad="190500" algn="tl" rotWithShape="0">
              <a:srgbClr val="000000">
                <a:alpha val="28235"/>
              </a:srgbClr>
            </a:outerShdw>
          </a:effectLst>
        </p:spPr>
        <p:txBody>
          <a:bodyPr spcFirstLastPara="1" wrap="square" lIns="0" tIns="0" rIns="0" bIns="0" anchor="ctr" anchorCtr="0">
            <a:sp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6000"/>
              <a:buFont typeface="Franklin Gothic"/>
              <a:buNone/>
              <a:defRPr sz="6000">
                <a:solidFill>
                  <a:schemeClr val="lt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48" name="Google Shape;48;p68"/>
          <p:cNvGrpSpPr/>
          <p:nvPr/>
        </p:nvGrpSpPr>
        <p:grpSpPr>
          <a:xfrm>
            <a:off x="11998459" y="6162188"/>
            <a:ext cx="68500" cy="441925"/>
            <a:chOff x="11998459" y="6162188"/>
            <a:chExt cx="68500" cy="441925"/>
          </a:xfrm>
        </p:grpSpPr>
        <p:sp>
          <p:nvSpPr>
            <p:cNvPr id="49" name="Google Shape;49;p68"/>
            <p:cNvSpPr/>
            <p:nvPr/>
          </p:nvSpPr>
          <p:spPr>
            <a:xfrm rot="-5400000">
              <a:off x="12063068" y="6476346"/>
              <a:ext cx="17" cy="1717"/>
            </a:xfrm>
            <a:custGeom>
              <a:avLst/>
              <a:gdLst/>
              <a:ahLst/>
              <a:cxnLst/>
              <a:rect l="l" t="t" r="r" b="b"/>
              <a:pathLst>
                <a:path w="17" h="1717" extrusionOk="0">
                  <a:moveTo>
                    <a:pt x="0" y="0"/>
                  </a:moveTo>
                  <a:lnTo>
                    <a:pt x="17" y="0"/>
                  </a:lnTo>
                  <a:lnTo>
                    <a:pt x="17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0" name="Google Shape;50;p68"/>
            <p:cNvSpPr/>
            <p:nvPr/>
          </p:nvSpPr>
          <p:spPr>
            <a:xfrm rot="-5400000">
              <a:off x="12023737" y="6455896"/>
              <a:ext cx="453" cy="271"/>
            </a:xfrm>
            <a:custGeom>
              <a:avLst/>
              <a:gdLst/>
              <a:ahLst/>
              <a:cxnLst/>
              <a:rect l="l" t="t" r="r" b="b"/>
              <a:pathLst>
                <a:path w="453" h="271" extrusionOk="0">
                  <a:moveTo>
                    <a:pt x="0" y="0"/>
                  </a:moveTo>
                  <a:cubicBezTo>
                    <a:pt x="258" y="172"/>
                    <a:pt x="498" y="344"/>
                    <a:pt x="447" y="240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1" name="Google Shape;51;p68"/>
            <p:cNvSpPr/>
            <p:nvPr/>
          </p:nvSpPr>
          <p:spPr>
            <a:xfrm rot="-5400000">
              <a:off x="12023907" y="6477766"/>
              <a:ext cx="15" cy="76"/>
            </a:xfrm>
            <a:custGeom>
              <a:avLst/>
              <a:gdLst/>
              <a:ahLst/>
              <a:cxnLst/>
              <a:rect l="l" t="t" r="r" b="b"/>
              <a:pathLst>
                <a:path w="15" h="76" extrusionOk="0">
                  <a:moveTo>
                    <a:pt x="15" y="38"/>
                  </a:moveTo>
                  <a:cubicBezTo>
                    <a:pt x="15" y="38"/>
                    <a:pt x="15" y="-48"/>
                    <a:pt x="15" y="38"/>
                  </a:cubicBezTo>
                  <a:cubicBezTo>
                    <a:pt x="15" y="124"/>
                    <a:pt x="-19" y="38"/>
                    <a:pt x="15" y="3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2" name="Google Shape;52;p68"/>
            <p:cNvSpPr/>
            <p:nvPr/>
          </p:nvSpPr>
          <p:spPr>
            <a:xfrm rot="-5400000">
              <a:off x="12021636" y="6473651"/>
              <a:ext cx="261" cy="103"/>
            </a:xfrm>
            <a:custGeom>
              <a:avLst/>
              <a:gdLst/>
              <a:ahLst/>
              <a:cxnLst/>
              <a:rect l="l" t="t" r="r" b="b"/>
              <a:pathLst>
                <a:path w="261" h="103" extrusionOk="0">
                  <a:moveTo>
                    <a:pt x="262" y="0"/>
                  </a:moveTo>
                  <a:lnTo>
                    <a:pt x="56" y="103"/>
                  </a:lnTo>
                  <a:cubicBezTo>
                    <a:pt x="176" y="103"/>
                    <a:pt x="-116" y="103"/>
                    <a:pt x="56" y="103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3" name="Google Shape;53;p68"/>
            <p:cNvSpPr/>
            <p:nvPr/>
          </p:nvSpPr>
          <p:spPr>
            <a:xfrm rot="-5400000">
              <a:off x="12015635" y="6442208"/>
              <a:ext cx="51323" cy="51323"/>
            </a:xfrm>
            <a:custGeom>
              <a:avLst/>
              <a:gdLst/>
              <a:ahLst/>
              <a:cxnLst/>
              <a:rect l="l" t="t" r="r" b="b"/>
              <a:pathLst>
                <a:path w="51323" h="51323" extrusionOk="0">
                  <a:moveTo>
                    <a:pt x="25662" y="0"/>
                  </a:moveTo>
                  <a:cubicBezTo>
                    <a:pt x="11489" y="0"/>
                    <a:pt x="0" y="11489"/>
                    <a:pt x="0" y="25662"/>
                  </a:cubicBezTo>
                  <a:cubicBezTo>
                    <a:pt x="0" y="39834"/>
                    <a:pt x="11489" y="51323"/>
                    <a:pt x="25662" y="51323"/>
                  </a:cubicBezTo>
                  <a:cubicBezTo>
                    <a:pt x="39835" y="51323"/>
                    <a:pt x="51324" y="39834"/>
                    <a:pt x="51324" y="25662"/>
                  </a:cubicBezTo>
                  <a:cubicBezTo>
                    <a:pt x="51324" y="25645"/>
                    <a:pt x="51324" y="25627"/>
                    <a:pt x="51324" y="25610"/>
                  </a:cubicBezTo>
                  <a:cubicBezTo>
                    <a:pt x="51314" y="11457"/>
                    <a:pt x="39833" y="-9"/>
                    <a:pt x="25679" y="0"/>
                  </a:cubicBezTo>
                  <a:cubicBezTo>
                    <a:pt x="25673" y="0"/>
                    <a:pt x="25667" y="0"/>
                    <a:pt x="25662" y="0"/>
                  </a:cubicBezTo>
                  <a:close/>
                  <a:moveTo>
                    <a:pt x="26967" y="15648"/>
                  </a:moveTo>
                  <a:cubicBezTo>
                    <a:pt x="26864" y="15648"/>
                    <a:pt x="26967" y="15785"/>
                    <a:pt x="26967" y="15837"/>
                  </a:cubicBezTo>
                  <a:cubicBezTo>
                    <a:pt x="26894" y="15820"/>
                    <a:pt x="26817" y="15820"/>
                    <a:pt x="26744" y="15837"/>
                  </a:cubicBezTo>
                  <a:cubicBezTo>
                    <a:pt x="26899" y="15837"/>
                    <a:pt x="27139" y="16043"/>
                    <a:pt x="26933" y="16163"/>
                  </a:cubicBezTo>
                  <a:cubicBezTo>
                    <a:pt x="26727" y="16283"/>
                    <a:pt x="27019" y="16163"/>
                    <a:pt x="27036" y="16163"/>
                  </a:cubicBezTo>
                  <a:cubicBezTo>
                    <a:pt x="27173" y="15854"/>
                    <a:pt x="27586" y="16283"/>
                    <a:pt x="27294" y="16489"/>
                  </a:cubicBezTo>
                  <a:lnTo>
                    <a:pt x="27294" y="16489"/>
                  </a:lnTo>
                  <a:cubicBezTo>
                    <a:pt x="27294" y="16489"/>
                    <a:pt x="27294" y="16489"/>
                    <a:pt x="27294" y="16489"/>
                  </a:cubicBezTo>
                  <a:lnTo>
                    <a:pt x="27294" y="16489"/>
                  </a:lnTo>
                  <a:cubicBezTo>
                    <a:pt x="27294" y="16489"/>
                    <a:pt x="27191" y="16489"/>
                    <a:pt x="27156" y="16489"/>
                  </a:cubicBezTo>
                  <a:cubicBezTo>
                    <a:pt x="27122" y="16489"/>
                    <a:pt x="27156" y="16489"/>
                    <a:pt x="27156" y="16593"/>
                  </a:cubicBezTo>
                  <a:cubicBezTo>
                    <a:pt x="27156" y="16696"/>
                    <a:pt x="27276" y="16593"/>
                    <a:pt x="27156" y="16593"/>
                  </a:cubicBezTo>
                  <a:cubicBezTo>
                    <a:pt x="27036" y="16593"/>
                    <a:pt x="27294" y="16593"/>
                    <a:pt x="27379" y="16593"/>
                  </a:cubicBezTo>
                  <a:cubicBezTo>
                    <a:pt x="27465" y="16593"/>
                    <a:pt x="27276" y="16713"/>
                    <a:pt x="27276" y="16799"/>
                  </a:cubicBezTo>
                  <a:cubicBezTo>
                    <a:pt x="27276" y="16885"/>
                    <a:pt x="26795" y="16936"/>
                    <a:pt x="26744" y="16799"/>
                  </a:cubicBezTo>
                  <a:cubicBezTo>
                    <a:pt x="26692" y="16661"/>
                    <a:pt x="26297" y="16799"/>
                    <a:pt x="26074" y="16902"/>
                  </a:cubicBezTo>
                  <a:cubicBezTo>
                    <a:pt x="25851" y="17005"/>
                    <a:pt x="26074" y="17125"/>
                    <a:pt x="25868" y="16988"/>
                  </a:cubicBezTo>
                  <a:cubicBezTo>
                    <a:pt x="25662" y="16850"/>
                    <a:pt x="25610" y="16988"/>
                    <a:pt x="25559" y="17142"/>
                  </a:cubicBezTo>
                  <a:cubicBezTo>
                    <a:pt x="25507" y="17297"/>
                    <a:pt x="25559" y="17142"/>
                    <a:pt x="25404" y="17142"/>
                  </a:cubicBezTo>
                  <a:cubicBezTo>
                    <a:pt x="25553" y="17029"/>
                    <a:pt x="25690" y="16902"/>
                    <a:pt x="25816" y="16764"/>
                  </a:cubicBezTo>
                  <a:cubicBezTo>
                    <a:pt x="25816" y="16593"/>
                    <a:pt x="26057" y="16764"/>
                    <a:pt x="26194" y="16764"/>
                  </a:cubicBezTo>
                  <a:cubicBezTo>
                    <a:pt x="26332" y="16764"/>
                    <a:pt x="26297" y="16610"/>
                    <a:pt x="26349" y="16541"/>
                  </a:cubicBezTo>
                  <a:cubicBezTo>
                    <a:pt x="26400" y="16472"/>
                    <a:pt x="26091" y="16764"/>
                    <a:pt x="26005" y="16627"/>
                  </a:cubicBezTo>
                  <a:cubicBezTo>
                    <a:pt x="25919" y="16489"/>
                    <a:pt x="25748" y="16627"/>
                    <a:pt x="25902" y="16627"/>
                  </a:cubicBezTo>
                  <a:cubicBezTo>
                    <a:pt x="26057" y="16627"/>
                    <a:pt x="25765" y="16627"/>
                    <a:pt x="25662" y="16627"/>
                  </a:cubicBezTo>
                  <a:lnTo>
                    <a:pt x="25662" y="16627"/>
                  </a:lnTo>
                  <a:cubicBezTo>
                    <a:pt x="25662" y="16627"/>
                    <a:pt x="25662" y="16627"/>
                    <a:pt x="25662" y="16627"/>
                  </a:cubicBezTo>
                  <a:cubicBezTo>
                    <a:pt x="25919" y="16541"/>
                    <a:pt x="26040" y="16472"/>
                    <a:pt x="26005" y="16215"/>
                  </a:cubicBezTo>
                  <a:lnTo>
                    <a:pt x="25834" y="16215"/>
                  </a:lnTo>
                  <a:cubicBezTo>
                    <a:pt x="25954" y="16094"/>
                    <a:pt x="26126" y="15940"/>
                    <a:pt x="26297" y="16060"/>
                  </a:cubicBezTo>
                  <a:cubicBezTo>
                    <a:pt x="26160" y="15888"/>
                    <a:pt x="26297" y="16060"/>
                    <a:pt x="26297" y="16060"/>
                  </a:cubicBezTo>
                  <a:cubicBezTo>
                    <a:pt x="26297" y="16060"/>
                    <a:pt x="26194" y="15837"/>
                    <a:pt x="26297" y="15785"/>
                  </a:cubicBezTo>
                  <a:cubicBezTo>
                    <a:pt x="26400" y="15734"/>
                    <a:pt x="26297" y="15648"/>
                    <a:pt x="26194" y="15785"/>
                  </a:cubicBezTo>
                  <a:lnTo>
                    <a:pt x="26194" y="15785"/>
                  </a:lnTo>
                  <a:cubicBezTo>
                    <a:pt x="26057" y="15785"/>
                    <a:pt x="26194" y="15476"/>
                    <a:pt x="26194" y="15493"/>
                  </a:cubicBezTo>
                  <a:cubicBezTo>
                    <a:pt x="26023" y="15493"/>
                    <a:pt x="25988" y="15613"/>
                    <a:pt x="25834" y="15493"/>
                  </a:cubicBezTo>
                  <a:cubicBezTo>
                    <a:pt x="25679" y="15373"/>
                    <a:pt x="25834" y="15493"/>
                    <a:pt x="25834" y="15596"/>
                  </a:cubicBezTo>
                  <a:cubicBezTo>
                    <a:pt x="25834" y="15699"/>
                    <a:pt x="25662" y="15459"/>
                    <a:pt x="25713" y="15596"/>
                  </a:cubicBezTo>
                  <a:cubicBezTo>
                    <a:pt x="25765" y="15734"/>
                    <a:pt x="25713" y="15493"/>
                    <a:pt x="25713" y="15459"/>
                  </a:cubicBezTo>
                  <a:lnTo>
                    <a:pt x="25713" y="15459"/>
                  </a:lnTo>
                  <a:cubicBezTo>
                    <a:pt x="25713" y="15459"/>
                    <a:pt x="25713" y="15287"/>
                    <a:pt x="25816" y="15236"/>
                  </a:cubicBezTo>
                  <a:cubicBezTo>
                    <a:pt x="25919" y="15184"/>
                    <a:pt x="25713" y="15029"/>
                    <a:pt x="25816" y="15064"/>
                  </a:cubicBezTo>
                  <a:cubicBezTo>
                    <a:pt x="25919" y="15098"/>
                    <a:pt x="25816" y="15064"/>
                    <a:pt x="25816" y="14961"/>
                  </a:cubicBezTo>
                  <a:cubicBezTo>
                    <a:pt x="25816" y="14858"/>
                    <a:pt x="25816" y="15047"/>
                    <a:pt x="25816" y="15081"/>
                  </a:cubicBezTo>
                  <a:lnTo>
                    <a:pt x="25816" y="15081"/>
                  </a:lnTo>
                  <a:cubicBezTo>
                    <a:pt x="25816" y="15081"/>
                    <a:pt x="25816" y="15081"/>
                    <a:pt x="25816" y="15081"/>
                  </a:cubicBezTo>
                  <a:cubicBezTo>
                    <a:pt x="25816" y="15081"/>
                    <a:pt x="25816" y="15081"/>
                    <a:pt x="25816" y="15081"/>
                  </a:cubicBezTo>
                  <a:cubicBezTo>
                    <a:pt x="25812" y="15173"/>
                    <a:pt x="25812" y="15264"/>
                    <a:pt x="25816" y="15356"/>
                  </a:cubicBezTo>
                  <a:cubicBezTo>
                    <a:pt x="25713" y="15356"/>
                    <a:pt x="25816" y="15218"/>
                    <a:pt x="25816" y="15167"/>
                  </a:cubicBezTo>
                  <a:cubicBezTo>
                    <a:pt x="25816" y="15115"/>
                    <a:pt x="25816" y="14858"/>
                    <a:pt x="25919" y="14823"/>
                  </a:cubicBezTo>
                  <a:cubicBezTo>
                    <a:pt x="26023" y="14789"/>
                    <a:pt x="25919" y="14823"/>
                    <a:pt x="25919" y="14823"/>
                  </a:cubicBezTo>
                  <a:cubicBezTo>
                    <a:pt x="25919" y="14823"/>
                    <a:pt x="25799" y="14978"/>
                    <a:pt x="25731" y="14823"/>
                  </a:cubicBezTo>
                  <a:cubicBezTo>
                    <a:pt x="25662" y="14669"/>
                    <a:pt x="25731" y="14823"/>
                    <a:pt x="25731" y="14823"/>
                  </a:cubicBezTo>
                  <a:cubicBezTo>
                    <a:pt x="25731" y="14823"/>
                    <a:pt x="25731" y="14686"/>
                    <a:pt x="25868" y="14737"/>
                  </a:cubicBezTo>
                  <a:cubicBezTo>
                    <a:pt x="26005" y="14789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lnTo>
                    <a:pt x="25868" y="14737"/>
                  </a:lnTo>
                  <a:lnTo>
                    <a:pt x="25868" y="14652"/>
                  </a:lnTo>
                  <a:cubicBezTo>
                    <a:pt x="25868" y="14652"/>
                    <a:pt x="25868" y="14652"/>
                    <a:pt x="25868" y="14652"/>
                  </a:cubicBezTo>
                  <a:cubicBezTo>
                    <a:pt x="25868" y="14652"/>
                    <a:pt x="25868" y="14566"/>
                    <a:pt x="25868" y="14514"/>
                  </a:cubicBezTo>
                  <a:lnTo>
                    <a:pt x="25868" y="14514"/>
                  </a:lnTo>
                  <a:cubicBezTo>
                    <a:pt x="25868" y="14514"/>
                    <a:pt x="25868" y="14514"/>
                    <a:pt x="25868" y="14514"/>
                  </a:cubicBezTo>
                  <a:cubicBezTo>
                    <a:pt x="25868" y="14514"/>
                    <a:pt x="25868" y="14514"/>
                    <a:pt x="25971" y="14514"/>
                  </a:cubicBezTo>
                  <a:cubicBezTo>
                    <a:pt x="25976" y="14486"/>
                    <a:pt x="25976" y="14457"/>
                    <a:pt x="25971" y="14428"/>
                  </a:cubicBezTo>
                  <a:cubicBezTo>
                    <a:pt x="25971" y="14428"/>
                    <a:pt x="26091" y="14085"/>
                    <a:pt x="26126" y="14291"/>
                  </a:cubicBezTo>
                  <a:cubicBezTo>
                    <a:pt x="26160" y="14497"/>
                    <a:pt x="26126" y="14291"/>
                    <a:pt x="26126" y="14291"/>
                  </a:cubicBezTo>
                  <a:cubicBezTo>
                    <a:pt x="26538" y="14136"/>
                    <a:pt x="26435" y="14291"/>
                    <a:pt x="26126" y="14531"/>
                  </a:cubicBezTo>
                  <a:lnTo>
                    <a:pt x="26126" y="14531"/>
                  </a:lnTo>
                  <a:cubicBezTo>
                    <a:pt x="25902" y="14737"/>
                    <a:pt x="26366" y="14531"/>
                    <a:pt x="26486" y="14531"/>
                  </a:cubicBezTo>
                  <a:cubicBezTo>
                    <a:pt x="26607" y="14531"/>
                    <a:pt x="26486" y="15029"/>
                    <a:pt x="26263" y="14995"/>
                  </a:cubicBezTo>
                  <a:cubicBezTo>
                    <a:pt x="26040" y="14961"/>
                    <a:pt x="26263" y="14995"/>
                    <a:pt x="26263" y="14995"/>
                  </a:cubicBezTo>
                  <a:cubicBezTo>
                    <a:pt x="26263" y="14995"/>
                    <a:pt x="26108" y="15133"/>
                    <a:pt x="26005" y="14995"/>
                  </a:cubicBezTo>
                  <a:cubicBezTo>
                    <a:pt x="26064" y="15057"/>
                    <a:pt x="26162" y="15059"/>
                    <a:pt x="26224" y="15000"/>
                  </a:cubicBezTo>
                  <a:cubicBezTo>
                    <a:pt x="26226" y="14998"/>
                    <a:pt x="26227" y="14997"/>
                    <a:pt x="26229" y="14995"/>
                  </a:cubicBezTo>
                  <a:cubicBezTo>
                    <a:pt x="26486" y="15098"/>
                    <a:pt x="26503" y="15373"/>
                    <a:pt x="26589" y="15579"/>
                  </a:cubicBezTo>
                  <a:cubicBezTo>
                    <a:pt x="26675" y="15785"/>
                    <a:pt x="26830" y="15545"/>
                    <a:pt x="26967" y="15613"/>
                  </a:cubicBezTo>
                  <a:close/>
                  <a:moveTo>
                    <a:pt x="18138" y="47476"/>
                  </a:moveTo>
                  <a:lnTo>
                    <a:pt x="18138" y="47476"/>
                  </a:lnTo>
                  <a:lnTo>
                    <a:pt x="18138" y="47476"/>
                  </a:lnTo>
                  <a:lnTo>
                    <a:pt x="18138" y="47476"/>
                  </a:lnTo>
                  <a:lnTo>
                    <a:pt x="18224" y="47476"/>
                  </a:lnTo>
                  <a:lnTo>
                    <a:pt x="18224" y="47476"/>
                  </a:lnTo>
                  <a:lnTo>
                    <a:pt x="17984" y="47338"/>
                  </a:lnTo>
                  <a:lnTo>
                    <a:pt x="17984" y="47338"/>
                  </a:lnTo>
                  <a:lnTo>
                    <a:pt x="17984" y="47338"/>
                  </a:lnTo>
                  <a:lnTo>
                    <a:pt x="18070" y="47338"/>
                  </a:lnTo>
                  <a:lnTo>
                    <a:pt x="18070" y="47338"/>
                  </a:lnTo>
                  <a:lnTo>
                    <a:pt x="18070" y="47338"/>
                  </a:lnTo>
                  <a:lnTo>
                    <a:pt x="17795" y="47218"/>
                  </a:lnTo>
                  <a:lnTo>
                    <a:pt x="17795" y="47218"/>
                  </a:lnTo>
                  <a:cubicBezTo>
                    <a:pt x="17795" y="47218"/>
                    <a:pt x="17795" y="47218"/>
                    <a:pt x="17795" y="47218"/>
                  </a:cubicBezTo>
                  <a:cubicBezTo>
                    <a:pt x="17762" y="47203"/>
                    <a:pt x="17725" y="47203"/>
                    <a:pt x="17692" y="47218"/>
                  </a:cubicBezTo>
                  <a:lnTo>
                    <a:pt x="17692" y="47218"/>
                  </a:lnTo>
                  <a:lnTo>
                    <a:pt x="17692" y="47218"/>
                  </a:lnTo>
                  <a:lnTo>
                    <a:pt x="17692" y="47218"/>
                  </a:lnTo>
                  <a:lnTo>
                    <a:pt x="17864" y="47218"/>
                  </a:lnTo>
                  <a:lnTo>
                    <a:pt x="17658" y="47218"/>
                  </a:lnTo>
                  <a:lnTo>
                    <a:pt x="17658" y="47218"/>
                  </a:lnTo>
                  <a:lnTo>
                    <a:pt x="17417" y="47115"/>
                  </a:lnTo>
                  <a:lnTo>
                    <a:pt x="17417" y="47115"/>
                  </a:lnTo>
                  <a:lnTo>
                    <a:pt x="17417" y="47115"/>
                  </a:lnTo>
                  <a:lnTo>
                    <a:pt x="17280" y="47115"/>
                  </a:lnTo>
                  <a:lnTo>
                    <a:pt x="17469" y="47218"/>
                  </a:lnTo>
                  <a:lnTo>
                    <a:pt x="17194" y="47081"/>
                  </a:lnTo>
                  <a:lnTo>
                    <a:pt x="17194" y="47081"/>
                  </a:lnTo>
                  <a:lnTo>
                    <a:pt x="17366" y="47081"/>
                  </a:lnTo>
                  <a:lnTo>
                    <a:pt x="17228" y="47081"/>
                  </a:lnTo>
                  <a:lnTo>
                    <a:pt x="17366" y="47081"/>
                  </a:lnTo>
                  <a:lnTo>
                    <a:pt x="17108" y="46961"/>
                  </a:lnTo>
                  <a:lnTo>
                    <a:pt x="17108" y="46961"/>
                  </a:lnTo>
                  <a:lnTo>
                    <a:pt x="17005" y="46961"/>
                  </a:lnTo>
                  <a:lnTo>
                    <a:pt x="17005" y="46961"/>
                  </a:lnTo>
                  <a:lnTo>
                    <a:pt x="16782" y="46858"/>
                  </a:lnTo>
                  <a:lnTo>
                    <a:pt x="16782" y="46858"/>
                  </a:lnTo>
                  <a:lnTo>
                    <a:pt x="16696" y="46858"/>
                  </a:lnTo>
                  <a:lnTo>
                    <a:pt x="16696" y="46858"/>
                  </a:lnTo>
                  <a:cubicBezTo>
                    <a:pt x="16557" y="46803"/>
                    <a:pt x="16425" y="46733"/>
                    <a:pt x="16301" y="46651"/>
                  </a:cubicBezTo>
                  <a:lnTo>
                    <a:pt x="16301" y="46651"/>
                  </a:lnTo>
                  <a:lnTo>
                    <a:pt x="16129" y="46548"/>
                  </a:lnTo>
                  <a:lnTo>
                    <a:pt x="16283" y="46651"/>
                  </a:lnTo>
                  <a:lnTo>
                    <a:pt x="15940" y="46462"/>
                  </a:lnTo>
                  <a:lnTo>
                    <a:pt x="15940" y="46462"/>
                  </a:lnTo>
                  <a:lnTo>
                    <a:pt x="15837" y="46462"/>
                  </a:lnTo>
                  <a:lnTo>
                    <a:pt x="15837" y="46462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510" y="46274"/>
                  </a:lnTo>
                  <a:lnTo>
                    <a:pt x="15510" y="46274"/>
                  </a:lnTo>
                  <a:lnTo>
                    <a:pt x="15339" y="46153"/>
                  </a:lnTo>
                  <a:lnTo>
                    <a:pt x="15339" y="46153"/>
                  </a:lnTo>
                  <a:lnTo>
                    <a:pt x="15201" y="46153"/>
                  </a:lnTo>
                  <a:lnTo>
                    <a:pt x="15201" y="46153"/>
                  </a:lnTo>
                  <a:cubicBezTo>
                    <a:pt x="15162" y="46164"/>
                    <a:pt x="15120" y="46164"/>
                    <a:pt x="15081" y="46153"/>
                  </a:cubicBezTo>
                  <a:lnTo>
                    <a:pt x="15081" y="46153"/>
                  </a:lnTo>
                  <a:lnTo>
                    <a:pt x="15218" y="46239"/>
                  </a:lnTo>
                  <a:lnTo>
                    <a:pt x="15081" y="46153"/>
                  </a:lnTo>
                  <a:lnTo>
                    <a:pt x="15081" y="46153"/>
                  </a:lnTo>
                  <a:lnTo>
                    <a:pt x="14961" y="46153"/>
                  </a:lnTo>
                  <a:lnTo>
                    <a:pt x="14961" y="46153"/>
                  </a:lnTo>
                  <a:lnTo>
                    <a:pt x="14823" y="46067"/>
                  </a:lnTo>
                  <a:cubicBezTo>
                    <a:pt x="14890" y="46095"/>
                    <a:pt x="14953" y="46130"/>
                    <a:pt x="15012" y="46170"/>
                  </a:cubicBezTo>
                  <a:cubicBezTo>
                    <a:pt x="15012" y="46170"/>
                    <a:pt x="15150" y="46274"/>
                    <a:pt x="15184" y="46274"/>
                  </a:cubicBezTo>
                  <a:lnTo>
                    <a:pt x="14720" y="45947"/>
                  </a:lnTo>
                  <a:lnTo>
                    <a:pt x="14720" y="45947"/>
                  </a:lnTo>
                  <a:cubicBezTo>
                    <a:pt x="14446" y="45724"/>
                    <a:pt x="14136" y="45535"/>
                    <a:pt x="13879" y="45312"/>
                  </a:cubicBezTo>
                  <a:lnTo>
                    <a:pt x="13982" y="45312"/>
                  </a:lnTo>
                  <a:lnTo>
                    <a:pt x="13827" y="45191"/>
                  </a:lnTo>
                  <a:lnTo>
                    <a:pt x="13827" y="45191"/>
                  </a:lnTo>
                  <a:cubicBezTo>
                    <a:pt x="13827" y="45191"/>
                    <a:pt x="13827" y="45191"/>
                    <a:pt x="13724" y="45191"/>
                  </a:cubicBezTo>
                  <a:lnTo>
                    <a:pt x="13724" y="45191"/>
                  </a:lnTo>
                  <a:lnTo>
                    <a:pt x="13724" y="45191"/>
                  </a:lnTo>
                  <a:lnTo>
                    <a:pt x="13724" y="45191"/>
                  </a:lnTo>
                  <a:cubicBezTo>
                    <a:pt x="13500" y="45056"/>
                    <a:pt x="13292" y="44895"/>
                    <a:pt x="13106" y="44710"/>
                  </a:cubicBezTo>
                  <a:lnTo>
                    <a:pt x="13106" y="44710"/>
                  </a:lnTo>
                  <a:cubicBezTo>
                    <a:pt x="12865" y="44453"/>
                    <a:pt x="12573" y="44264"/>
                    <a:pt x="12316" y="44023"/>
                  </a:cubicBezTo>
                  <a:cubicBezTo>
                    <a:pt x="12316" y="44023"/>
                    <a:pt x="12316" y="44023"/>
                    <a:pt x="12316" y="44023"/>
                  </a:cubicBezTo>
                  <a:cubicBezTo>
                    <a:pt x="11271" y="42931"/>
                    <a:pt x="10350" y="41727"/>
                    <a:pt x="9567" y="40434"/>
                  </a:cubicBezTo>
                  <a:lnTo>
                    <a:pt x="9567" y="40434"/>
                  </a:lnTo>
                  <a:cubicBezTo>
                    <a:pt x="9215" y="39466"/>
                    <a:pt x="8691" y="38570"/>
                    <a:pt x="8021" y="37788"/>
                  </a:cubicBezTo>
                  <a:lnTo>
                    <a:pt x="8021" y="37788"/>
                  </a:lnTo>
                  <a:cubicBezTo>
                    <a:pt x="6949" y="36560"/>
                    <a:pt x="6200" y="35084"/>
                    <a:pt x="5840" y="33494"/>
                  </a:cubicBezTo>
                  <a:cubicBezTo>
                    <a:pt x="5840" y="33494"/>
                    <a:pt x="5840" y="33494"/>
                    <a:pt x="5840" y="33580"/>
                  </a:cubicBezTo>
                  <a:cubicBezTo>
                    <a:pt x="5850" y="33546"/>
                    <a:pt x="5850" y="33511"/>
                    <a:pt x="5840" y="33477"/>
                  </a:cubicBezTo>
                  <a:cubicBezTo>
                    <a:pt x="5840" y="33477"/>
                    <a:pt x="5840" y="33580"/>
                    <a:pt x="5840" y="33614"/>
                  </a:cubicBezTo>
                  <a:cubicBezTo>
                    <a:pt x="5600" y="33202"/>
                    <a:pt x="5685" y="28461"/>
                    <a:pt x="5222" y="30299"/>
                  </a:cubicBezTo>
                  <a:cubicBezTo>
                    <a:pt x="5222" y="30299"/>
                    <a:pt x="5222" y="30093"/>
                    <a:pt x="5222" y="30042"/>
                  </a:cubicBezTo>
                  <a:cubicBezTo>
                    <a:pt x="5222" y="29990"/>
                    <a:pt x="5222" y="30042"/>
                    <a:pt x="5222" y="30128"/>
                  </a:cubicBezTo>
                  <a:cubicBezTo>
                    <a:pt x="5222" y="30213"/>
                    <a:pt x="5222" y="29887"/>
                    <a:pt x="5067" y="29784"/>
                  </a:cubicBezTo>
                  <a:cubicBezTo>
                    <a:pt x="4913" y="29681"/>
                    <a:pt x="5067" y="29784"/>
                    <a:pt x="5067" y="29784"/>
                  </a:cubicBezTo>
                  <a:lnTo>
                    <a:pt x="5067" y="29784"/>
                  </a:lnTo>
                  <a:cubicBezTo>
                    <a:pt x="5067" y="29784"/>
                    <a:pt x="5067" y="29612"/>
                    <a:pt x="5067" y="29544"/>
                  </a:cubicBezTo>
                  <a:cubicBezTo>
                    <a:pt x="5067" y="29475"/>
                    <a:pt x="5067" y="29664"/>
                    <a:pt x="5067" y="29715"/>
                  </a:cubicBezTo>
                  <a:cubicBezTo>
                    <a:pt x="5067" y="29458"/>
                    <a:pt x="4947" y="29166"/>
                    <a:pt x="4844" y="28908"/>
                  </a:cubicBezTo>
                  <a:cubicBezTo>
                    <a:pt x="4844" y="28994"/>
                    <a:pt x="4844" y="29080"/>
                    <a:pt x="4844" y="29183"/>
                  </a:cubicBezTo>
                  <a:cubicBezTo>
                    <a:pt x="4689" y="28753"/>
                    <a:pt x="4672" y="28290"/>
                    <a:pt x="4552" y="27843"/>
                  </a:cubicBezTo>
                  <a:cubicBezTo>
                    <a:pt x="4552" y="27929"/>
                    <a:pt x="4552" y="27843"/>
                    <a:pt x="4552" y="27740"/>
                  </a:cubicBezTo>
                  <a:cubicBezTo>
                    <a:pt x="4552" y="27637"/>
                    <a:pt x="4552" y="27740"/>
                    <a:pt x="4552" y="27740"/>
                  </a:cubicBezTo>
                  <a:cubicBezTo>
                    <a:pt x="4552" y="27740"/>
                    <a:pt x="4552" y="27740"/>
                    <a:pt x="4552" y="27740"/>
                  </a:cubicBezTo>
                  <a:cubicBezTo>
                    <a:pt x="4552" y="27740"/>
                    <a:pt x="4552" y="27740"/>
                    <a:pt x="4552" y="27740"/>
                  </a:cubicBezTo>
                  <a:cubicBezTo>
                    <a:pt x="4343" y="27287"/>
                    <a:pt x="4226" y="26796"/>
                    <a:pt x="4208" y="26297"/>
                  </a:cubicBezTo>
                  <a:cubicBezTo>
                    <a:pt x="4218" y="26366"/>
                    <a:pt x="4218" y="26435"/>
                    <a:pt x="4208" y="26503"/>
                  </a:cubicBezTo>
                  <a:cubicBezTo>
                    <a:pt x="4218" y="26435"/>
                    <a:pt x="4218" y="26366"/>
                    <a:pt x="4208" y="26297"/>
                  </a:cubicBezTo>
                  <a:lnTo>
                    <a:pt x="4208" y="26297"/>
                  </a:lnTo>
                  <a:cubicBezTo>
                    <a:pt x="4208" y="26297"/>
                    <a:pt x="4208" y="26297"/>
                    <a:pt x="4208" y="26297"/>
                  </a:cubicBezTo>
                  <a:lnTo>
                    <a:pt x="4208" y="26297"/>
                  </a:lnTo>
                  <a:lnTo>
                    <a:pt x="4208" y="26297"/>
                  </a:lnTo>
                  <a:cubicBezTo>
                    <a:pt x="4208" y="26297"/>
                    <a:pt x="4208" y="26297"/>
                    <a:pt x="4208" y="26400"/>
                  </a:cubicBezTo>
                  <a:cubicBezTo>
                    <a:pt x="4208" y="26503"/>
                    <a:pt x="4208" y="26400"/>
                    <a:pt x="4208" y="26400"/>
                  </a:cubicBezTo>
                  <a:lnTo>
                    <a:pt x="4208" y="26400"/>
                  </a:lnTo>
                  <a:lnTo>
                    <a:pt x="4208" y="26400"/>
                  </a:lnTo>
                  <a:cubicBezTo>
                    <a:pt x="4208" y="26314"/>
                    <a:pt x="4208" y="26194"/>
                    <a:pt x="4208" y="26091"/>
                  </a:cubicBezTo>
                  <a:lnTo>
                    <a:pt x="4208" y="26091"/>
                  </a:lnTo>
                  <a:cubicBezTo>
                    <a:pt x="4200" y="26034"/>
                    <a:pt x="4200" y="25976"/>
                    <a:pt x="4208" y="25919"/>
                  </a:cubicBezTo>
                  <a:lnTo>
                    <a:pt x="4208" y="25919"/>
                  </a:lnTo>
                  <a:cubicBezTo>
                    <a:pt x="4191" y="25679"/>
                    <a:pt x="4191" y="25438"/>
                    <a:pt x="4208" y="25198"/>
                  </a:cubicBezTo>
                  <a:lnTo>
                    <a:pt x="4208" y="25198"/>
                  </a:lnTo>
                  <a:cubicBezTo>
                    <a:pt x="4208" y="25198"/>
                    <a:pt x="4208" y="25112"/>
                    <a:pt x="4208" y="25078"/>
                  </a:cubicBezTo>
                  <a:lnTo>
                    <a:pt x="4208" y="25078"/>
                  </a:lnTo>
                  <a:cubicBezTo>
                    <a:pt x="4764" y="15747"/>
                    <a:pt x="10928" y="7687"/>
                    <a:pt x="19787" y="4706"/>
                  </a:cubicBezTo>
                  <a:lnTo>
                    <a:pt x="19787" y="4706"/>
                  </a:lnTo>
                  <a:lnTo>
                    <a:pt x="19994" y="4706"/>
                  </a:lnTo>
                  <a:lnTo>
                    <a:pt x="19994" y="4706"/>
                  </a:lnTo>
                  <a:lnTo>
                    <a:pt x="20217" y="4706"/>
                  </a:lnTo>
                  <a:lnTo>
                    <a:pt x="20062" y="4706"/>
                  </a:lnTo>
                  <a:lnTo>
                    <a:pt x="20337" y="4706"/>
                  </a:lnTo>
                  <a:lnTo>
                    <a:pt x="20234" y="4706"/>
                  </a:lnTo>
                  <a:lnTo>
                    <a:pt x="20234" y="4706"/>
                  </a:lnTo>
                  <a:lnTo>
                    <a:pt x="20423" y="4706"/>
                  </a:lnTo>
                  <a:lnTo>
                    <a:pt x="20423" y="4706"/>
                  </a:lnTo>
                  <a:lnTo>
                    <a:pt x="21711" y="4414"/>
                  </a:lnTo>
                  <a:lnTo>
                    <a:pt x="21711" y="4414"/>
                  </a:lnTo>
                  <a:lnTo>
                    <a:pt x="22038" y="4414"/>
                  </a:lnTo>
                  <a:lnTo>
                    <a:pt x="21814" y="4414"/>
                  </a:lnTo>
                  <a:lnTo>
                    <a:pt x="21814" y="4414"/>
                  </a:lnTo>
                  <a:lnTo>
                    <a:pt x="22415" y="4414"/>
                  </a:lnTo>
                  <a:lnTo>
                    <a:pt x="22415" y="4414"/>
                  </a:lnTo>
                  <a:lnTo>
                    <a:pt x="22106" y="4414"/>
                  </a:lnTo>
                  <a:lnTo>
                    <a:pt x="22398" y="4414"/>
                  </a:lnTo>
                  <a:lnTo>
                    <a:pt x="22398" y="4414"/>
                  </a:lnTo>
                  <a:lnTo>
                    <a:pt x="22690" y="4414"/>
                  </a:lnTo>
                  <a:lnTo>
                    <a:pt x="22587" y="4414"/>
                  </a:lnTo>
                  <a:lnTo>
                    <a:pt x="22484" y="4414"/>
                  </a:lnTo>
                  <a:lnTo>
                    <a:pt x="22725" y="4414"/>
                  </a:lnTo>
                  <a:lnTo>
                    <a:pt x="22347" y="4414"/>
                  </a:lnTo>
                  <a:lnTo>
                    <a:pt x="22244" y="4414"/>
                  </a:lnTo>
                  <a:lnTo>
                    <a:pt x="22055" y="4414"/>
                  </a:lnTo>
                  <a:lnTo>
                    <a:pt x="22415" y="4414"/>
                  </a:lnTo>
                  <a:lnTo>
                    <a:pt x="22020" y="4414"/>
                  </a:lnTo>
                  <a:lnTo>
                    <a:pt x="22020" y="4414"/>
                  </a:lnTo>
                  <a:lnTo>
                    <a:pt x="21608" y="4414"/>
                  </a:lnTo>
                  <a:lnTo>
                    <a:pt x="21608" y="4414"/>
                  </a:lnTo>
                  <a:lnTo>
                    <a:pt x="21213" y="4500"/>
                  </a:lnTo>
                  <a:lnTo>
                    <a:pt x="21385" y="4500"/>
                  </a:lnTo>
                  <a:lnTo>
                    <a:pt x="21385" y="4500"/>
                  </a:lnTo>
                  <a:cubicBezTo>
                    <a:pt x="21251" y="4544"/>
                    <a:pt x="21113" y="4572"/>
                    <a:pt x="20973" y="4586"/>
                  </a:cubicBezTo>
                  <a:lnTo>
                    <a:pt x="21144" y="4586"/>
                  </a:lnTo>
                  <a:lnTo>
                    <a:pt x="20955" y="4586"/>
                  </a:lnTo>
                  <a:lnTo>
                    <a:pt x="20955" y="4586"/>
                  </a:lnTo>
                  <a:lnTo>
                    <a:pt x="20835" y="4586"/>
                  </a:lnTo>
                  <a:lnTo>
                    <a:pt x="20835" y="4586"/>
                  </a:lnTo>
                  <a:lnTo>
                    <a:pt x="20835" y="4586"/>
                  </a:lnTo>
                  <a:cubicBezTo>
                    <a:pt x="20835" y="4586"/>
                    <a:pt x="20835" y="4586"/>
                    <a:pt x="20835" y="4586"/>
                  </a:cubicBezTo>
                  <a:lnTo>
                    <a:pt x="20835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560" y="4586"/>
                  </a:lnTo>
                  <a:lnTo>
                    <a:pt x="20560" y="4586"/>
                  </a:lnTo>
                  <a:lnTo>
                    <a:pt x="20114" y="4706"/>
                  </a:lnTo>
                  <a:lnTo>
                    <a:pt x="20114" y="4706"/>
                  </a:lnTo>
                  <a:lnTo>
                    <a:pt x="19787" y="4827"/>
                  </a:lnTo>
                  <a:lnTo>
                    <a:pt x="19787" y="4827"/>
                  </a:lnTo>
                  <a:lnTo>
                    <a:pt x="19392" y="4947"/>
                  </a:lnTo>
                  <a:lnTo>
                    <a:pt x="19392" y="4947"/>
                  </a:lnTo>
                  <a:lnTo>
                    <a:pt x="19100" y="5153"/>
                  </a:lnTo>
                  <a:lnTo>
                    <a:pt x="19100" y="5153"/>
                  </a:lnTo>
                  <a:lnTo>
                    <a:pt x="18997" y="5153"/>
                  </a:lnTo>
                  <a:lnTo>
                    <a:pt x="18997" y="5153"/>
                  </a:lnTo>
                  <a:lnTo>
                    <a:pt x="18430" y="5359"/>
                  </a:lnTo>
                  <a:lnTo>
                    <a:pt x="18568" y="5359"/>
                  </a:lnTo>
                  <a:lnTo>
                    <a:pt x="18568" y="5359"/>
                  </a:lnTo>
                  <a:cubicBezTo>
                    <a:pt x="18763" y="5286"/>
                    <a:pt x="18964" y="5229"/>
                    <a:pt x="19169" y="5187"/>
                  </a:cubicBezTo>
                  <a:lnTo>
                    <a:pt x="19169" y="5187"/>
                  </a:lnTo>
                  <a:lnTo>
                    <a:pt x="19341" y="5187"/>
                  </a:lnTo>
                  <a:lnTo>
                    <a:pt x="19461" y="5187"/>
                  </a:lnTo>
                  <a:lnTo>
                    <a:pt x="19186" y="5187"/>
                  </a:lnTo>
                  <a:lnTo>
                    <a:pt x="19186" y="5187"/>
                  </a:lnTo>
                  <a:lnTo>
                    <a:pt x="19032" y="5187"/>
                  </a:lnTo>
                  <a:lnTo>
                    <a:pt x="19032" y="5187"/>
                  </a:lnTo>
                  <a:lnTo>
                    <a:pt x="18911" y="5187"/>
                  </a:lnTo>
                  <a:lnTo>
                    <a:pt x="18911" y="5187"/>
                  </a:lnTo>
                  <a:lnTo>
                    <a:pt x="18740" y="5187"/>
                  </a:lnTo>
                  <a:lnTo>
                    <a:pt x="18740" y="5187"/>
                  </a:lnTo>
                  <a:lnTo>
                    <a:pt x="18894" y="5187"/>
                  </a:lnTo>
                  <a:lnTo>
                    <a:pt x="18894" y="5187"/>
                  </a:lnTo>
                  <a:lnTo>
                    <a:pt x="19049" y="5187"/>
                  </a:lnTo>
                  <a:lnTo>
                    <a:pt x="19049" y="5187"/>
                  </a:lnTo>
                  <a:lnTo>
                    <a:pt x="18860" y="5187"/>
                  </a:lnTo>
                  <a:cubicBezTo>
                    <a:pt x="18997" y="5187"/>
                    <a:pt x="19392" y="5067"/>
                    <a:pt x="19032" y="5187"/>
                  </a:cubicBezTo>
                  <a:lnTo>
                    <a:pt x="19186" y="5187"/>
                  </a:lnTo>
                  <a:lnTo>
                    <a:pt x="19289" y="5187"/>
                  </a:lnTo>
                  <a:lnTo>
                    <a:pt x="19650" y="5084"/>
                  </a:lnTo>
                  <a:cubicBezTo>
                    <a:pt x="19252" y="5196"/>
                    <a:pt x="18862" y="5334"/>
                    <a:pt x="18482" y="5497"/>
                  </a:cubicBezTo>
                  <a:lnTo>
                    <a:pt x="18654" y="5497"/>
                  </a:lnTo>
                  <a:lnTo>
                    <a:pt x="18654" y="5497"/>
                  </a:lnTo>
                  <a:cubicBezTo>
                    <a:pt x="18654" y="5497"/>
                    <a:pt x="18860" y="5497"/>
                    <a:pt x="18740" y="5497"/>
                  </a:cubicBezTo>
                  <a:lnTo>
                    <a:pt x="18894" y="5497"/>
                  </a:lnTo>
                  <a:lnTo>
                    <a:pt x="18894" y="5497"/>
                  </a:lnTo>
                  <a:lnTo>
                    <a:pt x="19032" y="5497"/>
                  </a:lnTo>
                  <a:cubicBezTo>
                    <a:pt x="18929" y="5497"/>
                    <a:pt x="18808" y="5497"/>
                    <a:pt x="18722" y="5617"/>
                  </a:cubicBezTo>
                  <a:lnTo>
                    <a:pt x="18722" y="5617"/>
                  </a:lnTo>
                  <a:lnTo>
                    <a:pt x="18585" y="5617"/>
                  </a:lnTo>
                  <a:lnTo>
                    <a:pt x="18585" y="5617"/>
                  </a:lnTo>
                  <a:lnTo>
                    <a:pt x="18413" y="5617"/>
                  </a:lnTo>
                  <a:cubicBezTo>
                    <a:pt x="18505" y="5624"/>
                    <a:pt x="18597" y="5624"/>
                    <a:pt x="18688" y="5617"/>
                  </a:cubicBezTo>
                  <a:cubicBezTo>
                    <a:pt x="18396" y="5771"/>
                    <a:pt x="18035" y="5909"/>
                    <a:pt x="17743" y="6098"/>
                  </a:cubicBezTo>
                  <a:lnTo>
                    <a:pt x="17743" y="6098"/>
                  </a:lnTo>
                  <a:lnTo>
                    <a:pt x="17554" y="6201"/>
                  </a:lnTo>
                  <a:lnTo>
                    <a:pt x="17743" y="6201"/>
                  </a:lnTo>
                  <a:lnTo>
                    <a:pt x="17743" y="6201"/>
                  </a:lnTo>
                  <a:cubicBezTo>
                    <a:pt x="17743" y="6201"/>
                    <a:pt x="17743" y="6201"/>
                    <a:pt x="17743" y="6201"/>
                  </a:cubicBezTo>
                  <a:cubicBezTo>
                    <a:pt x="17557" y="6309"/>
                    <a:pt x="17362" y="6402"/>
                    <a:pt x="17159" y="6476"/>
                  </a:cubicBezTo>
                  <a:cubicBezTo>
                    <a:pt x="17159" y="6476"/>
                    <a:pt x="17159" y="6476"/>
                    <a:pt x="17159" y="6476"/>
                  </a:cubicBezTo>
                  <a:cubicBezTo>
                    <a:pt x="17159" y="6476"/>
                    <a:pt x="17056" y="6476"/>
                    <a:pt x="17039" y="6476"/>
                  </a:cubicBezTo>
                  <a:lnTo>
                    <a:pt x="17039" y="6476"/>
                  </a:lnTo>
                  <a:cubicBezTo>
                    <a:pt x="16976" y="6499"/>
                    <a:pt x="16918" y="6534"/>
                    <a:pt x="16867" y="6579"/>
                  </a:cubicBezTo>
                  <a:lnTo>
                    <a:pt x="16867" y="6579"/>
                  </a:lnTo>
                  <a:cubicBezTo>
                    <a:pt x="16867" y="6579"/>
                    <a:pt x="16627" y="6750"/>
                    <a:pt x="16730" y="6716"/>
                  </a:cubicBezTo>
                  <a:lnTo>
                    <a:pt x="16730" y="6716"/>
                  </a:lnTo>
                  <a:lnTo>
                    <a:pt x="16730" y="6716"/>
                  </a:lnTo>
                  <a:lnTo>
                    <a:pt x="16730" y="6716"/>
                  </a:lnTo>
                  <a:cubicBezTo>
                    <a:pt x="16730" y="6716"/>
                    <a:pt x="16730" y="6716"/>
                    <a:pt x="16730" y="6716"/>
                  </a:cubicBezTo>
                  <a:lnTo>
                    <a:pt x="16885" y="6716"/>
                  </a:lnTo>
                  <a:lnTo>
                    <a:pt x="16627" y="6853"/>
                  </a:lnTo>
                  <a:lnTo>
                    <a:pt x="16627" y="6853"/>
                  </a:lnTo>
                  <a:cubicBezTo>
                    <a:pt x="16627" y="6853"/>
                    <a:pt x="16455" y="6853"/>
                    <a:pt x="16386" y="6991"/>
                  </a:cubicBezTo>
                  <a:cubicBezTo>
                    <a:pt x="16318" y="7128"/>
                    <a:pt x="16507" y="6991"/>
                    <a:pt x="16558" y="6991"/>
                  </a:cubicBezTo>
                  <a:cubicBezTo>
                    <a:pt x="16389" y="7066"/>
                    <a:pt x="16228" y="7158"/>
                    <a:pt x="16077" y="7266"/>
                  </a:cubicBezTo>
                  <a:lnTo>
                    <a:pt x="16077" y="7266"/>
                  </a:lnTo>
                  <a:lnTo>
                    <a:pt x="16077" y="7266"/>
                  </a:lnTo>
                  <a:cubicBezTo>
                    <a:pt x="16317" y="7116"/>
                    <a:pt x="16570" y="6989"/>
                    <a:pt x="16833" y="6888"/>
                  </a:cubicBezTo>
                  <a:lnTo>
                    <a:pt x="16833" y="6888"/>
                  </a:lnTo>
                  <a:cubicBezTo>
                    <a:pt x="16833" y="6888"/>
                    <a:pt x="16833" y="6888"/>
                    <a:pt x="16833" y="6888"/>
                  </a:cubicBezTo>
                  <a:lnTo>
                    <a:pt x="16833" y="6888"/>
                  </a:lnTo>
                  <a:lnTo>
                    <a:pt x="16936" y="6888"/>
                  </a:lnTo>
                  <a:lnTo>
                    <a:pt x="16833" y="6888"/>
                  </a:lnTo>
                  <a:cubicBezTo>
                    <a:pt x="16833" y="6888"/>
                    <a:pt x="16988" y="6785"/>
                    <a:pt x="17056" y="6785"/>
                  </a:cubicBezTo>
                  <a:lnTo>
                    <a:pt x="17056" y="6785"/>
                  </a:lnTo>
                  <a:cubicBezTo>
                    <a:pt x="17056" y="6785"/>
                    <a:pt x="17314" y="6682"/>
                    <a:pt x="17159" y="6785"/>
                  </a:cubicBezTo>
                  <a:lnTo>
                    <a:pt x="17039" y="6785"/>
                  </a:lnTo>
                  <a:cubicBezTo>
                    <a:pt x="17073" y="6775"/>
                    <a:pt x="17109" y="6775"/>
                    <a:pt x="17142" y="6785"/>
                  </a:cubicBezTo>
                  <a:lnTo>
                    <a:pt x="17022" y="6785"/>
                  </a:lnTo>
                  <a:lnTo>
                    <a:pt x="17022" y="6785"/>
                  </a:lnTo>
                  <a:cubicBezTo>
                    <a:pt x="17022" y="6785"/>
                    <a:pt x="17022" y="6785"/>
                    <a:pt x="16885" y="6785"/>
                  </a:cubicBezTo>
                  <a:cubicBezTo>
                    <a:pt x="16747" y="6785"/>
                    <a:pt x="17074" y="6785"/>
                    <a:pt x="17005" y="6785"/>
                  </a:cubicBezTo>
                  <a:cubicBezTo>
                    <a:pt x="17104" y="6745"/>
                    <a:pt x="17215" y="6745"/>
                    <a:pt x="17314" y="6785"/>
                  </a:cubicBezTo>
                  <a:lnTo>
                    <a:pt x="17314" y="6785"/>
                  </a:lnTo>
                  <a:cubicBezTo>
                    <a:pt x="17125" y="6922"/>
                    <a:pt x="16902" y="7025"/>
                    <a:pt x="16696" y="7145"/>
                  </a:cubicBezTo>
                  <a:lnTo>
                    <a:pt x="16696" y="7145"/>
                  </a:lnTo>
                  <a:lnTo>
                    <a:pt x="16696" y="7145"/>
                  </a:lnTo>
                  <a:lnTo>
                    <a:pt x="16696" y="7145"/>
                  </a:lnTo>
                  <a:cubicBezTo>
                    <a:pt x="16696" y="7145"/>
                    <a:pt x="16696" y="7145"/>
                    <a:pt x="16696" y="7145"/>
                  </a:cubicBezTo>
                  <a:lnTo>
                    <a:pt x="16696" y="7145"/>
                  </a:lnTo>
                  <a:lnTo>
                    <a:pt x="16696" y="7145"/>
                  </a:lnTo>
                  <a:lnTo>
                    <a:pt x="16455" y="7300"/>
                  </a:lnTo>
                  <a:lnTo>
                    <a:pt x="16455" y="7300"/>
                  </a:lnTo>
                  <a:cubicBezTo>
                    <a:pt x="16455" y="7300"/>
                    <a:pt x="16455" y="7300"/>
                    <a:pt x="16455" y="7386"/>
                  </a:cubicBezTo>
                  <a:lnTo>
                    <a:pt x="16610" y="7386"/>
                  </a:lnTo>
                  <a:lnTo>
                    <a:pt x="16610" y="7386"/>
                  </a:lnTo>
                  <a:lnTo>
                    <a:pt x="16610" y="7489"/>
                  </a:lnTo>
                  <a:cubicBezTo>
                    <a:pt x="16610" y="7489"/>
                    <a:pt x="16610" y="7489"/>
                    <a:pt x="16610" y="7489"/>
                  </a:cubicBezTo>
                  <a:lnTo>
                    <a:pt x="16610" y="7489"/>
                  </a:lnTo>
                  <a:cubicBezTo>
                    <a:pt x="16953" y="7266"/>
                    <a:pt x="16713" y="7489"/>
                    <a:pt x="16610" y="7592"/>
                  </a:cubicBezTo>
                  <a:cubicBezTo>
                    <a:pt x="16730" y="7592"/>
                    <a:pt x="16833" y="7386"/>
                    <a:pt x="16970" y="7334"/>
                  </a:cubicBezTo>
                  <a:lnTo>
                    <a:pt x="16970" y="7334"/>
                  </a:lnTo>
                  <a:cubicBezTo>
                    <a:pt x="16970" y="7334"/>
                    <a:pt x="17280" y="7145"/>
                    <a:pt x="17108" y="7334"/>
                  </a:cubicBezTo>
                  <a:lnTo>
                    <a:pt x="17245" y="7334"/>
                  </a:lnTo>
                  <a:lnTo>
                    <a:pt x="17142" y="7334"/>
                  </a:lnTo>
                  <a:cubicBezTo>
                    <a:pt x="17142" y="7334"/>
                    <a:pt x="17142" y="7334"/>
                    <a:pt x="17142" y="7334"/>
                  </a:cubicBezTo>
                  <a:cubicBezTo>
                    <a:pt x="17142" y="7334"/>
                    <a:pt x="17022" y="7334"/>
                    <a:pt x="16988" y="7437"/>
                  </a:cubicBezTo>
                  <a:lnTo>
                    <a:pt x="16988" y="7437"/>
                  </a:lnTo>
                  <a:cubicBezTo>
                    <a:pt x="16988" y="7437"/>
                    <a:pt x="16885" y="7437"/>
                    <a:pt x="16867" y="7437"/>
                  </a:cubicBezTo>
                  <a:cubicBezTo>
                    <a:pt x="17211" y="7317"/>
                    <a:pt x="16747" y="7437"/>
                    <a:pt x="16610" y="7575"/>
                  </a:cubicBezTo>
                  <a:lnTo>
                    <a:pt x="16610" y="7575"/>
                  </a:lnTo>
                  <a:lnTo>
                    <a:pt x="16421" y="7678"/>
                  </a:lnTo>
                  <a:lnTo>
                    <a:pt x="16421" y="7678"/>
                  </a:lnTo>
                  <a:lnTo>
                    <a:pt x="16283" y="7678"/>
                  </a:lnTo>
                  <a:cubicBezTo>
                    <a:pt x="16438" y="7678"/>
                    <a:pt x="16283" y="7678"/>
                    <a:pt x="16283" y="7678"/>
                  </a:cubicBezTo>
                  <a:lnTo>
                    <a:pt x="16283" y="7678"/>
                  </a:lnTo>
                  <a:lnTo>
                    <a:pt x="16129" y="7678"/>
                  </a:lnTo>
                  <a:lnTo>
                    <a:pt x="16129" y="7678"/>
                  </a:lnTo>
                  <a:lnTo>
                    <a:pt x="16129" y="7678"/>
                  </a:lnTo>
                  <a:lnTo>
                    <a:pt x="16129" y="7678"/>
                  </a:lnTo>
                  <a:cubicBezTo>
                    <a:pt x="16026" y="7678"/>
                    <a:pt x="15923" y="7833"/>
                    <a:pt x="15820" y="7867"/>
                  </a:cubicBezTo>
                  <a:cubicBezTo>
                    <a:pt x="15717" y="7901"/>
                    <a:pt x="15974" y="7764"/>
                    <a:pt x="16043" y="7747"/>
                  </a:cubicBezTo>
                  <a:cubicBezTo>
                    <a:pt x="16112" y="7729"/>
                    <a:pt x="16043" y="7747"/>
                    <a:pt x="16043" y="7747"/>
                  </a:cubicBezTo>
                  <a:cubicBezTo>
                    <a:pt x="16131" y="7705"/>
                    <a:pt x="16223" y="7670"/>
                    <a:pt x="16318" y="7644"/>
                  </a:cubicBezTo>
                  <a:lnTo>
                    <a:pt x="16198" y="7644"/>
                  </a:lnTo>
                  <a:cubicBezTo>
                    <a:pt x="16386" y="7558"/>
                    <a:pt x="16558" y="7420"/>
                    <a:pt x="16747" y="7352"/>
                  </a:cubicBezTo>
                  <a:lnTo>
                    <a:pt x="16747" y="7352"/>
                  </a:lnTo>
                  <a:lnTo>
                    <a:pt x="16747" y="7352"/>
                  </a:lnTo>
                  <a:cubicBezTo>
                    <a:pt x="16976" y="7288"/>
                    <a:pt x="17195" y="7196"/>
                    <a:pt x="17400" y="7077"/>
                  </a:cubicBezTo>
                  <a:cubicBezTo>
                    <a:pt x="17400" y="7077"/>
                    <a:pt x="17400" y="7077"/>
                    <a:pt x="17262" y="7077"/>
                  </a:cubicBezTo>
                  <a:lnTo>
                    <a:pt x="17262" y="7077"/>
                  </a:lnTo>
                  <a:cubicBezTo>
                    <a:pt x="17366" y="7077"/>
                    <a:pt x="17761" y="6836"/>
                    <a:pt x="17520" y="6991"/>
                  </a:cubicBezTo>
                  <a:cubicBezTo>
                    <a:pt x="17692" y="6991"/>
                    <a:pt x="17692" y="6819"/>
                    <a:pt x="17846" y="6768"/>
                  </a:cubicBezTo>
                  <a:cubicBezTo>
                    <a:pt x="17692" y="6768"/>
                    <a:pt x="17846" y="6768"/>
                    <a:pt x="17846" y="6768"/>
                  </a:cubicBezTo>
                  <a:lnTo>
                    <a:pt x="17846" y="6768"/>
                  </a:lnTo>
                  <a:cubicBezTo>
                    <a:pt x="18036" y="6628"/>
                    <a:pt x="18252" y="6528"/>
                    <a:pt x="18482" y="6476"/>
                  </a:cubicBezTo>
                  <a:lnTo>
                    <a:pt x="18482" y="6476"/>
                  </a:lnTo>
                  <a:cubicBezTo>
                    <a:pt x="18662" y="6364"/>
                    <a:pt x="18859" y="6282"/>
                    <a:pt x="19066" y="6235"/>
                  </a:cubicBezTo>
                  <a:lnTo>
                    <a:pt x="18911" y="6321"/>
                  </a:lnTo>
                  <a:cubicBezTo>
                    <a:pt x="19100" y="6321"/>
                    <a:pt x="19238" y="6149"/>
                    <a:pt x="19427" y="6115"/>
                  </a:cubicBezTo>
                  <a:lnTo>
                    <a:pt x="19238" y="6252"/>
                  </a:lnTo>
                  <a:cubicBezTo>
                    <a:pt x="20286" y="5617"/>
                    <a:pt x="22038" y="4998"/>
                    <a:pt x="20303" y="5909"/>
                  </a:cubicBezTo>
                  <a:cubicBezTo>
                    <a:pt x="20578" y="5823"/>
                    <a:pt x="21230" y="5411"/>
                    <a:pt x="21024" y="5651"/>
                  </a:cubicBezTo>
                  <a:cubicBezTo>
                    <a:pt x="21780" y="5393"/>
                    <a:pt x="20629" y="6012"/>
                    <a:pt x="20303" y="6149"/>
                  </a:cubicBezTo>
                  <a:cubicBezTo>
                    <a:pt x="20698" y="6012"/>
                    <a:pt x="20303" y="6149"/>
                    <a:pt x="20303" y="6149"/>
                  </a:cubicBezTo>
                  <a:cubicBezTo>
                    <a:pt x="20303" y="6149"/>
                    <a:pt x="20560" y="5977"/>
                    <a:pt x="20406" y="6149"/>
                  </a:cubicBezTo>
                  <a:cubicBezTo>
                    <a:pt x="20663" y="5857"/>
                    <a:pt x="20921" y="6149"/>
                    <a:pt x="20492" y="6235"/>
                  </a:cubicBezTo>
                  <a:cubicBezTo>
                    <a:pt x="20448" y="6218"/>
                    <a:pt x="20398" y="6218"/>
                    <a:pt x="20354" y="6235"/>
                  </a:cubicBezTo>
                  <a:cubicBezTo>
                    <a:pt x="20612" y="6235"/>
                    <a:pt x="20251" y="6321"/>
                    <a:pt x="20165" y="6355"/>
                  </a:cubicBezTo>
                  <a:cubicBezTo>
                    <a:pt x="20818" y="6149"/>
                    <a:pt x="19616" y="6647"/>
                    <a:pt x="20337" y="6355"/>
                  </a:cubicBezTo>
                  <a:cubicBezTo>
                    <a:pt x="19427" y="6750"/>
                    <a:pt x="20749" y="6355"/>
                    <a:pt x="19856" y="6716"/>
                  </a:cubicBezTo>
                  <a:cubicBezTo>
                    <a:pt x="19856" y="6819"/>
                    <a:pt x="19856" y="6716"/>
                    <a:pt x="20097" y="6716"/>
                  </a:cubicBezTo>
                  <a:cubicBezTo>
                    <a:pt x="19967" y="6814"/>
                    <a:pt x="19822" y="6889"/>
                    <a:pt x="19667" y="6939"/>
                  </a:cubicBezTo>
                  <a:cubicBezTo>
                    <a:pt x="19564" y="6939"/>
                    <a:pt x="20423" y="6939"/>
                    <a:pt x="19495" y="7145"/>
                  </a:cubicBezTo>
                  <a:cubicBezTo>
                    <a:pt x="19392" y="7145"/>
                    <a:pt x="19959" y="7145"/>
                    <a:pt x="19358" y="7266"/>
                  </a:cubicBezTo>
                  <a:cubicBezTo>
                    <a:pt x="19856" y="7094"/>
                    <a:pt x="19925" y="7266"/>
                    <a:pt x="19358" y="7352"/>
                  </a:cubicBezTo>
                  <a:cubicBezTo>
                    <a:pt x="19581" y="7541"/>
                    <a:pt x="19255" y="7592"/>
                    <a:pt x="19358" y="7523"/>
                  </a:cubicBezTo>
                  <a:cubicBezTo>
                    <a:pt x="19083" y="7523"/>
                    <a:pt x="19358" y="7747"/>
                    <a:pt x="19049" y="7626"/>
                  </a:cubicBezTo>
                  <a:cubicBezTo>
                    <a:pt x="18860" y="7953"/>
                    <a:pt x="19186" y="7764"/>
                    <a:pt x="18860" y="7918"/>
                  </a:cubicBezTo>
                  <a:cubicBezTo>
                    <a:pt x="19118" y="7833"/>
                    <a:pt x="18654" y="8193"/>
                    <a:pt x="18860" y="8039"/>
                  </a:cubicBezTo>
                  <a:cubicBezTo>
                    <a:pt x="18534" y="8365"/>
                    <a:pt x="19152" y="7850"/>
                    <a:pt x="18705" y="8399"/>
                  </a:cubicBezTo>
                  <a:cubicBezTo>
                    <a:pt x="18482" y="8520"/>
                    <a:pt x="19066" y="8399"/>
                    <a:pt x="18551" y="8588"/>
                  </a:cubicBezTo>
                  <a:cubicBezTo>
                    <a:pt x="18929" y="8434"/>
                    <a:pt x="18637" y="8966"/>
                    <a:pt x="18396" y="8829"/>
                  </a:cubicBezTo>
                  <a:cubicBezTo>
                    <a:pt x="18396" y="8966"/>
                    <a:pt x="18242" y="9069"/>
                    <a:pt x="18190" y="8966"/>
                  </a:cubicBezTo>
                  <a:cubicBezTo>
                    <a:pt x="18138" y="8863"/>
                    <a:pt x="18018" y="9155"/>
                    <a:pt x="18190" y="8966"/>
                  </a:cubicBezTo>
                  <a:cubicBezTo>
                    <a:pt x="18362" y="8777"/>
                    <a:pt x="17692" y="9447"/>
                    <a:pt x="17846" y="9155"/>
                  </a:cubicBezTo>
                  <a:cubicBezTo>
                    <a:pt x="17709" y="8966"/>
                    <a:pt x="18173" y="8709"/>
                    <a:pt x="18224" y="8605"/>
                  </a:cubicBezTo>
                  <a:cubicBezTo>
                    <a:pt x="17915" y="8777"/>
                    <a:pt x="18104" y="8605"/>
                    <a:pt x="18224" y="8434"/>
                  </a:cubicBezTo>
                  <a:cubicBezTo>
                    <a:pt x="18345" y="8262"/>
                    <a:pt x="17967" y="8640"/>
                    <a:pt x="18053" y="8434"/>
                  </a:cubicBezTo>
                  <a:cubicBezTo>
                    <a:pt x="17761" y="8709"/>
                    <a:pt x="17589" y="8743"/>
                    <a:pt x="17486" y="9155"/>
                  </a:cubicBezTo>
                  <a:cubicBezTo>
                    <a:pt x="17383" y="9567"/>
                    <a:pt x="16816" y="10065"/>
                    <a:pt x="16747" y="9842"/>
                  </a:cubicBezTo>
                  <a:cubicBezTo>
                    <a:pt x="16678" y="9619"/>
                    <a:pt x="16867" y="9722"/>
                    <a:pt x="16747" y="9396"/>
                  </a:cubicBezTo>
                  <a:cubicBezTo>
                    <a:pt x="16524" y="9791"/>
                    <a:pt x="16524" y="10306"/>
                    <a:pt x="16524" y="10306"/>
                  </a:cubicBezTo>
                  <a:cubicBezTo>
                    <a:pt x="15820" y="10461"/>
                    <a:pt x="16644" y="9104"/>
                    <a:pt x="16799" y="9069"/>
                  </a:cubicBezTo>
                  <a:cubicBezTo>
                    <a:pt x="16524" y="9172"/>
                    <a:pt x="16799" y="9069"/>
                    <a:pt x="16558" y="9069"/>
                  </a:cubicBezTo>
                  <a:cubicBezTo>
                    <a:pt x="16678" y="8897"/>
                    <a:pt x="16386" y="9155"/>
                    <a:pt x="16301" y="9069"/>
                  </a:cubicBezTo>
                  <a:cubicBezTo>
                    <a:pt x="16215" y="8983"/>
                    <a:pt x="17005" y="8382"/>
                    <a:pt x="16850" y="8794"/>
                  </a:cubicBezTo>
                  <a:cubicBezTo>
                    <a:pt x="18310" y="8485"/>
                    <a:pt x="19203" y="7077"/>
                    <a:pt x="19530" y="6733"/>
                  </a:cubicBezTo>
                  <a:cubicBezTo>
                    <a:pt x="19032" y="7145"/>
                    <a:pt x="19169" y="6733"/>
                    <a:pt x="18980" y="6733"/>
                  </a:cubicBezTo>
                  <a:cubicBezTo>
                    <a:pt x="18791" y="6733"/>
                    <a:pt x="19238" y="6579"/>
                    <a:pt x="18980" y="6561"/>
                  </a:cubicBezTo>
                  <a:cubicBezTo>
                    <a:pt x="19203" y="6321"/>
                    <a:pt x="18980" y="6561"/>
                    <a:pt x="18980" y="6373"/>
                  </a:cubicBezTo>
                  <a:lnTo>
                    <a:pt x="19083" y="6373"/>
                  </a:lnTo>
                  <a:lnTo>
                    <a:pt x="18929" y="6458"/>
                  </a:lnTo>
                  <a:cubicBezTo>
                    <a:pt x="18671" y="6579"/>
                    <a:pt x="18430" y="6733"/>
                    <a:pt x="18173" y="6871"/>
                  </a:cubicBezTo>
                  <a:lnTo>
                    <a:pt x="18173" y="6871"/>
                  </a:lnTo>
                  <a:lnTo>
                    <a:pt x="18293" y="6871"/>
                  </a:lnTo>
                  <a:lnTo>
                    <a:pt x="18242" y="6871"/>
                  </a:lnTo>
                  <a:lnTo>
                    <a:pt x="18242" y="6871"/>
                  </a:lnTo>
                  <a:cubicBezTo>
                    <a:pt x="18242" y="6957"/>
                    <a:pt x="17984" y="6871"/>
                    <a:pt x="17898" y="7025"/>
                  </a:cubicBezTo>
                  <a:lnTo>
                    <a:pt x="17898" y="7025"/>
                  </a:lnTo>
                  <a:lnTo>
                    <a:pt x="17898" y="7025"/>
                  </a:lnTo>
                  <a:lnTo>
                    <a:pt x="18001" y="7025"/>
                  </a:lnTo>
                  <a:cubicBezTo>
                    <a:pt x="18001" y="7025"/>
                    <a:pt x="18001" y="7025"/>
                    <a:pt x="18001" y="7025"/>
                  </a:cubicBezTo>
                  <a:lnTo>
                    <a:pt x="18001" y="7025"/>
                  </a:lnTo>
                  <a:cubicBezTo>
                    <a:pt x="18001" y="7025"/>
                    <a:pt x="17881" y="7025"/>
                    <a:pt x="17829" y="7025"/>
                  </a:cubicBezTo>
                  <a:lnTo>
                    <a:pt x="17829" y="7025"/>
                  </a:lnTo>
                  <a:lnTo>
                    <a:pt x="17829" y="7025"/>
                  </a:lnTo>
                  <a:cubicBezTo>
                    <a:pt x="17623" y="7180"/>
                    <a:pt x="17400" y="7300"/>
                    <a:pt x="17177" y="7437"/>
                  </a:cubicBezTo>
                  <a:lnTo>
                    <a:pt x="17434" y="7334"/>
                  </a:lnTo>
                  <a:lnTo>
                    <a:pt x="17434" y="7334"/>
                  </a:lnTo>
                  <a:lnTo>
                    <a:pt x="17864" y="7111"/>
                  </a:lnTo>
                  <a:cubicBezTo>
                    <a:pt x="17702" y="7258"/>
                    <a:pt x="17523" y="7385"/>
                    <a:pt x="17331" y="7489"/>
                  </a:cubicBezTo>
                  <a:lnTo>
                    <a:pt x="17331" y="7489"/>
                  </a:lnTo>
                  <a:cubicBezTo>
                    <a:pt x="17075" y="7607"/>
                    <a:pt x="16843" y="7770"/>
                    <a:pt x="16644" y="7970"/>
                  </a:cubicBezTo>
                  <a:cubicBezTo>
                    <a:pt x="16644" y="7970"/>
                    <a:pt x="16747" y="7884"/>
                    <a:pt x="16799" y="7884"/>
                  </a:cubicBezTo>
                  <a:lnTo>
                    <a:pt x="16799" y="7884"/>
                  </a:lnTo>
                  <a:lnTo>
                    <a:pt x="17675" y="7437"/>
                  </a:lnTo>
                  <a:lnTo>
                    <a:pt x="17675" y="7437"/>
                  </a:lnTo>
                  <a:lnTo>
                    <a:pt x="17675" y="7437"/>
                  </a:lnTo>
                  <a:cubicBezTo>
                    <a:pt x="17675" y="7437"/>
                    <a:pt x="17675" y="7334"/>
                    <a:pt x="17812" y="7352"/>
                  </a:cubicBezTo>
                  <a:lnTo>
                    <a:pt x="17812" y="7352"/>
                  </a:lnTo>
                  <a:cubicBezTo>
                    <a:pt x="17812" y="7352"/>
                    <a:pt x="17812" y="7352"/>
                    <a:pt x="17932" y="7352"/>
                  </a:cubicBezTo>
                  <a:lnTo>
                    <a:pt x="17932" y="7352"/>
                  </a:lnTo>
                  <a:lnTo>
                    <a:pt x="18362" y="7111"/>
                  </a:lnTo>
                  <a:cubicBezTo>
                    <a:pt x="18362" y="7111"/>
                    <a:pt x="18362" y="7111"/>
                    <a:pt x="18362" y="7266"/>
                  </a:cubicBezTo>
                  <a:lnTo>
                    <a:pt x="18362" y="7266"/>
                  </a:lnTo>
                  <a:cubicBezTo>
                    <a:pt x="18341" y="7321"/>
                    <a:pt x="18297" y="7365"/>
                    <a:pt x="18242" y="7386"/>
                  </a:cubicBezTo>
                  <a:cubicBezTo>
                    <a:pt x="18242" y="7300"/>
                    <a:pt x="18242" y="7472"/>
                    <a:pt x="18104" y="7489"/>
                  </a:cubicBezTo>
                  <a:cubicBezTo>
                    <a:pt x="17967" y="7506"/>
                    <a:pt x="17967" y="7626"/>
                    <a:pt x="17898" y="7626"/>
                  </a:cubicBezTo>
                  <a:cubicBezTo>
                    <a:pt x="17829" y="7626"/>
                    <a:pt x="17898" y="7626"/>
                    <a:pt x="17898" y="7626"/>
                  </a:cubicBezTo>
                  <a:lnTo>
                    <a:pt x="17898" y="7626"/>
                  </a:lnTo>
                  <a:cubicBezTo>
                    <a:pt x="17898" y="7626"/>
                    <a:pt x="17606" y="7764"/>
                    <a:pt x="17692" y="7626"/>
                  </a:cubicBezTo>
                  <a:lnTo>
                    <a:pt x="17692" y="7626"/>
                  </a:lnTo>
                  <a:cubicBezTo>
                    <a:pt x="17692" y="7626"/>
                    <a:pt x="17692" y="7712"/>
                    <a:pt x="17537" y="7729"/>
                  </a:cubicBezTo>
                  <a:lnTo>
                    <a:pt x="17537" y="7729"/>
                  </a:lnTo>
                  <a:cubicBezTo>
                    <a:pt x="17537" y="7729"/>
                    <a:pt x="17417" y="7729"/>
                    <a:pt x="17537" y="7729"/>
                  </a:cubicBezTo>
                  <a:cubicBezTo>
                    <a:pt x="17222" y="8004"/>
                    <a:pt x="16845" y="8199"/>
                    <a:pt x="16438" y="8296"/>
                  </a:cubicBezTo>
                  <a:cubicBezTo>
                    <a:pt x="16466" y="8278"/>
                    <a:pt x="16495" y="8261"/>
                    <a:pt x="16524" y="8245"/>
                  </a:cubicBezTo>
                  <a:lnTo>
                    <a:pt x="16524" y="8245"/>
                  </a:lnTo>
                  <a:lnTo>
                    <a:pt x="16661" y="8125"/>
                  </a:lnTo>
                  <a:lnTo>
                    <a:pt x="16661" y="8125"/>
                  </a:lnTo>
                  <a:cubicBezTo>
                    <a:pt x="16661" y="8125"/>
                    <a:pt x="16490" y="8210"/>
                    <a:pt x="16661" y="8125"/>
                  </a:cubicBezTo>
                  <a:cubicBezTo>
                    <a:pt x="16557" y="8250"/>
                    <a:pt x="16436" y="8360"/>
                    <a:pt x="16301" y="8451"/>
                  </a:cubicBezTo>
                  <a:lnTo>
                    <a:pt x="16404" y="8296"/>
                  </a:lnTo>
                  <a:cubicBezTo>
                    <a:pt x="16404" y="8296"/>
                    <a:pt x="16404" y="8382"/>
                    <a:pt x="16283" y="8399"/>
                  </a:cubicBezTo>
                  <a:cubicBezTo>
                    <a:pt x="16163" y="8417"/>
                    <a:pt x="16283" y="8399"/>
                    <a:pt x="16283" y="8399"/>
                  </a:cubicBezTo>
                  <a:lnTo>
                    <a:pt x="16283" y="8399"/>
                  </a:lnTo>
                  <a:lnTo>
                    <a:pt x="16438" y="8279"/>
                  </a:lnTo>
                  <a:cubicBezTo>
                    <a:pt x="16438" y="8279"/>
                    <a:pt x="16335" y="8279"/>
                    <a:pt x="16438" y="8279"/>
                  </a:cubicBezTo>
                  <a:lnTo>
                    <a:pt x="16438" y="8279"/>
                  </a:lnTo>
                  <a:lnTo>
                    <a:pt x="16438" y="8279"/>
                  </a:lnTo>
                  <a:cubicBezTo>
                    <a:pt x="16260" y="8438"/>
                    <a:pt x="16057" y="8566"/>
                    <a:pt x="15837" y="8657"/>
                  </a:cubicBezTo>
                  <a:lnTo>
                    <a:pt x="15837" y="8657"/>
                  </a:lnTo>
                  <a:cubicBezTo>
                    <a:pt x="15510" y="8846"/>
                    <a:pt x="15837" y="8520"/>
                    <a:pt x="15837" y="8365"/>
                  </a:cubicBezTo>
                  <a:cubicBezTo>
                    <a:pt x="15545" y="8537"/>
                    <a:pt x="15614" y="8846"/>
                    <a:pt x="15287" y="8932"/>
                  </a:cubicBezTo>
                  <a:lnTo>
                    <a:pt x="15287" y="8932"/>
                  </a:lnTo>
                  <a:lnTo>
                    <a:pt x="14841" y="9138"/>
                  </a:lnTo>
                  <a:cubicBezTo>
                    <a:pt x="14841" y="9138"/>
                    <a:pt x="14841" y="9138"/>
                    <a:pt x="14841" y="9138"/>
                  </a:cubicBezTo>
                  <a:lnTo>
                    <a:pt x="14841" y="9138"/>
                  </a:lnTo>
                  <a:lnTo>
                    <a:pt x="14841" y="9138"/>
                  </a:lnTo>
                  <a:cubicBezTo>
                    <a:pt x="14841" y="9138"/>
                    <a:pt x="14841" y="9138"/>
                    <a:pt x="14961" y="9035"/>
                  </a:cubicBezTo>
                  <a:cubicBezTo>
                    <a:pt x="15081" y="8932"/>
                    <a:pt x="14841" y="9035"/>
                    <a:pt x="14806" y="9121"/>
                  </a:cubicBezTo>
                  <a:cubicBezTo>
                    <a:pt x="14849" y="9096"/>
                    <a:pt x="14884" y="9060"/>
                    <a:pt x="14909" y="9018"/>
                  </a:cubicBezTo>
                  <a:cubicBezTo>
                    <a:pt x="14909" y="9018"/>
                    <a:pt x="14514" y="9344"/>
                    <a:pt x="14686" y="9138"/>
                  </a:cubicBezTo>
                  <a:lnTo>
                    <a:pt x="14531" y="9258"/>
                  </a:lnTo>
                  <a:cubicBezTo>
                    <a:pt x="14601" y="9111"/>
                    <a:pt x="14687" y="8973"/>
                    <a:pt x="14789" y="8846"/>
                  </a:cubicBezTo>
                  <a:lnTo>
                    <a:pt x="14789" y="8846"/>
                  </a:lnTo>
                  <a:lnTo>
                    <a:pt x="14789" y="8846"/>
                  </a:lnTo>
                  <a:lnTo>
                    <a:pt x="14703" y="8949"/>
                  </a:lnTo>
                  <a:cubicBezTo>
                    <a:pt x="14909" y="8794"/>
                    <a:pt x="14600" y="9138"/>
                    <a:pt x="14549" y="9121"/>
                  </a:cubicBezTo>
                  <a:lnTo>
                    <a:pt x="14686" y="9121"/>
                  </a:lnTo>
                  <a:cubicBezTo>
                    <a:pt x="14549" y="9361"/>
                    <a:pt x="13999" y="9653"/>
                    <a:pt x="14411" y="9121"/>
                  </a:cubicBezTo>
                  <a:cubicBezTo>
                    <a:pt x="14274" y="9207"/>
                    <a:pt x="14205" y="9361"/>
                    <a:pt x="14085" y="9447"/>
                  </a:cubicBezTo>
                  <a:lnTo>
                    <a:pt x="14085" y="9447"/>
                  </a:lnTo>
                  <a:lnTo>
                    <a:pt x="14085" y="9447"/>
                  </a:lnTo>
                  <a:lnTo>
                    <a:pt x="14085" y="9447"/>
                  </a:lnTo>
                  <a:lnTo>
                    <a:pt x="13930" y="9585"/>
                  </a:lnTo>
                  <a:cubicBezTo>
                    <a:pt x="13930" y="9585"/>
                    <a:pt x="13930" y="9585"/>
                    <a:pt x="13930" y="9585"/>
                  </a:cubicBezTo>
                  <a:cubicBezTo>
                    <a:pt x="13930" y="9585"/>
                    <a:pt x="13810" y="9585"/>
                    <a:pt x="13776" y="9585"/>
                  </a:cubicBezTo>
                  <a:cubicBezTo>
                    <a:pt x="13741" y="9585"/>
                    <a:pt x="13260" y="9911"/>
                    <a:pt x="13123" y="9945"/>
                  </a:cubicBezTo>
                  <a:lnTo>
                    <a:pt x="13123" y="9945"/>
                  </a:lnTo>
                  <a:cubicBezTo>
                    <a:pt x="12737" y="10291"/>
                    <a:pt x="12330" y="10612"/>
                    <a:pt x="11903" y="10907"/>
                  </a:cubicBezTo>
                  <a:cubicBezTo>
                    <a:pt x="12900" y="10254"/>
                    <a:pt x="11749" y="11405"/>
                    <a:pt x="11525" y="11405"/>
                  </a:cubicBezTo>
                  <a:cubicBezTo>
                    <a:pt x="11972" y="11405"/>
                    <a:pt x="11732" y="11783"/>
                    <a:pt x="11525" y="12092"/>
                  </a:cubicBezTo>
                  <a:lnTo>
                    <a:pt x="11525" y="12092"/>
                  </a:lnTo>
                  <a:cubicBezTo>
                    <a:pt x="11512" y="12253"/>
                    <a:pt x="11471" y="12409"/>
                    <a:pt x="11405" y="12556"/>
                  </a:cubicBezTo>
                  <a:cubicBezTo>
                    <a:pt x="11525" y="12556"/>
                    <a:pt x="11508" y="12693"/>
                    <a:pt x="11629" y="12693"/>
                  </a:cubicBezTo>
                  <a:lnTo>
                    <a:pt x="11629" y="12693"/>
                  </a:lnTo>
                  <a:cubicBezTo>
                    <a:pt x="11143" y="13178"/>
                    <a:pt x="10727" y="13727"/>
                    <a:pt x="10392" y="14325"/>
                  </a:cubicBezTo>
                  <a:cubicBezTo>
                    <a:pt x="10598" y="14325"/>
                    <a:pt x="10546" y="14325"/>
                    <a:pt x="10753" y="14188"/>
                  </a:cubicBezTo>
                  <a:cubicBezTo>
                    <a:pt x="10753" y="14274"/>
                    <a:pt x="10546" y="14445"/>
                    <a:pt x="10649" y="14514"/>
                  </a:cubicBezTo>
                  <a:cubicBezTo>
                    <a:pt x="11067" y="13670"/>
                    <a:pt x="11757" y="12992"/>
                    <a:pt x="12608" y="12590"/>
                  </a:cubicBezTo>
                  <a:cubicBezTo>
                    <a:pt x="13106" y="12024"/>
                    <a:pt x="13484" y="11337"/>
                    <a:pt x="13999" y="11148"/>
                  </a:cubicBezTo>
                  <a:lnTo>
                    <a:pt x="13999" y="11148"/>
                  </a:lnTo>
                  <a:cubicBezTo>
                    <a:pt x="14085" y="11148"/>
                    <a:pt x="14119" y="10976"/>
                    <a:pt x="14205" y="10976"/>
                  </a:cubicBezTo>
                  <a:cubicBezTo>
                    <a:pt x="14291" y="10976"/>
                    <a:pt x="14205" y="10873"/>
                    <a:pt x="14325" y="10856"/>
                  </a:cubicBezTo>
                  <a:cubicBezTo>
                    <a:pt x="14446" y="10838"/>
                    <a:pt x="15493" y="9808"/>
                    <a:pt x="15081" y="10409"/>
                  </a:cubicBezTo>
                  <a:cubicBezTo>
                    <a:pt x="15081" y="10409"/>
                    <a:pt x="15253" y="10409"/>
                    <a:pt x="15201" y="10409"/>
                  </a:cubicBezTo>
                  <a:lnTo>
                    <a:pt x="15201" y="10409"/>
                  </a:lnTo>
                  <a:cubicBezTo>
                    <a:pt x="15510" y="10409"/>
                    <a:pt x="15201" y="10409"/>
                    <a:pt x="15304" y="10564"/>
                  </a:cubicBezTo>
                  <a:cubicBezTo>
                    <a:pt x="15407" y="10718"/>
                    <a:pt x="15201" y="10649"/>
                    <a:pt x="15167" y="10701"/>
                  </a:cubicBezTo>
                  <a:lnTo>
                    <a:pt x="15167" y="10701"/>
                  </a:lnTo>
                  <a:cubicBezTo>
                    <a:pt x="15167" y="10701"/>
                    <a:pt x="15167" y="10804"/>
                    <a:pt x="15167" y="10856"/>
                  </a:cubicBezTo>
                  <a:lnTo>
                    <a:pt x="15167" y="10856"/>
                  </a:lnTo>
                  <a:cubicBezTo>
                    <a:pt x="15167" y="10856"/>
                    <a:pt x="15167" y="10941"/>
                    <a:pt x="15167" y="10941"/>
                  </a:cubicBezTo>
                  <a:lnTo>
                    <a:pt x="15167" y="10941"/>
                  </a:lnTo>
                  <a:cubicBezTo>
                    <a:pt x="15167" y="10941"/>
                    <a:pt x="15167" y="11027"/>
                    <a:pt x="15047" y="11079"/>
                  </a:cubicBez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cubicBezTo>
                    <a:pt x="15201" y="11079"/>
                    <a:pt x="15047" y="11165"/>
                    <a:pt x="15047" y="11216"/>
                  </a:cubicBezTo>
                  <a:cubicBezTo>
                    <a:pt x="15047" y="11268"/>
                    <a:pt x="15150" y="11113"/>
                    <a:pt x="15201" y="11130"/>
                  </a:cubicBezTo>
                  <a:cubicBezTo>
                    <a:pt x="15253" y="11148"/>
                    <a:pt x="14909" y="11337"/>
                    <a:pt x="14789" y="11508"/>
                  </a:cubicBezTo>
                  <a:lnTo>
                    <a:pt x="14789" y="11508"/>
                  </a:lnTo>
                  <a:cubicBezTo>
                    <a:pt x="14789" y="11508"/>
                    <a:pt x="14652" y="11629"/>
                    <a:pt x="14583" y="11508"/>
                  </a:cubicBezTo>
                  <a:cubicBezTo>
                    <a:pt x="14772" y="11680"/>
                    <a:pt x="14308" y="12041"/>
                    <a:pt x="14325" y="11989"/>
                  </a:cubicBezTo>
                  <a:cubicBezTo>
                    <a:pt x="14342" y="11938"/>
                    <a:pt x="14325" y="12144"/>
                    <a:pt x="14325" y="11989"/>
                  </a:cubicBezTo>
                  <a:cubicBezTo>
                    <a:pt x="14325" y="11835"/>
                    <a:pt x="14119" y="12264"/>
                    <a:pt x="14016" y="12367"/>
                  </a:cubicBezTo>
                  <a:cubicBezTo>
                    <a:pt x="14291" y="12178"/>
                    <a:pt x="14360" y="12144"/>
                    <a:pt x="14016" y="12367"/>
                  </a:cubicBezTo>
                  <a:cubicBezTo>
                    <a:pt x="14016" y="12367"/>
                    <a:pt x="14308" y="12127"/>
                    <a:pt x="14308" y="12230"/>
                  </a:cubicBezTo>
                  <a:cubicBezTo>
                    <a:pt x="14308" y="12333"/>
                    <a:pt x="14463" y="12109"/>
                    <a:pt x="14549" y="12075"/>
                  </a:cubicBezTo>
                  <a:cubicBezTo>
                    <a:pt x="14564" y="12131"/>
                    <a:pt x="14564" y="12191"/>
                    <a:pt x="14549" y="12247"/>
                  </a:cubicBezTo>
                  <a:cubicBezTo>
                    <a:pt x="14549" y="12161"/>
                    <a:pt x="14961" y="11800"/>
                    <a:pt x="14995" y="11921"/>
                  </a:cubicBezTo>
                  <a:cubicBezTo>
                    <a:pt x="15030" y="12041"/>
                    <a:pt x="14995" y="11921"/>
                    <a:pt x="14995" y="11921"/>
                  </a:cubicBezTo>
                  <a:cubicBezTo>
                    <a:pt x="14995" y="11921"/>
                    <a:pt x="14995" y="11817"/>
                    <a:pt x="15133" y="11817"/>
                  </a:cubicBezTo>
                  <a:lnTo>
                    <a:pt x="15133" y="11817"/>
                  </a:lnTo>
                  <a:cubicBezTo>
                    <a:pt x="15133" y="11732"/>
                    <a:pt x="15579" y="11457"/>
                    <a:pt x="15442" y="11577"/>
                  </a:cubicBezTo>
                  <a:lnTo>
                    <a:pt x="15442" y="11577"/>
                  </a:lnTo>
                  <a:cubicBezTo>
                    <a:pt x="15442" y="11577"/>
                    <a:pt x="15442" y="11697"/>
                    <a:pt x="15322" y="11697"/>
                  </a:cubicBezTo>
                  <a:cubicBezTo>
                    <a:pt x="15201" y="11697"/>
                    <a:pt x="15322" y="11697"/>
                    <a:pt x="15322" y="11783"/>
                  </a:cubicBezTo>
                  <a:lnTo>
                    <a:pt x="15322" y="11783"/>
                  </a:lnTo>
                  <a:cubicBezTo>
                    <a:pt x="15218" y="11783"/>
                    <a:pt x="15322" y="11955"/>
                    <a:pt x="15150" y="12006"/>
                  </a:cubicBezTo>
                  <a:cubicBezTo>
                    <a:pt x="14978" y="12058"/>
                    <a:pt x="15150" y="12127"/>
                    <a:pt x="15150" y="12006"/>
                  </a:cubicBezTo>
                  <a:cubicBezTo>
                    <a:pt x="15150" y="11886"/>
                    <a:pt x="14789" y="12161"/>
                    <a:pt x="15150" y="12144"/>
                  </a:cubicBezTo>
                  <a:cubicBezTo>
                    <a:pt x="15510" y="12127"/>
                    <a:pt x="14961" y="12298"/>
                    <a:pt x="15150" y="12247"/>
                  </a:cubicBezTo>
                  <a:cubicBezTo>
                    <a:pt x="15339" y="12195"/>
                    <a:pt x="14995" y="12419"/>
                    <a:pt x="14978" y="12247"/>
                  </a:cubicBezTo>
                  <a:cubicBezTo>
                    <a:pt x="14961" y="12075"/>
                    <a:pt x="14978" y="12333"/>
                    <a:pt x="14978" y="12350"/>
                  </a:cubicBezTo>
                  <a:cubicBezTo>
                    <a:pt x="14978" y="12367"/>
                    <a:pt x="15098" y="12350"/>
                    <a:pt x="15150" y="12350"/>
                  </a:cubicBezTo>
                  <a:cubicBezTo>
                    <a:pt x="15201" y="12350"/>
                    <a:pt x="14961" y="12350"/>
                    <a:pt x="14892" y="12505"/>
                  </a:cubicBezTo>
                  <a:cubicBezTo>
                    <a:pt x="15133" y="12505"/>
                    <a:pt x="15047" y="12505"/>
                    <a:pt x="14892" y="12608"/>
                  </a:cubicBezTo>
                  <a:cubicBezTo>
                    <a:pt x="14738" y="12711"/>
                    <a:pt x="14892" y="12608"/>
                    <a:pt x="14995" y="12608"/>
                  </a:cubicBezTo>
                  <a:cubicBezTo>
                    <a:pt x="15011" y="12682"/>
                    <a:pt x="14963" y="12755"/>
                    <a:pt x="14889" y="12770"/>
                  </a:cubicBezTo>
                  <a:cubicBezTo>
                    <a:pt x="14861" y="12776"/>
                    <a:pt x="14832" y="12773"/>
                    <a:pt x="14806" y="12762"/>
                  </a:cubicBezTo>
                  <a:cubicBezTo>
                    <a:pt x="14806" y="12762"/>
                    <a:pt x="14961" y="12848"/>
                    <a:pt x="14806" y="12917"/>
                  </a:cubicBezTo>
                  <a:cubicBezTo>
                    <a:pt x="14995" y="13020"/>
                    <a:pt x="14600" y="13157"/>
                    <a:pt x="14566" y="13089"/>
                  </a:cubicBezTo>
                  <a:cubicBezTo>
                    <a:pt x="14531" y="13020"/>
                    <a:pt x="14566" y="13363"/>
                    <a:pt x="14411" y="13312"/>
                  </a:cubicBezTo>
                  <a:cubicBezTo>
                    <a:pt x="14257" y="13260"/>
                    <a:pt x="14669" y="13312"/>
                    <a:pt x="14531" y="13415"/>
                  </a:cubicBezTo>
                  <a:cubicBezTo>
                    <a:pt x="14394" y="13518"/>
                    <a:pt x="14531" y="13415"/>
                    <a:pt x="14531" y="13501"/>
                  </a:cubicBezTo>
                  <a:cubicBezTo>
                    <a:pt x="14531" y="13587"/>
                    <a:pt x="14531" y="13501"/>
                    <a:pt x="14531" y="13621"/>
                  </a:cubicBezTo>
                  <a:lnTo>
                    <a:pt x="14634" y="13621"/>
                  </a:lnTo>
                  <a:cubicBezTo>
                    <a:pt x="14634" y="13707"/>
                    <a:pt x="14428" y="13879"/>
                    <a:pt x="14325" y="13844"/>
                  </a:cubicBezTo>
                  <a:cubicBezTo>
                    <a:pt x="14222" y="13810"/>
                    <a:pt x="14480" y="13844"/>
                    <a:pt x="14549" y="13844"/>
                  </a:cubicBezTo>
                  <a:cubicBezTo>
                    <a:pt x="14325" y="14050"/>
                    <a:pt x="14549" y="13844"/>
                    <a:pt x="14549" y="13844"/>
                  </a:cubicBezTo>
                  <a:cubicBezTo>
                    <a:pt x="14549" y="13844"/>
                    <a:pt x="14549" y="13844"/>
                    <a:pt x="14394" y="13999"/>
                  </a:cubicBezTo>
                  <a:cubicBezTo>
                    <a:pt x="14394" y="13999"/>
                    <a:pt x="14686" y="13810"/>
                    <a:pt x="14549" y="13999"/>
                  </a:cubicBezTo>
                  <a:lnTo>
                    <a:pt x="14549" y="13999"/>
                  </a:lnTo>
                  <a:cubicBezTo>
                    <a:pt x="14549" y="13999"/>
                    <a:pt x="14463" y="14102"/>
                    <a:pt x="14446" y="14153"/>
                  </a:cubicBezTo>
                  <a:cubicBezTo>
                    <a:pt x="14428" y="14205"/>
                    <a:pt x="14755" y="14153"/>
                    <a:pt x="14549" y="14153"/>
                  </a:cubicBezTo>
                  <a:cubicBezTo>
                    <a:pt x="14806" y="14342"/>
                    <a:pt x="14205" y="14239"/>
                    <a:pt x="14119" y="14360"/>
                  </a:cubicBezTo>
                  <a:cubicBezTo>
                    <a:pt x="14566" y="14360"/>
                    <a:pt x="13982" y="14360"/>
                    <a:pt x="13896" y="14497"/>
                  </a:cubicBezTo>
                  <a:cubicBezTo>
                    <a:pt x="13870" y="14437"/>
                    <a:pt x="13870" y="14368"/>
                    <a:pt x="13896" y="14308"/>
                  </a:cubicBezTo>
                  <a:cubicBezTo>
                    <a:pt x="13896" y="14445"/>
                    <a:pt x="13896" y="14531"/>
                    <a:pt x="13793" y="14634"/>
                  </a:cubicBezTo>
                  <a:cubicBezTo>
                    <a:pt x="13982" y="14634"/>
                    <a:pt x="14188" y="14342"/>
                    <a:pt x="14428" y="14411"/>
                  </a:cubicBezTo>
                  <a:cubicBezTo>
                    <a:pt x="14308" y="14257"/>
                    <a:pt x="14806" y="14411"/>
                    <a:pt x="14428" y="14617"/>
                  </a:cubicBezTo>
                  <a:cubicBezTo>
                    <a:pt x="14428" y="14617"/>
                    <a:pt x="14428" y="14617"/>
                    <a:pt x="14428" y="14617"/>
                  </a:cubicBezTo>
                  <a:cubicBezTo>
                    <a:pt x="14428" y="14617"/>
                    <a:pt x="14703" y="14463"/>
                    <a:pt x="14566" y="14617"/>
                  </a:cubicBezTo>
                  <a:cubicBezTo>
                    <a:pt x="14428" y="14772"/>
                    <a:pt x="14669" y="14617"/>
                    <a:pt x="14652" y="14617"/>
                  </a:cubicBezTo>
                  <a:cubicBezTo>
                    <a:pt x="14634" y="14617"/>
                    <a:pt x="14652" y="14789"/>
                    <a:pt x="14497" y="14772"/>
                  </a:cubicBezTo>
                  <a:cubicBezTo>
                    <a:pt x="14600" y="14772"/>
                    <a:pt x="14360" y="14995"/>
                    <a:pt x="14360" y="14875"/>
                  </a:cubicBezTo>
                  <a:cubicBezTo>
                    <a:pt x="14360" y="14755"/>
                    <a:pt x="14549" y="15047"/>
                    <a:pt x="14360" y="15012"/>
                  </a:cubicBezTo>
                  <a:cubicBezTo>
                    <a:pt x="14583" y="15115"/>
                    <a:pt x="13879" y="15407"/>
                    <a:pt x="13844" y="15287"/>
                  </a:cubicBezTo>
                  <a:cubicBezTo>
                    <a:pt x="13810" y="15167"/>
                    <a:pt x="13724" y="15287"/>
                    <a:pt x="13844" y="15287"/>
                  </a:cubicBezTo>
                  <a:cubicBezTo>
                    <a:pt x="13381" y="15682"/>
                    <a:pt x="13003" y="15734"/>
                    <a:pt x="12590" y="15407"/>
                  </a:cubicBezTo>
                  <a:cubicBezTo>
                    <a:pt x="12590" y="15407"/>
                    <a:pt x="12213" y="15407"/>
                    <a:pt x="12247" y="15253"/>
                  </a:cubicBezTo>
                  <a:cubicBezTo>
                    <a:pt x="11629" y="15631"/>
                    <a:pt x="11062" y="16026"/>
                    <a:pt x="10426" y="16369"/>
                  </a:cubicBezTo>
                  <a:cubicBezTo>
                    <a:pt x="10849" y="16193"/>
                    <a:pt x="11326" y="16193"/>
                    <a:pt x="11749" y="16369"/>
                  </a:cubicBezTo>
                  <a:cubicBezTo>
                    <a:pt x="11704" y="16429"/>
                    <a:pt x="11645" y="16477"/>
                    <a:pt x="11577" y="16507"/>
                  </a:cubicBezTo>
                  <a:cubicBezTo>
                    <a:pt x="11749" y="16507"/>
                    <a:pt x="11354" y="16885"/>
                    <a:pt x="11577" y="16936"/>
                  </a:cubicBezTo>
                  <a:cubicBezTo>
                    <a:pt x="11405" y="17022"/>
                    <a:pt x="11732" y="17262"/>
                    <a:pt x="11835" y="17125"/>
                  </a:cubicBezTo>
                  <a:cubicBezTo>
                    <a:pt x="11835" y="17125"/>
                    <a:pt x="11972" y="17262"/>
                    <a:pt x="11835" y="17245"/>
                  </a:cubicBezTo>
                  <a:cubicBezTo>
                    <a:pt x="12075" y="17245"/>
                    <a:pt x="11182" y="17520"/>
                    <a:pt x="11251" y="17365"/>
                  </a:cubicBezTo>
                  <a:cubicBezTo>
                    <a:pt x="11101" y="17505"/>
                    <a:pt x="10940" y="17631"/>
                    <a:pt x="10770" y="17743"/>
                  </a:cubicBezTo>
                  <a:lnTo>
                    <a:pt x="10770" y="17743"/>
                  </a:lnTo>
                  <a:cubicBezTo>
                    <a:pt x="10667" y="17743"/>
                    <a:pt x="10770" y="17589"/>
                    <a:pt x="10770" y="17640"/>
                  </a:cubicBezTo>
                  <a:cubicBezTo>
                    <a:pt x="10770" y="17417"/>
                    <a:pt x="11371" y="16988"/>
                    <a:pt x="11371" y="17280"/>
                  </a:cubicBezTo>
                  <a:cubicBezTo>
                    <a:pt x="11371" y="17177"/>
                    <a:pt x="11491" y="17280"/>
                    <a:pt x="11543" y="17194"/>
                  </a:cubicBezTo>
                  <a:cubicBezTo>
                    <a:pt x="11233" y="17073"/>
                    <a:pt x="11233" y="17194"/>
                    <a:pt x="11543" y="16970"/>
                  </a:cubicBezTo>
                  <a:lnTo>
                    <a:pt x="11543" y="16970"/>
                  </a:lnTo>
                  <a:lnTo>
                    <a:pt x="11543" y="16970"/>
                  </a:lnTo>
                  <a:cubicBezTo>
                    <a:pt x="11543" y="17073"/>
                    <a:pt x="11045" y="17245"/>
                    <a:pt x="11233" y="16970"/>
                  </a:cubicBezTo>
                  <a:cubicBezTo>
                    <a:pt x="11096" y="17125"/>
                    <a:pt x="11045" y="17073"/>
                    <a:pt x="10924" y="16970"/>
                  </a:cubicBezTo>
                  <a:cubicBezTo>
                    <a:pt x="10804" y="16867"/>
                    <a:pt x="10924" y="17091"/>
                    <a:pt x="10924" y="17159"/>
                  </a:cubicBezTo>
                  <a:cubicBezTo>
                    <a:pt x="10924" y="17228"/>
                    <a:pt x="10924" y="17331"/>
                    <a:pt x="10924" y="17159"/>
                  </a:cubicBezTo>
                  <a:cubicBezTo>
                    <a:pt x="10924" y="16988"/>
                    <a:pt x="10598" y="17314"/>
                    <a:pt x="10667" y="17159"/>
                  </a:cubicBezTo>
                  <a:cubicBezTo>
                    <a:pt x="10735" y="17005"/>
                    <a:pt x="10478" y="17245"/>
                    <a:pt x="10667" y="17159"/>
                  </a:cubicBezTo>
                  <a:cubicBezTo>
                    <a:pt x="10856" y="17073"/>
                    <a:pt x="10546" y="17297"/>
                    <a:pt x="10478" y="17331"/>
                  </a:cubicBezTo>
                  <a:lnTo>
                    <a:pt x="10478" y="17331"/>
                  </a:lnTo>
                  <a:cubicBezTo>
                    <a:pt x="10478" y="17331"/>
                    <a:pt x="10478" y="17417"/>
                    <a:pt x="10478" y="17331"/>
                  </a:cubicBezTo>
                  <a:cubicBezTo>
                    <a:pt x="10478" y="17245"/>
                    <a:pt x="10357" y="17469"/>
                    <a:pt x="10478" y="17331"/>
                  </a:cubicBezTo>
                  <a:cubicBezTo>
                    <a:pt x="10254" y="17331"/>
                    <a:pt x="9722" y="18345"/>
                    <a:pt x="10083" y="18001"/>
                  </a:cubicBezTo>
                  <a:cubicBezTo>
                    <a:pt x="10083" y="18138"/>
                    <a:pt x="9842" y="18327"/>
                    <a:pt x="9911" y="18087"/>
                  </a:cubicBezTo>
                  <a:cubicBezTo>
                    <a:pt x="9773" y="18259"/>
                    <a:pt x="9791" y="18241"/>
                    <a:pt x="9808" y="18087"/>
                  </a:cubicBezTo>
                  <a:cubicBezTo>
                    <a:pt x="9360" y="18252"/>
                    <a:pt x="8984" y="18568"/>
                    <a:pt x="8743" y="18980"/>
                  </a:cubicBezTo>
                  <a:lnTo>
                    <a:pt x="8743" y="18980"/>
                  </a:lnTo>
                  <a:lnTo>
                    <a:pt x="8743" y="18980"/>
                  </a:lnTo>
                  <a:cubicBezTo>
                    <a:pt x="8743" y="18980"/>
                    <a:pt x="8743" y="18825"/>
                    <a:pt x="8743" y="18740"/>
                  </a:cubicBezTo>
                  <a:cubicBezTo>
                    <a:pt x="8605" y="18980"/>
                    <a:pt x="8588" y="19289"/>
                    <a:pt x="8365" y="19495"/>
                  </a:cubicBezTo>
                  <a:lnTo>
                    <a:pt x="8365" y="19495"/>
                  </a:lnTo>
                  <a:lnTo>
                    <a:pt x="8262" y="19650"/>
                  </a:lnTo>
                  <a:cubicBezTo>
                    <a:pt x="8298" y="19536"/>
                    <a:pt x="8356" y="19431"/>
                    <a:pt x="8434" y="19341"/>
                  </a:cubicBezTo>
                  <a:cubicBezTo>
                    <a:pt x="8434" y="19341"/>
                    <a:pt x="8434" y="19255"/>
                    <a:pt x="8434" y="19221"/>
                  </a:cubicBezTo>
                  <a:lnTo>
                    <a:pt x="8434" y="19221"/>
                  </a:lnTo>
                  <a:cubicBezTo>
                    <a:pt x="8434" y="19014"/>
                    <a:pt x="8605" y="18860"/>
                    <a:pt x="8674" y="18671"/>
                  </a:cubicBezTo>
                  <a:cubicBezTo>
                    <a:pt x="8545" y="18838"/>
                    <a:pt x="8441" y="19023"/>
                    <a:pt x="8365" y="19221"/>
                  </a:cubicBezTo>
                  <a:cubicBezTo>
                    <a:pt x="8365" y="19117"/>
                    <a:pt x="8365" y="19032"/>
                    <a:pt x="8365" y="18929"/>
                  </a:cubicBezTo>
                  <a:cubicBezTo>
                    <a:pt x="8365" y="18825"/>
                    <a:pt x="8365" y="19581"/>
                    <a:pt x="8365" y="19324"/>
                  </a:cubicBezTo>
                  <a:cubicBezTo>
                    <a:pt x="8365" y="19324"/>
                    <a:pt x="8365" y="19598"/>
                    <a:pt x="8365" y="19530"/>
                  </a:cubicBezTo>
                  <a:cubicBezTo>
                    <a:pt x="8365" y="19461"/>
                    <a:pt x="8365" y="19616"/>
                    <a:pt x="8365" y="19650"/>
                  </a:cubicBezTo>
                  <a:cubicBezTo>
                    <a:pt x="8374" y="19605"/>
                    <a:pt x="8374" y="19558"/>
                    <a:pt x="8365" y="19513"/>
                  </a:cubicBezTo>
                  <a:cubicBezTo>
                    <a:pt x="8365" y="19650"/>
                    <a:pt x="8502" y="19719"/>
                    <a:pt x="8365" y="19856"/>
                  </a:cubicBezTo>
                  <a:lnTo>
                    <a:pt x="8365" y="19856"/>
                  </a:lnTo>
                  <a:cubicBezTo>
                    <a:pt x="8365" y="19993"/>
                    <a:pt x="8176" y="20148"/>
                    <a:pt x="8210" y="19976"/>
                  </a:cubicBezTo>
                  <a:cubicBezTo>
                    <a:pt x="8245" y="19805"/>
                    <a:pt x="8210" y="20079"/>
                    <a:pt x="8210" y="20097"/>
                  </a:cubicBezTo>
                  <a:cubicBezTo>
                    <a:pt x="8210" y="20114"/>
                    <a:pt x="8296" y="20097"/>
                    <a:pt x="8313" y="20234"/>
                  </a:cubicBezTo>
                  <a:cubicBezTo>
                    <a:pt x="8304" y="20200"/>
                    <a:pt x="8304" y="20165"/>
                    <a:pt x="8313" y="20131"/>
                  </a:cubicBezTo>
                  <a:cubicBezTo>
                    <a:pt x="8313" y="20234"/>
                    <a:pt x="8313" y="20285"/>
                    <a:pt x="8176" y="20354"/>
                  </a:cubicBezTo>
                  <a:cubicBezTo>
                    <a:pt x="8039" y="20423"/>
                    <a:pt x="8176" y="20354"/>
                    <a:pt x="8176" y="20251"/>
                  </a:cubicBezTo>
                  <a:cubicBezTo>
                    <a:pt x="8176" y="20148"/>
                    <a:pt x="8176" y="20251"/>
                    <a:pt x="8176" y="20251"/>
                  </a:cubicBezTo>
                  <a:cubicBezTo>
                    <a:pt x="8176" y="20251"/>
                    <a:pt x="8176" y="20474"/>
                    <a:pt x="8176" y="20389"/>
                  </a:cubicBezTo>
                  <a:lnTo>
                    <a:pt x="8176" y="20389"/>
                  </a:lnTo>
                  <a:lnTo>
                    <a:pt x="8176" y="20389"/>
                  </a:lnTo>
                  <a:lnTo>
                    <a:pt x="8176" y="20389"/>
                  </a:lnTo>
                  <a:cubicBezTo>
                    <a:pt x="6991" y="20389"/>
                    <a:pt x="6458" y="24992"/>
                    <a:pt x="6579" y="22982"/>
                  </a:cubicBezTo>
                  <a:cubicBezTo>
                    <a:pt x="6579" y="22982"/>
                    <a:pt x="6579" y="22982"/>
                    <a:pt x="6579" y="22982"/>
                  </a:cubicBezTo>
                  <a:cubicBezTo>
                    <a:pt x="6579" y="22982"/>
                    <a:pt x="6579" y="22982"/>
                    <a:pt x="6579" y="22982"/>
                  </a:cubicBezTo>
                  <a:lnTo>
                    <a:pt x="6579" y="22982"/>
                  </a:lnTo>
                  <a:cubicBezTo>
                    <a:pt x="6579" y="22879"/>
                    <a:pt x="6579" y="22707"/>
                    <a:pt x="6579" y="22604"/>
                  </a:cubicBezTo>
                  <a:cubicBezTo>
                    <a:pt x="6579" y="22501"/>
                    <a:pt x="6579" y="22604"/>
                    <a:pt x="6579" y="22707"/>
                  </a:cubicBezTo>
                  <a:cubicBezTo>
                    <a:pt x="6579" y="22810"/>
                    <a:pt x="6853" y="21780"/>
                    <a:pt x="6579" y="21745"/>
                  </a:cubicBezTo>
                  <a:cubicBezTo>
                    <a:pt x="6304" y="21711"/>
                    <a:pt x="6476" y="21849"/>
                    <a:pt x="6579" y="21745"/>
                  </a:cubicBezTo>
                  <a:lnTo>
                    <a:pt x="6579" y="21745"/>
                  </a:lnTo>
                  <a:lnTo>
                    <a:pt x="6579" y="21745"/>
                  </a:lnTo>
                  <a:cubicBezTo>
                    <a:pt x="6579" y="21745"/>
                    <a:pt x="6579" y="21574"/>
                    <a:pt x="6579" y="21642"/>
                  </a:cubicBezTo>
                  <a:cubicBezTo>
                    <a:pt x="6587" y="21603"/>
                    <a:pt x="6587" y="21562"/>
                    <a:pt x="6579" y="21522"/>
                  </a:cubicBezTo>
                  <a:lnTo>
                    <a:pt x="6579" y="21522"/>
                  </a:lnTo>
                  <a:cubicBezTo>
                    <a:pt x="6579" y="21522"/>
                    <a:pt x="6579" y="21436"/>
                    <a:pt x="6579" y="21385"/>
                  </a:cubicBezTo>
                  <a:lnTo>
                    <a:pt x="6579" y="21385"/>
                  </a:lnTo>
                  <a:cubicBezTo>
                    <a:pt x="6579" y="21385"/>
                    <a:pt x="6579" y="21385"/>
                    <a:pt x="6579" y="21385"/>
                  </a:cubicBezTo>
                  <a:cubicBezTo>
                    <a:pt x="6579" y="21385"/>
                    <a:pt x="6579" y="21385"/>
                    <a:pt x="6579" y="21385"/>
                  </a:cubicBezTo>
                  <a:cubicBezTo>
                    <a:pt x="6579" y="21385"/>
                    <a:pt x="6579" y="21282"/>
                    <a:pt x="6579" y="21230"/>
                  </a:cubicBezTo>
                  <a:lnTo>
                    <a:pt x="6579" y="21333"/>
                  </a:lnTo>
                  <a:cubicBezTo>
                    <a:pt x="6579" y="21230"/>
                    <a:pt x="6390" y="21333"/>
                    <a:pt x="6373" y="21453"/>
                  </a:cubicBezTo>
                  <a:lnTo>
                    <a:pt x="6373" y="21453"/>
                  </a:lnTo>
                  <a:cubicBezTo>
                    <a:pt x="6373" y="21642"/>
                    <a:pt x="6373" y="21763"/>
                    <a:pt x="6373" y="21849"/>
                  </a:cubicBezTo>
                  <a:cubicBezTo>
                    <a:pt x="6373" y="21934"/>
                    <a:pt x="6373" y="21471"/>
                    <a:pt x="6373" y="21763"/>
                  </a:cubicBezTo>
                  <a:lnTo>
                    <a:pt x="6373" y="21660"/>
                  </a:lnTo>
                  <a:cubicBezTo>
                    <a:pt x="6373" y="21539"/>
                    <a:pt x="6373" y="21471"/>
                    <a:pt x="6373" y="21350"/>
                  </a:cubicBezTo>
                  <a:cubicBezTo>
                    <a:pt x="6373" y="21230"/>
                    <a:pt x="6373" y="21350"/>
                    <a:pt x="6373" y="21350"/>
                  </a:cubicBezTo>
                  <a:cubicBezTo>
                    <a:pt x="6373" y="21591"/>
                    <a:pt x="6373" y="21076"/>
                    <a:pt x="6184" y="21350"/>
                  </a:cubicBezTo>
                  <a:cubicBezTo>
                    <a:pt x="6184" y="21350"/>
                    <a:pt x="6184" y="21196"/>
                    <a:pt x="6184" y="21127"/>
                  </a:cubicBezTo>
                  <a:cubicBezTo>
                    <a:pt x="6184" y="21058"/>
                    <a:pt x="6184" y="21247"/>
                    <a:pt x="6184" y="21127"/>
                  </a:cubicBezTo>
                  <a:cubicBezTo>
                    <a:pt x="6193" y="21213"/>
                    <a:pt x="6193" y="21299"/>
                    <a:pt x="6184" y="21385"/>
                  </a:cubicBezTo>
                  <a:lnTo>
                    <a:pt x="6184" y="21385"/>
                  </a:lnTo>
                  <a:lnTo>
                    <a:pt x="6184" y="21505"/>
                  </a:lnTo>
                  <a:lnTo>
                    <a:pt x="6184" y="21505"/>
                  </a:lnTo>
                  <a:cubicBezTo>
                    <a:pt x="6184" y="21591"/>
                    <a:pt x="6184" y="21505"/>
                    <a:pt x="6184" y="21505"/>
                  </a:cubicBezTo>
                  <a:lnTo>
                    <a:pt x="6184" y="21505"/>
                  </a:lnTo>
                  <a:cubicBezTo>
                    <a:pt x="6184" y="21505"/>
                    <a:pt x="6184" y="21505"/>
                    <a:pt x="6184" y="21505"/>
                  </a:cubicBezTo>
                  <a:lnTo>
                    <a:pt x="6184" y="21505"/>
                  </a:lnTo>
                  <a:cubicBezTo>
                    <a:pt x="6184" y="21505"/>
                    <a:pt x="6184" y="21608"/>
                    <a:pt x="6184" y="21608"/>
                  </a:cubicBezTo>
                  <a:lnTo>
                    <a:pt x="6184" y="21608"/>
                  </a:lnTo>
                  <a:cubicBezTo>
                    <a:pt x="6085" y="21918"/>
                    <a:pt x="6005" y="22233"/>
                    <a:pt x="5943" y="22553"/>
                  </a:cubicBezTo>
                  <a:cubicBezTo>
                    <a:pt x="5943" y="22553"/>
                    <a:pt x="5943" y="22433"/>
                    <a:pt x="5943" y="22398"/>
                  </a:cubicBezTo>
                  <a:cubicBezTo>
                    <a:pt x="5943" y="22364"/>
                    <a:pt x="5840" y="22862"/>
                    <a:pt x="5943" y="22621"/>
                  </a:cubicBezTo>
                  <a:cubicBezTo>
                    <a:pt x="5838" y="23115"/>
                    <a:pt x="5758" y="23614"/>
                    <a:pt x="5703" y="24116"/>
                  </a:cubicBezTo>
                  <a:cubicBezTo>
                    <a:pt x="5668" y="24579"/>
                    <a:pt x="5668" y="25044"/>
                    <a:pt x="5703" y="25507"/>
                  </a:cubicBezTo>
                  <a:cubicBezTo>
                    <a:pt x="5703" y="25507"/>
                    <a:pt x="5703" y="25507"/>
                    <a:pt x="5703" y="25507"/>
                  </a:cubicBezTo>
                  <a:cubicBezTo>
                    <a:pt x="5709" y="25479"/>
                    <a:pt x="5709" y="25449"/>
                    <a:pt x="5703" y="25421"/>
                  </a:cubicBezTo>
                  <a:lnTo>
                    <a:pt x="5703" y="25421"/>
                  </a:lnTo>
                  <a:cubicBezTo>
                    <a:pt x="5703" y="25421"/>
                    <a:pt x="5703" y="25421"/>
                    <a:pt x="5703" y="25421"/>
                  </a:cubicBezTo>
                  <a:lnTo>
                    <a:pt x="5703" y="25421"/>
                  </a:lnTo>
                  <a:cubicBezTo>
                    <a:pt x="5703" y="25421"/>
                    <a:pt x="5703" y="25559"/>
                    <a:pt x="5703" y="25627"/>
                  </a:cubicBezTo>
                  <a:lnTo>
                    <a:pt x="5703" y="25627"/>
                  </a:lnTo>
                  <a:lnTo>
                    <a:pt x="5703" y="25627"/>
                  </a:lnTo>
                  <a:cubicBezTo>
                    <a:pt x="5711" y="25553"/>
                    <a:pt x="5711" y="25478"/>
                    <a:pt x="5703" y="25404"/>
                  </a:cubicBezTo>
                  <a:lnTo>
                    <a:pt x="5703" y="25404"/>
                  </a:lnTo>
                  <a:cubicBezTo>
                    <a:pt x="5857" y="25249"/>
                    <a:pt x="5703" y="24511"/>
                    <a:pt x="5995" y="24665"/>
                  </a:cubicBezTo>
                  <a:cubicBezTo>
                    <a:pt x="5995" y="24665"/>
                    <a:pt x="5995" y="24562"/>
                    <a:pt x="5995" y="24665"/>
                  </a:cubicBezTo>
                  <a:cubicBezTo>
                    <a:pt x="5995" y="24769"/>
                    <a:pt x="5995" y="24665"/>
                    <a:pt x="5995" y="24665"/>
                  </a:cubicBezTo>
                  <a:cubicBezTo>
                    <a:pt x="5995" y="24665"/>
                    <a:pt x="5995" y="24820"/>
                    <a:pt x="5995" y="24665"/>
                  </a:cubicBezTo>
                  <a:cubicBezTo>
                    <a:pt x="6098" y="24957"/>
                    <a:pt x="5806" y="25284"/>
                    <a:pt x="5857" y="25593"/>
                  </a:cubicBezTo>
                  <a:cubicBezTo>
                    <a:pt x="5857" y="25593"/>
                    <a:pt x="5857" y="25868"/>
                    <a:pt x="5857" y="25919"/>
                  </a:cubicBezTo>
                  <a:cubicBezTo>
                    <a:pt x="5814" y="26294"/>
                    <a:pt x="5476" y="26563"/>
                    <a:pt x="5101" y="26521"/>
                  </a:cubicBezTo>
                  <a:cubicBezTo>
                    <a:pt x="4727" y="26478"/>
                    <a:pt x="4457" y="26140"/>
                    <a:pt x="4500" y="25765"/>
                  </a:cubicBezTo>
                  <a:cubicBezTo>
                    <a:pt x="4500" y="25954"/>
                    <a:pt x="4500" y="26349"/>
                    <a:pt x="4397" y="26658"/>
                  </a:cubicBezTo>
                  <a:lnTo>
                    <a:pt x="4397" y="26658"/>
                  </a:lnTo>
                  <a:cubicBezTo>
                    <a:pt x="4380" y="26726"/>
                    <a:pt x="4380" y="26796"/>
                    <a:pt x="4397" y="26864"/>
                  </a:cubicBezTo>
                  <a:lnTo>
                    <a:pt x="4397" y="26864"/>
                  </a:lnTo>
                  <a:cubicBezTo>
                    <a:pt x="4397" y="26864"/>
                    <a:pt x="4397" y="26864"/>
                    <a:pt x="4397" y="26950"/>
                  </a:cubicBezTo>
                  <a:cubicBezTo>
                    <a:pt x="4397" y="27036"/>
                    <a:pt x="4603" y="27139"/>
                    <a:pt x="4586" y="26950"/>
                  </a:cubicBezTo>
                  <a:cubicBezTo>
                    <a:pt x="4586" y="27053"/>
                    <a:pt x="4586" y="27105"/>
                    <a:pt x="4724" y="27190"/>
                  </a:cubicBezTo>
                  <a:lnTo>
                    <a:pt x="4724" y="27190"/>
                  </a:lnTo>
                  <a:cubicBezTo>
                    <a:pt x="4738" y="27241"/>
                    <a:pt x="4738" y="27295"/>
                    <a:pt x="4724" y="27345"/>
                  </a:cubicBezTo>
                  <a:cubicBezTo>
                    <a:pt x="4724" y="27208"/>
                    <a:pt x="4724" y="27345"/>
                    <a:pt x="4724" y="27448"/>
                  </a:cubicBezTo>
                  <a:lnTo>
                    <a:pt x="4724" y="27448"/>
                  </a:lnTo>
                  <a:cubicBezTo>
                    <a:pt x="4767" y="27681"/>
                    <a:pt x="4767" y="27920"/>
                    <a:pt x="4724" y="28152"/>
                  </a:cubicBezTo>
                  <a:lnTo>
                    <a:pt x="4724" y="28152"/>
                  </a:lnTo>
                  <a:cubicBezTo>
                    <a:pt x="4732" y="28307"/>
                    <a:pt x="4732" y="28462"/>
                    <a:pt x="4724" y="28616"/>
                  </a:cubicBezTo>
                  <a:cubicBezTo>
                    <a:pt x="4724" y="28616"/>
                    <a:pt x="4724" y="28513"/>
                    <a:pt x="4724" y="28444"/>
                  </a:cubicBezTo>
                  <a:cubicBezTo>
                    <a:pt x="4715" y="28564"/>
                    <a:pt x="4715" y="28685"/>
                    <a:pt x="4724" y="28805"/>
                  </a:cubicBezTo>
                  <a:cubicBezTo>
                    <a:pt x="4734" y="28777"/>
                    <a:pt x="4734" y="28747"/>
                    <a:pt x="4724" y="28719"/>
                  </a:cubicBezTo>
                  <a:cubicBezTo>
                    <a:pt x="4697" y="28861"/>
                    <a:pt x="4697" y="29007"/>
                    <a:pt x="4724" y="29149"/>
                  </a:cubicBezTo>
                  <a:cubicBezTo>
                    <a:pt x="4724" y="29063"/>
                    <a:pt x="4947" y="30042"/>
                    <a:pt x="4930" y="29733"/>
                  </a:cubicBezTo>
                  <a:cubicBezTo>
                    <a:pt x="5136" y="30265"/>
                    <a:pt x="5170" y="29131"/>
                    <a:pt x="5634" y="30471"/>
                  </a:cubicBezTo>
                  <a:cubicBezTo>
                    <a:pt x="5634" y="30368"/>
                    <a:pt x="5634" y="29337"/>
                    <a:pt x="5960" y="29595"/>
                  </a:cubicBezTo>
                  <a:cubicBezTo>
                    <a:pt x="5960" y="29818"/>
                    <a:pt x="5960" y="29595"/>
                    <a:pt x="5960" y="29475"/>
                  </a:cubicBezTo>
                  <a:cubicBezTo>
                    <a:pt x="5960" y="29355"/>
                    <a:pt x="6252" y="29303"/>
                    <a:pt x="6355" y="29234"/>
                  </a:cubicBezTo>
                  <a:cubicBezTo>
                    <a:pt x="6476" y="29458"/>
                    <a:pt x="6355" y="29836"/>
                    <a:pt x="6355" y="30145"/>
                  </a:cubicBezTo>
                  <a:cubicBezTo>
                    <a:pt x="6630" y="30901"/>
                    <a:pt x="6355" y="29681"/>
                    <a:pt x="6665" y="29664"/>
                  </a:cubicBezTo>
                  <a:cubicBezTo>
                    <a:pt x="6974" y="29647"/>
                    <a:pt x="6527" y="29544"/>
                    <a:pt x="6665" y="29441"/>
                  </a:cubicBezTo>
                  <a:cubicBezTo>
                    <a:pt x="6802" y="29337"/>
                    <a:pt x="6665" y="29664"/>
                    <a:pt x="6785" y="29733"/>
                  </a:cubicBezTo>
                  <a:cubicBezTo>
                    <a:pt x="6933" y="29741"/>
                    <a:pt x="7051" y="29859"/>
                    <a:pt x="7060" y="30007"/>
                  </a:cubicBezTo>
                  <a:cubicBezTo>
                    <a:pt x="6939" y="30213"/>
                    <a:pt x="7352" y="30145"/>
                    <a:pt x="7472" y="30196"/>
                  </a:cubicBezTo>
                  <a:cubicBezTo>
                    <a:pt x="7558" y="30660"/>
                    <a:pt x="8090" y="30042"/>
                    <a:pt x="8262" y="30402"/>
                  </a:cubicBezTo>
                  <a:cubicBezTo>
                    <a:pt x="8004" y="30402"/>
                    <a:pt x="8073" y="30402"/>
                    <a:pt x="8262" y="30643"/>
                  </a:cubicBezTo>
                  <a:cubicBezTo>
                    <a:pt x="8262" y="30471"/>
                    <a:pt x="8863" y="31107"/>
                    <a:pt x="8434" y="31107"/>
                  </a:cubicBezTo>
                  <a:cubicBezTo>
                    <a:pt x="8885" y="31152"/>
                    <a:pt x="9220" y="31547"/>
                    <a:pt x="9189" y="32000"/>
                  </a:cubicBezTo>
                  <a:cubicBezTo>
                    <a:pt x="9189" y="31673"/>
                    <a:pt x="9550" y="32154"/>
                    <a:pt x="9550" y="32309"/>
                  </a:cubicBezTo>
                  <a:cubicBezTo>
                    <a:pt x="9464" y="32103"/>
                    <a:pt x="10461" y="32309"/>
                    <a:pt x="10220" y="32532"/>
                  </a:cubicBezTo>
                  <a:cubicBezTo>
                    <a:pt x="10443" y="32361"/>
                    <a:pt x="10976" y="33030"/>
                    <a:pt x="10856" y="33151"/>
                  </a:cubicBezTo>
                  <a:cubicBezTo>
                    <a:pt x="11010" y="32893"/>
                    <a:pt x="11130" y="33735"/>
                    <a:pt x="11302" y="33924"/>
                  </a:cubicBezTo>
                  <a:cubicBezTo>
                    <a:pt x="11474" y="34113"/>
                    <a:pt x="10976" y="34559"/>
                    <a:pt x="11045" y="34868"/>
                  </a:cubicBezTo>
                  <a:cubicBezTo>
                    <a:pt x="11045" y="34611"/>
                    <a:pt x="11233" y="34628"/>
                    <a:pt x="11148" y="34868"/>
                  </a:cubicBezTo>
                  <a:cubicBezTo>
                    <a:pt x="11148" y="34868"/>
                    <a:pt x="11268" y="34559"/>
                    <a:pt x="11337" y="34731"/>
                  </a:cubicBezTo>
                  <a:cubicBezTo>
                    <a:pt x="11405" y="34903"/>
                    <a:pt x="11337" y="34731"/>
                    <a:pt x="11337" y="34731"/>
                  </a:cubicBezTo>
                  <a:cubicBezTo>
                    <a:pt x="11337" y="34216"/>
                    <a:pt x="12401" y="35143"/>
                    <a:pt x="11337" y="35092"/>
                  </a:cubicBezTo>
                  <a:cubicBezTo>
                    <a:pt x="11749" y="35092"/>
                    <a:pt x="11543" y="35315"/>
                    <a:pt x="11680" y="35624"/>
                  </a:cubicBezTo>
                  <a:cubicBezTo>
                    <a:pt x="11543" y="35074"/>
                    <a:pt x="12075" y="34576"/>
                    <a:pt x="12419" y="35074"/>
                  </a:cubicBezTo>
                  <a:cubicBezTo>
                    <a:pt x="12419" y="35074"/>
                    <a:pt x="12608" y="35177"/>
                    <a:pt x="12642" y="35263"/>
                  </a:cubicBezTo>
                  <a:cubicBezTo>
                    <a:pt x="12676" y="35349"/>
                    <a:pt x="12986" y="35366"/>
                    <a:pt x="12882" y="35469"/>
                  </a:cubicBezTo>
                  <a:cubicBezTo>
                    <a:pt x="12779" y="35573"/>
                    <a:pt x="12882" y="35727"/>
                    <a:pt x="12968" y="35830"/>
                  </a:cubicBezTo>
                  <a:cubicBezTo>
                    <a:pt x="13054" y="35933"/>
                    <a:pt x="12968" y="35487"/>
                    <a:pt x="12968" y="35710"/>
                  </a:cubicBezTo>
                  <a:cubicBezTo>
                    <a:pt x="12968" y="35555"/>
                    <a:pt x="13106" y="35607"/>
                    <a:pt x="12968" y="35504"/>
                  </a:cubicBezTo>
                  <a:cubicBezTo>
                    <a:pt x="12831" y="35401"/>
                    <a:pt x="13363" y="35761"/>
                    <a:pt x="13363" y="35641"/>
                  </a:cubicBezTo>
                  <a:cubicBezTo>
                    <a:pt x="13363" y="35521"/>
                    <a:pt x="13363" y="35641"/>
                    <a:pt x="13466" y="35744"/>
                  </a:cubicBezTo>
                  <a:cubicBezTo>
                    <a:pt x="13569" y="35847"/>
                    <a:pt x="13466" y="35744"/>
                    <a:pt x="13466" y="35744"/>
                  </a:cubicBezTo>
                  <a:lnTo>
                    <a:pt x="13466" y="35744"/>
                  </a:lnTo>
                  <a:lnTo>
                    <a:pt x="13466" y="35744"/>
                  </a:lnTo>
                  <a:cubicBezTo>
                    <a:pt x="14841" y="36157"/>
                    <a:pt x="16438" y="37462"/>
                    <a:pt x="14926" y="38922"/>
                  </a:cubicBezTo>
                  <a:cubicBezTo>
                    <a:pt x="14926" y="38836"/>
                    <a:pt x="14926" y="38682"/>
                    <a:pt x="14926" y="38819"/>
                  </a:cubicBezTo>
                  <a:cubicBezTo>
                    <a:pt x="14926" y="38956"/>
                    <a:pt x="14823" y="38819"/>
                    <a:pt x="14806" y="38819"/>
                  </a:cubicBezTo>
                  <a:lnTo>
                    <a:pt x="14806" y="38819"/>
                  </a:lnTo>
                  <a:cubicBezTo>
                    <a:pt x="15133" y="39386"/>
                    <a:pt x="15717" y="41619"/>
                    <a:pt x="14806" y="41447"/>
                  </a:cubicBezTo>
                  <a:cubicBezTo>
                    <a:pt x="14806" y="41447"/>
                    <a:pt x="14514" y="41447"/>
                    <a:pt x="14806" y="41447"/>
                  </a:cubicBezTo>
                  <a:cubicBezTo>
                    <a:pt x="15098" y="41447"/>
                    <a:pt x="14652" y="41447"/>
                    <a:pt x="14600" y="41447"/>
                  </a:cubicBezTo>
                  <a:cubicBezTo>
                    <a:pt x="14549" y="41447"/>
                    <a:pt x="14600" y="41533"/>
                    <a:pt x="14600" y="41687"/>
                  </a:cubicBezTo>
                  <a:cubicBezTo>
                    <a:pt x="14360" y="41498"/>
                    <a:pt x="14257" y="41997"/>
                    <a:pt x="14154" y="41962"/>
                  </a:cubicBezTo>
                  <a:cubicBezTo>
                    <a:pt x="14050" y="41928"/>
                    <a:pt x="14154" y="41962"/>
                    <a:pt x="14154" y="41962"/>
                  </a:cubicBezTo>
                  <a:cubicBezTo>
                    <a:pt x="14154" y="41962"/>
                    <a:pt x="14291" y="42048"/>
                    <a:pt x="14154" y="42048"/>
                  </a:cubicBezTo>
                  <a:cubicBezTo>
                    <a:pt x="14016" y="42048"/>
                    <a:pt x="14154" y="42048"/>
                    <a:pt x="14154" y="42048"/>
                  </a:cubicBezTo>
                  <a:cubicBezTo>
                    <a:pt x="14154" y="42048"/>
                    <a:pt x="14446" y="42426"/>
                    <a:pt x="14411" y="42529"/>
                  </a:cubicBezTo>
                  <a:cubicBezTo>
                    <a:pt x="14377" y="42632"/>
                    <a:pt x="14411" y="43697"/>
                    <a:pt x="14411" y="43336"/>
                  </a:cubicBezTo>
                  <a:cubicBezTo>
                    <a:pt x="14411" y="43336"/>
                    <a:pt x="14411" y="43336"/>
                    <a:pt x="14411" y="43250"/>
                  </a:cubicBezTo>
                  <a:cubicBezTo>
                    <a:pt x="14411" y="43165"/>
                    <a:pt x="14411" y="43113"/>
                    <a:pt x="14411" y="43113"/>
                  </a:cubicBezTo>
                  <a:cubicBezTo>
                    <a:pt x="14338" y="43042"/>
                    <a:pt x="14257" y="42979"/>
                    <a:pt x="14171" y="42924"/>
                  </a:cubicBezTo>
                  <a:cubicBezTo>
                    <a:pt x="14231" y="42979"/>
                    <a:pt x="14283" y="43043"/>
                    <a:pt x="14325" y="43113"/>
                  </a:cubicBezTo>
                  <a:cubicBezTo>
                    <a:pt x="14325" y="43113"/>
                    <a:pt x="14446" y="43354"/>
                    <a:pt x="14325" y="43250"/>
                  </a:cubicBezTo>
                  <a:cubicBezTo>
                    <a:pt x="14858" y="44041"/>
                    <a:pt x="14325" y="44264"/>
                    <a:pt x="13844" y="43817"/>
                  </a:cubicBezTo>
                  <a:lnTo>
                    <a:pt x="14549" y="44418"/>
                  </a:lnTo>
                  <a:lnTo>
                    <a:pt x="14549" y="44418"/>
                  </a:lnTo>
                  <a:cubicBezTo>
                    <a:pt x="14637" y="44494"/>
                    <a:pt x="14707" y="44587"/>
                    <a:pt x="14755" y="44693"/>
                  </a:cubicBezTo>
                  <a:lnTo>
                    <a:pt x="14755" y="44693"/>
                  </a:lnTo>
                  <a:cubicBezTo>
                    <a:pt x="14755" y="44693"/>
                    <a:pt x="14944" y="44951"/>
                    <a:pt x="14755" y="44882"/>
                  </a:cubicBezTo>
                  <a:cubicBezTo>
                    <a:pt x="14566" y="44814"/>
                    <a:pt x="14394" y="44882"/>
                    <a:pt x="14291" y="44882"/>
                  </a:cubicBezTo>
                  <a:cubicBezTo>
                    <a:pt x="14188" y="44882"/>
                    <a:pt x="14480" y="45037"/>
                    <a:pt x="14566" y="45123"/>
                  </a:cubicBezTo>
                  <a:lnTo>
                    <a:pt x="14566" y="45123"/>
                  </a:lnTo>
                  <a:cubicBezTo>
                    <a:pt x="14909" y="45466"/>
                    <a:pt x="14995" y="45569"/>
                    <a:pt x="14463" y="45294"/>
                  </a:cubicBezTo>
                  <a:cubicBezTo>
                    <a:pt x="14621" y="45462"/>
                    <a:pt x="14807" y="45602"/>
                    <a:pt x="15012" y="45707"/>
                  </a:cubicBezTo>
                  <a:cubicBezTo>
                    <a:pt x="15012" y="45707"/>
                    <a:pt x="15012" y="45707"/>
                    <a:pt x="15012" y="45707"/>
                  </a:cubicBezTo>
                  <a:lnTo>
                    <a:pt x="15012" y="45707"/>
                  </a:lnTo>
                  <a:cubicBezTo>
                    <a:pt x="15304" y="45930"/>
                    <a:pt x="15133" y="45947"/>
                    <a:pt x="15717" y="46359"/>
                  </a:cubicBezTo>
                  <a:lnTo>
                    <a:pt x="15717" y="46359"/>
                  </a:lnTo>
                  <a:lnTo>
                    <a:pt x="15717" y="46359"/>
                  </a:lnTo>
                  <a:lnTo>
                    <a:pt x="15717" y="46359"/>
                  </a:lnTo>
                  <a:cubicBezTo>
                    <a:pt x="15991" y="46669"/>
                    <a:pt x="16438" y="46737"/>
                    <a:pt x="16730" y="47012"/>
                  </a:cubicBezTo>
                  <a:lnTo>
                    <a:pt x="16730" y="47012"/>
                  </a:lnTo>
                  <a:lnTo>
                    <a:pt x="16730" y="47012"/>
                  </a:lnTo>
                  <a:lnTo>
                    <a:pt x="16730" y="47012"/>
                  </a:lnTo>
                  <a:lnTo>
                    <a:pt x="16885" y="47132"/>
                  </a:lnTo>
                  <a:lnTo>
                    <a:pt x="16885" y="47132"/>
                  </a:lnTo>
                  <a:lnTo>
                    <a:pt x="17091" y="47270"/>
                  </a:lnTo>
                  <a:cubicBezTo>
                    <a:pt x="17091" y="47270"/>
                    <a:pt x="17091" y="47270"/>
                    <a:pt x="16988" y="47270"/>
                  </a:cubicBezTo>
                  <a:cubicBezTo>
                    <a:pt x="17278" y="47454"/>
                    <a:pt x="17582" y="47614"/>
                    <a:pt x="17898" y="47751"/>
                  </a:cubicBezTo>
                  <a:lnTo>
                    <a:pt x="17898" y="47751"/>
                  </a:lnTo>
                  <a:cubicBezTo>
                    <a:pt x="17795" y="47751"/>
                    <a:pt x="17898" y="47751"/>
                    <a:pt x="17898" y="47751"/>
                  </a:cubicBezTo>
                  <a:lnTo>
                    <a:pt x="17898" y="47751"/>
                  </a:lnTo>
                  <a:cubicBezTo>
                    <a:pt x="18059" y="47847"/>
                    <a:pt x="18225" y="47933"/>
                    <a:pt x="18396" y="48008"/>
                  </a:cubicBezTo>
                  <a:lnTo>
                    <a:pt x="18173" y="48008"/>
                  </a:lnTo>
                  <a:close/>
                  <a:moveTo>
                    <a:pt x="20560" y="10117"/>
                  </a:moveTo>
                  <a:cubicBezTo>
                    <a:pt x="20286" y="10409"/>
                    <a:pt x="20560" y="10014"/>
                    <a:pt x="20560" y="9980"/>
                  </a:cubicBezTo>
                  <a:cubicBezTo>
                    <a:pt x="20560" y="9945"/>
                    <a:pt x="20423" y="10134"/>
                    <a:pt x="20286" y="10323"/>
                  </a:cubicBezTo>
                  <a:cubicBezTo>
                    <a:pt x="19822" y="10083"/>
                    <a:pt x="19581" y="10976"/>
                    <a:pt x="19289" y="10907"/>
                  </a:cubicBezTo>
                  <a:cubicBezTo>
                    <a:pt x="19530" y="11165"/>
                    <a:pt x="19100" y="10907"/>
                    <a:pt x="19152" y="11165"/>
                  </a:cubicBezTo>
                  <a:cubicBezTo>
                    <a:pt x="19014" y="10959"/>
                    <a:pt x="19152" y="11165"/>
                    <a:pt x="19152" y="11165"/>
                  </a:cubicBezTo>
                  <a:cubicBezTo>
                    <a:pt x="19152" y="10907"/>
                    <a:pt x="19152" y="11457"/>
                    <a:pt x="18997" y="11165"/>
                  </a:cubicBezTo>
                  <a:cubicBezTo>
                    <a:pt x="18688" y="11165"/>
                    <a:pt x="18997" y="11577"/>
                    <a:pt x="18585" y="11577"/>
                  </a:cubicBezTo>
                  <a:cubicBezTo>
                    <a:pt x="18585" y="11577"/>
                    <a:pt x="18327" y="12024"/>
                    <a:pt x="18259" y="11903"/>
                  </a:cubicBezTo>
                  <a:cubicBezTo>
                    <a:pt x="18190" y="11783"/>
                    <a:pt x="17846" y="12453"/>
                    <a:pt x="18001" y="12109"/>
                  </a:cubicBezTo>
                  <a:cubicBezTo>
                    <a:pt x="17537" y="12401"/>
                    <a:pt x="18104" y="11938"/>
                    <a:pt x="17743" y="12006"/>
                  </a:cubicBezTo>
                  <a:cubicBezTo>
                    <a:pt x="18173" y="11680"/>
                    <a:pt x="18070" y="11749"/>
                    <a:pt x="17503" y="11783"/>
                  </a:cubicBezTo>
                  <a:cubicBezTo>
                    <a:pt x="17588" y="11313"/>
                    <a:pt x="17763" y="10864"/>
                    <a:pt x="18018" y="10461"/>
                  </a:cubicBezTo>
                  <a:cubicBezTo>
                    <a:pt x="18018" y="10220"/>
                    <a:pt x="18224" y="10461"/>
                    <a:pt x="18448" y="10134"/>
                  </a:cubicBezTo>
                  <a:cubicBezTo>
                    <a:pt x="17984" y="10306"/>
                    <a:pt x="17984" y="10134"/>
                    <a:pt x="18448" y="9739"/>
                  </a:cubicBezTo>
                  <a:cubicBezTo>
                    <a:pt x="18345" y="9739"/>
                    <a:pt x="18207" y="9739"/>
                    <a:pt x="18345" y="9739"/>
                  </a:cubicBezTo>
                  <a:cubicBezTo>
                    <a:pt x="18482" y="9739"/>
                    <a:pt x="18345" y="9636"/>
                    <a:pt x="18963" y="9344"/>
                  </a:cubicBezTo>
                  <a:cubicBezTo>
                    <a:pt x="17709" y="9808"/>
                    <a:pt x="19392" y="8966"/>
                    <a:pt x="18774" y="9104"/>
                  </a:cubicBezTo>
                  <a:cubicBezTo>
                    <a:pt x="19272" y="8657"/>
                    <a:pt x="19152" y="9293"/>
                    <a:pt x="19324" y="9104"/>
                  </a:cubicBezTo>
                  <a:cubicBezTo>
                    <a:pt x="18997" y="9104"/>
                    <a:pt x="19667" y="8863"/>
                    <a:pt x="19324" y="8966"/>
                  </a:cubicBezTo>
                  <a:cubicBezTo>
                    <a:pt x="19444" y="8846"/>
                    <a:pt x="19169" y="8966"/>
                    <a:pt x="18946" y="8966"/>
                  </a:cubicBezTo>
                  <a:cubicBezTo>
                    <a:pt x="19427" y="8537"/>
                    <a:pt x="19238" y="9086"/>
                    <a:pt x="19598" y="8674"/>
                  </a:cubicBezTo>
                  <a:cubicBezTo>
                    <a:pt x="19289" y="8846"/>
                    <a:pt x="19341" y="8554"/>
                    <a:pt x="19598" y="8674"/>
                  </a:cubicBezTo>
                  <a:cubicBezTo>
                    <a:pt x="19808" y="8533"/>
                    <a:pt x="20004" y="8372"/>
                    <a:pt x="20182" y="8193"/>
                  </a:cubicBezTo>
                  <a:cubicBezTo>
                    <a:pt x="19994" y="8193"/>
                    <a:pt x="20182" y="7266"/>
                    <a:pt x="20354" y="7953"/>
                  </a:cubicBezTo>
                  <a:cubicBezTo>
                    <a:pt x="20354" y="7953"/>
                    <a:pt x="20509" y="7712"/>
                    <a:pt x="20560" y="7764"/>
                  </a:cubicBezTo>
                  <a:cubicBezTo>
                    <a:pt x="20612" y="7815"/>
                    <a:pt x="21144" y="6991"/>
                    <a:pt x="20681" y="7386"/>
                  </a:cubicBezTo>
                  <a:cubicBezTo>
                    <a:pt x="20217" y="7781"/>
                    <a:pt x="21162" y="6922"/>
                    <a:pt x="21746" y="6338"/>
                  </a:cubicBezTo>
                  <a:cubicBezTo>
                    <a:pt x="23154" y="5256"/>
                    <a:pt x="21746" y="5497"/>
                    <a:pt x="22914" y="4981"/>
                  </a:cubicBezTo>
                  <a:cubicBezTo>
                    <a:pt x="23085" y="4981"/>
                    <a:pt x="23206" y="5067"/>
                    <a:pt x="23326" y="4844"/>
                  </a:cubicBezTo>
                  <a:cubicBezTo>
                    <a:pt x="26332" y="3556"/>
                    <a:pt x="25576" y="4260"/>
                    <a:pt x="26761" y="3693"/>
                  </a:cubicBezTo>
                  <a:cubicBezTo>
                    <a:pt x="26418" y="3882"/>
                    <a:pt x="26761" y="3693"/>
                    <a:pt x="26881" y="3693"/>
                  </a:cubicBezTo>
                  <a:cubicBezTo>
                    <a:pt x="26503" y="3951"/>
                    <a:pt x="26710" y="3693"/>
                    <a:pt x="26607" y="3951"/>
                  </a:cubicBezTo>
                  <a:cubicBezTo>
                    <a:pt x="26761" y="4140"/>
                    <a:pt x="25765" y="4243"/>
                    <a:pt x="26211" y="4208"/>
                  </a:cubicBezTo>
                  <a:cubicBezTo>
                    <a:pt x="26658" y="4174"/>
                    <a:pt x="26057" y="4346"/>
                    <a:pt x="26211" y="4329"/>
                  </a:cubicBezTo>
                  <a:cubicBezTo>
                    <a:pt x="26555" y="4054"/>
                    <a:pt x="26211" y="4483"/>
                    <a:pt x="26074" y="4500"/>
                  </a:cubicBezTo>
                  <a:cubicBezTo>
                    <a:pt x="25284" y="5119"/>
                    <a:pt x="27036" y="3744"/>
                    <a:pt x="26383" y="4621"/>
                  </a:cubicBezTo>
                  <a:cubicBezTo>
                    <a:pt x="26108" y="4844"/>
                    <a:pt x="25816" y="4861"/>
                    <a:pt x="26057" y="4947"/>
                  </a:cubicBezTo>
                  <a:cubicBezTo>
                    <a:pt x="25672" y="5283"/>
                    <a:pt x="25406" y="5735"/>
                    <a:pt x="25301" y="6235"/>
                  </a:cubicBezTo>
                  <a:cubicBezTo>
                    <a:pt x="25198" y="5874"/>
                    <a:pt x="24751" y="6424"/>
                    <a:pt x="25112" y="6373"/>
                  </a:cubicBezTo>
                  <a:cubicBezTo>
                    <a:pt x="24837" y="6596"/>
                    <a:pt x="25112" y="6373"/>
                    <a:pt x="25009" y="6596"/>
                  </a:cubicBezTo>
                  <a:cubicBezTo>
                    <a:pt x="24906" y="6819"/>
                    <a:pt x="24837" y="6596"/>
                    <a:pt x="24751" y="6596"/>
                  </a:cubicBezTo>
                  <a:cubicBezTo>
                    <a:pt x="24666" y="6596"/>
                    <a:pt x="24751" y="6957"/>
                    <a:pt x="24751" y="6768"/>
                  </a:cubicBezTo>
                  <a:cubicBezTo>
                    <a:pt x="24751" y="6871"/>
                    <a:pt x="25061" y="7128"/>
                    <a:pt x="24751" y="7180"/>
                  </a:cubicBezTo>
                  <a:cubicBezTo>
                    <a:pt x="24271" y="6750"/>
                    <a:pt x="24751" y="7575"/>
                    <a:pt x="24442" y="7489"/>
                  </a:cubicBezTo>
                  <a:cubicBezTo>
                    <a:pt x="23961" y="7729"/>
                    <a:pt x="24442" y="7060"/>
                    <a:pt x="24133" y="7489"/>
                  </a:cubicBezTo>
                  <a:cubicBezTo>
                    <a:pt x="24133" y="7283"/>
                    <a:pt x="23807" y="7609"/>
                    <a:pt x="23738" y="7626"/>
                  </a:cubicBezTo>
                  <a:cubicBezTo>
                    <a:pt x="24150" y="7626"/>
                    <a:pt x="23738" y="7764"/>
                    <a:pt x="23738" y="7781"/>
                  </a:cubicBezTo>
                  <a:cubicBezTo>
                    <a:pt x="24236" y="7781"/>
                    <a:pt x="23738" y="7918"/>
                    <a:pt x="23824" y="7987"/>
                  </a:cubicBezTo>
                  <a:cubicBezTo>
                    <a:pt x="24442" y="8090"/>
                    <a:pt x="23515" y="9705"/>
                    <a:pt x="23583" y="8262"/>
                  </a:cubicBezTo>
                  <a:cubicBezTo>
                    <a:pt x="23034" y="7901"/>
                    <a:pt x="23978" y="8657"/>
                    <a:pt x="23137" y="8520"/>
                  </a:cubicBezTo>
                  <a:cubicBezTo>
                    <a:pt x="23291" y="8640"/>
                    <a:pt x="22673" y="8777"/>
                    <a:pt x="22931" y="8726"/>
                  </a:cubicBezTo>
                  <a:cubicBezTo>
                    <a:pt x="23188" y="8674"/>
                    <a:pt x="23326" y="8915"/>
                    <a:pt x="22931" y="8846"/>
                  </a:cubicBezTo>
                  <a:cubicBezTo>
                    <a:pt x="22536" y="8777"/>
                    <a:pt x="24082" y="8846"/>
                    <a:pt x="23446" y="9121"/>
                  </a:cubicBezTo>
                  <a:cubicBezTo>
                    <a:pt x="23446" y="9121"/>
                    <a:pt x="23171" y="9327"/>
                    <a:pt x="23137" y="9275"/>
                  </a:cubicBezTo>
                  <a:cubicBezTo>
                    <a:pt x="23103" y="9224"/>
                    <a:pt x="21866" y="9859"/>
                    <a:pt x="21952" y="9396"/>
                  </a:cubicBezTo>
                  <a:cubicBezTo>
                    <a:pt x="22038" y="8932"/>
                    <a:pt x="21952" y="9636"/>
                    <a:pt x="21831" y="9653"/>
                  </a:cubicBezTo>
                  <a:cubicBezTo>
                    <a:pt x="21385" y="9688"/>
                    <a:pt x="20612" y="10529"/>
                    <a:pt x="20560" y="10117"/>
                  </a:cubicBezTo>
                  <a:close/>
                  <a:moveTo>
                    <a:pt x="23669" y="11440"/>
                  </a:moveTo>
                  <a:cubicBezTo>
                    <a:pt x="23669" y="11577"/>
                    <a:pt x="23463" y="11543"/>
                    <a:pt x="23412" y="11440"/>
                  </a:cubicBezTo>
                  <a:cubicBezTo>
                    <a:pt x="23360" y="11337"/>
                    <a:pt x="23223" y="11440"/>
                    <a:pt x="23274" y="11319"/>
                  </a:cubicBezTo>
                  <a:cubicBezTo>
                    <a:pt x="23326" y="11199"/>
                    <a:pt x="23188" y="11319"/>
                    <a:pt x="23274" y="11319"/>
                  </a:cubicBezTo>
                  <a:cubicBezTo>
                    <a:pt x="23173" y="11345"/>
                    <a:pt x="23067" y="11345"/>
                    <a:pt x="22965" y="11319"/>
                  </a:cubicBezTo>
                  <a:cubicBezTo>
                    <a:pt x="22965" y="11319"/>
                    <a:pt x="22965" y="11319"/>
                    <a:pt x="22965" y="11319"/>
                  </a:cubicBezTo>
                  <a:cubicBezTo>
                    <a:pt x="22965" y="11319"/>
                    <a:pt x="22965" y="11319"/>
                    <a:pt x="22965" y="11233"/>
                  </a:cubicBezTo>
                  <a:cubicBezTo>
                    <a:pt x="22965" y="11148"/>
                    <a:pt x="22965" y="11233"/>
                    <a:pt x="22965" y="11233"/>
                  </a:cubicBezTo>
                  <a:cubicBezTo>
                    <a:pt x="22965" y="11233"/>
                    <a:pt x="23120" y="11096"/>
                    <a:pt x="23206" y="11148"/>
                  </a:cubicBezTo>
                  <a:cubicBezTo>
                    <a:pt x="23291" y="11199"/>
                    <a:pt x="22948" y="11251"/>
                    <a:pt x="23206" y="11027"/>
                  </a:cubicBezTo>
                  <a:cubicBezTo>
                    <a:pt x="23206" y="11113"/>
                    <a:pt x="23051" y="11027"/>
                    <a:pt x="23206" y="10941"/>
                  </a:cubicBezTo>
                  <a:cubicBezTo>
                    <a:pt x="23360" y="10856"/>
                    <a:pt x="22948" y="10941"/>
                    <a:pt x="22948" y="10821"/>
                  </a:cubicBezTo>
                  <a:cubicBezTo>
                    <a:pt x="22948" y="10701"/>
                    <a:pt x="23206" y="10735"/>
                    <a:pt x="23223" y="10821"/>
                  </a:cubicBezTo>
                  <a:cubicBezTo>
                    <a:pt x="23240" y="10907"/>
                    <a:pt x="23395" y="10821"/>
                    <a:pt x="23412" y="10718"/>
                  </a:cubicBezTo>
                  <a:cubicBezTo>
                    <a:pt x="23429" y="10615"/>
                    <a:pt x="23291" y="10718"/>
                    <a:pt x="23412" y="10718"/>
                  </a:cubicBezTo>
                  <a:cubicBezTo>
                    <a:pt x="23532" y="10718"/>
                    <a:pt x="23291" y="10718"/>
                    <a:pt x="23412" y="10632"/>
                  </a:cubicBezTo>
                  <a:cubicBezTo>
                    <a:pt x="23532" y="10546"/>
                    <a:pt x="23412" y="10632"/>
                    <a:pt x="23412" y="10632"/>
                  </a:cubicBezTo>
                  <a:cubicBezTo>
                    <a:pt x="23412" y="10632"/>
                    <a:pt x="23412" y="10718"/>
                    <a:pt x="23412" y="10632"/>
                  </a:cubicBezTo>
                  <a:cubicBezTo>
                    <a:pt x="23412" y="10546"/>
                    <a:pt x="23412" y="10632"/>
                    <a:pt x="23412" y="10632"/>
                  </a:cubicBezTo>
                  <a:cubicBezTo>
                    <a:pt x="23223" y="10873"/>
                    <a:pt x="23120" y="10478"/>
                    <a:pt x="23291" y="10632"/>
                  </a:cubicBezTo>
                  <a:cubicBezTo>
                    <a:pt x="23463" y="10787"/>
                    <a:pt x="23291" y="10478"/>
                    <a:pt x="23291" y="10632"/>
                  </a:cubicBezTo>
                  <a:cubicBezTo>
                    <a:pt x="23291" y="10787"/>
                    <a:pt x="23291" y="10632"/>
                    <a:pt x="23291" y="10632"/>
                  </a:cubicBezTo>
                  <a:cubicBezTo>
                    <a:pt x="23291" y="10632"/>
                    <a:pt x="23291" y="10529"/>
                    <a:pt x="23291" y="10632"/>
                  </a:cubicBezTo>
                  <a:cubicBezTo>
                    <a:pt x="23291" y="10735"/>
                    <a:pt x="23291" y="10478"/>
                    <a:pt x="23291" y="10632"/>
                  </a:cubicBezTo>
                  <a:cubicBezTo>
                    <a:pt x="23291" y="10787"/>
                    <a:pt x="23412" y="10632"/>
                    <a:pt x="23291" y="10632"/>
                  </a:cubicBezTo>
                  <a:cubicBezTo>
                    <a:pt x="23171" y="10632"/>
                    <a:pt x="23395" y="10632"/>
                    <a:pt x="23291" y="10632"/>
                  </a:cubicBezTo>
                  <a:cubicBezTo>
                    <a:pt x="23188" y="10632"/>
                    <a:pt x="23120" y="10478"/>
                    <a:pt x="23291" y="10478"/>
                  </a:cubicBezTo>
                  <a:cubicBezTo>
                    <a:pt x="22999" y="10375"/>
                    <a:pt x="23395" y="10375"/>
                    <a:pt x="23291" y="10581"/>
                  </a:cubicBezTo>
                  <a:cubicBezTo>
                    <a:pt x="23291" y="10581"/>
                    <a:pt x="23291" y="10581"/>
                    <a:pt x="23291" y="10581"/>
                  </a:cubicBezTo>
                  <a:cubicBezTo>
                    <a:pt x="23291" y="10581"/>
                    <a:pt x="23291" y="10701"/>
                    <a:pt x="23291" y="10581"/>
                  </a:cubicBezTo>
                  <a:cubicBezTo>
                    <a:pt x="23302" y="10608"/>
                    <a:pt x="23302" y="10639"/>
                    <a:pt x="23291" y="10667"/>
                  </a:cubicBezTo>
                  <a:cubicBezTo>
                    <a:pt x="23291" y="10667"/>
                    <a:pt x="23291" y="10753"/>
                    <a:pt x="23291" y="10787"/>
                  </a:cubicBezTo>
                  <a:cubicBezTo>
                    <a:pt x="23291" y="10821"/>
                    <a:pt x="23291" y="10787"/>
                    <a:pt x="23291" y="10873"/>
                  </a:cubicBezTo>
                  <a:cubicBezTo>
                    <a:pt x="23311" y="10799"/>
                    <a:pt x="23361" y="10737"/>
                    <a:pt x="23429" y="10701"/>
                  </a:cubicBezTo>
                  <a:cubicBezTo>
                    <a:pt x="23429" y="10907"/>
                    <a:pt x="23429" y="10478"/>
                    <a:pt x="23601" y="10461"/>
                  </a:cubicBezTo>
                  <a:cubicBezTo>
                    <a:pt x="23772" y="10443"/>
                    <a:pt x="23601" y="10581"/>
                    <a:pt x="23601" y="10598"/>
                  </a:cubicBezTo>
                  <a:cubicBezTo>
                    <a:pt x="23601" y="10615"/>
                    <a:pt x="23687" y="10461"/>
                    <a:pt x="23790" y="10478"/>
                  </a:cubicBezTo>
                  <a:cubicBezTo>
                    <a:pt x="23832" y="10576"/>
                    <a:pt x="23832" y="10688"/>
                    <a:pt x="23790" y="10787"/>
                  </a:cubicBezTo>
                  <a:cubicBezTo>
                    <a:pt x="23893" y="10701"/>
                    <a:pt x="23790" y="10461"/>
                    <a:pt x="23961" y="10512"/>
                  </a:cubicBezTo>
                  <a:cubicBezTo>
                    <a:pt x="24133" y="10564"/>
                    <a:pt x="24116" y="10375"/>
                    <a:pt x="24099" y="10512"/>
                  </a:cubicBezTo>
                  <a:cubicBezTo>
                    <a:pt x="24082" y="10649"/>
                    <a:pt x="24356" y="10220"/>
                    <a:pt x="24322" y="10512"/>
                  </a:cubicBezTo>
                  <a:cubicBezTo>
                    <a:pt x="24288" y="10804"/>
                    <a:pt x="24442" y="10357"/>
                    <a:pt x="24528" y="10512"/>
                  </a:cubicBezTo>
                  <a:cubicBezTo>
                    <a:pt x="24614" y="10667"/>
                    <a:pt x="24356" y="10667"/>
                    <a:pt x="24528" y="10632"/>
                  </a:cubicBezTo>
                  <a:cubicBezTo>
                    <a:pt x="24700" y="10598"/>
                    <a:pt x="24425" y="10632"/>
                    <a:pt x="24528" y="10804"/>
                  </a:cubicBezTo>
                  <a:cubicBezTo>
                    <a:pt x="24631" y="10976"/>
                    <a:pt x="24528" y="10804"/>
                    <a:pt x="24528" y="10804"/>
                  </a:cubicBezTo>
                  <a:cubicBezTo>
                    <a:pt x="24751" y="10804"/>
                    <a:pt x="24614" y="10804"/>
                    <a:pt x="24528" y="10924"/>
                  </a:cubicBezTo>
                  <a:cubicBezTo>
                    <a:pt x="24442" y="11045"/>
                    <a:pt x="24528" y="11079"/>
                    <a:pt x="24528" y="11148"/>
                  </a:cubicBezTo>
                  <a:cubicBezTo>
                    <a:pt x="24374" y="10924"/>
                    <a:pt x="24528" y="11440"/>
                    <a:pt x="24288" y="11148"/>
                  </a:cubicBezTo>
                  <a:cubicBezTo>
                    <a:pt x="24288" y="11268"/>
                    <a:pt x="24064" y="11268"/>
                    <a:pt x="23978" y="11388"/>
                  </a:cubicBezTo>
                  <a:lnTo>
                    <a:pt x="23978" y="11388"/>
                  </a:lnTo>
                  <a:cubicBezTo>
                    <a:pt x="23978" y="11388"/>
                    <a:pt x="23841" y="11388"/>
                    <a:pt x="23790" y="11388"/>
                  </a:cubicBezTo>
                  <a:cubicBezTo>
                    <a:pt x="23738" y="11388"/>
                    <a:pt x="23790" y="11388"/>
                    <a:pt x="23790" y="11388"/>
                  </a:cubicBezTo>
                  <a:cubicBezTo>
                    <a:pt x="23790" y="11388"/>
                    <a:pt x="23738" y="11594"/>
                    <a:pt x="23669" y="11440"/>
                  </a:cubicBezTo>
                  <a:close/>
                  <a:moveTo>
                    <a:pt x="38184" y="41533"/>
                  </a:moveTo>
                  <a:cubicBezTo>
                    <a:pt x="38063" y="41224"/>
                    <a:pt x="38579" y="40880"/>
                    <a:pt x="38802" y="40640"/>
                  </a:cubicBezTo>
                  <a:cubicBezTo>
                    <a:pt x="39025" y="40399"/>
                    <a:pt x="39025" y="39729"/>
                    <a:pt x="39540" y="39523"/>
                  </a:cubicBezTo>
                  <a:lnTo>
                    <a:pt x="39540" y="39523"/>
                  </a:lnTo>
                  <a:cubicBezTo>
                    <a:pt x="39540" y="39523"/>
                    <a:pt x="39540" y="39523"/>
                    <a:pt x="39540" y="39523"/>
                  </a:cubicBezTo>
                  <a:cubicBezTo>
                    <a:pt x="39540" y="39523"/>
                    <a:pt x="39644" y="39523"/>
                    <a:pt x="39781" y="39386"/>
                  </a:cubicBezTo>
                  <a:cubicBezTo>
                    <a:pt x="39661" y="39678"/>
                    <a:pt x="40073" y="39077"/>
                    <a:pt x="39953" y="39386"/>
                  </a:cubicBezTo>
                  <a:cubicBezTo>
                    <a:pt x="39832" y="39695"/>
                    <a:pt x="39953" y="39386"/>
                    <a:pt x="39953" y="39386"/>
                  </a:cubicBezTo>
                  <a:cubicBezTo>
                    <a:pt x="39953" y="39386"/>
                    <a:pt x="39953" y="39386"/>
                    <a:pt x="39953" y="39248"/>
                  </a:cubicBezTo>
                  <a:cubicBezTo>
                    <a:pt x="39953" y="39111"/>
                    <a:pt x="40073" y="39248"/>
                    <a:pt x="39953" y="39248"/>
                  </a:cubicBezTo>
                  <a:lnTo>
                    <a:pt x="39953" y="39248"/>
                  </a:lnTo>
                  <a:cubicBezTo>
                    <a:pt x="39953" y="39248"/>
                    <a:pt x="39953" y="39248"/>
                    <a:pt x="39953" y="39369"/>
                  </a:cubicBezTo>
                  <a:cubicBezTo>
                    <a:pt x="39953" y="39489"/>
                    <a:pt x="40090" y="39197"/>
                    <a:pt x="40107" y="39266"/>
                  </a:cubicBezTo>
                  <a:cubicBezTo>
                    <a:pt x="40124" y="39334"/>
                    <a:pt x="40107" y="39266"/>
                    <a:pt x="40107" y="39145"/>
                  </a:cubicBezTo>
                  <a:cubicBezTo>
                    <a:pt x="40107" y="39025"/>
                    <a:pt x="40262" y="39145"/>
                    <a:pt x="40107" y="39042"/>
                  </a:cubicBezTo>
                  <a:cubicBezTo>
                    <a:pt x="39953" y="38939"/>
                    <a:pt x="40107" y="39145"/>
                    <a:pt x="40262" y="38939"/>
                  </a:cubicBezTo>
                  <a:cubicBezTo>
                    <a:pt x="40416" y="38733"/>
                    <a:pt x="40537" y="38733"/>
                    <a:pt x="40485" y="38561"/>
                  </a:cubicBezTo>
                  <a:cubicBezTo>
                    <a:pt x="40434" y="38389"/>
                    <a:pt x="40588" y="38561"/>
                    <a:pt x="40674" y="38441"/>
                  </a:cubicBezTo>
                  <a:cubicBezTo>
                    <a:pt x="40760" y="38321"/>
                    <a:pt x="40674" y="38664"/>
                    <a:pt x="40674" y="38664"/>
                  </a:cubicBezTo>
                  <a:cubicBezTo>
                    <a:pt x="41344" y="38922"/>
                    <a:pt x="37514" y="43560"/>
                    <a:pt x="38184" y="41533"/>
                  </a:cubicBezTo>
                  <a:close/>
                  <a:moveTo>
                    <a:pt x="49159" y="26589"/>
                  </a:moveTo>
                  <a:cubicBezTo>
                    <a:pt x="49159" y="26589"/>
                    <a:pt x="49159" y="26589"/>
                    <a:pt x="49159" y="26589"/>
                  </a:cubicBezTo>
                  <a:cubicBezTo>
                    <a:pt x="48810" y="27921"/>
                    <a:pt x="48552" y="29276"/>
                    <a:pt x="48386" y="30643"/>
                  </a:cubicBezTo>
                  <a:cubicBezTo>
                    <a:pt x="48386" y="30540"/>
                    <a:pt x="48215" y="30780"/>
                    <a:pt x="48215" y="30849"/>
                  </a:cubicBezTo>
                  <a:cubicBezTo>
                    <a:pt x="48026" y="31570"/>
                    <a:pt x="47579" y="26864"/>
                    <a:pt x="47613" y="26452"/>
                  </a:cubicBezTo>
                  <a:cubicBezTo>
                    <a:pt x="47459" y="26452"/>
                    <a:pt x="47613" y="26263"/>
                    <a:pt x="47613" y="26160"/>
                  </a:cubicBezTo>
                  <a:cubicBezTo>
                    <a:pt x="47613" y="26057"/>
                    <a:pt x="47528" y="26160"/>
                    <a:pt x="47528" y="26160"/>
                  </a:cubicBezTo>
                  <a:cubicBezTo>
                    <a:pt x="47528" y="26555"/>
                    <a:pt x="47373" y="27362"/>
                    <a:pt x="47098" y="26606"/>
                  </a:cubicBezTo>
                  <a:cubicBezTo>
                    <a:pt x="47098" y="26606"/>
                    <a:pt x="46909" y="26332"/>
                    <a:pt x="46995" y="26383"/>
                  </a:cubicBezTo>
                  <a:lnTo>
                    <a:pt x="46995" y="26383"/>
                  </a:lnTo>
                  <a:cubicBezTo>
                    <a:pt x="46995" y="26538"/>
                    <a:pt x="46995" y="26383"/>
                    <a:pt x="46995" y="26383"/>
                  </a:cubicBezTo>
                  <a:cubicBezTo>
                    <a:pt x="46995" y="26383"/>
                    <a:pt x="47201" y="26074"/>
                    <a:pt x="47081" y="26040"/>
                  </a:cubicBezTo>
                  <a:cubicBezTo>
                    <a:pt x="47081" y="26383"/>
                    <a:pt x="46583" y="26040"/>
                    <a:pt x="46806" y="25833"/>
                  </a:cubicBezTo>
                  <a:cubicBezTo>
                    <a:pt x="46806" y="25833"/>
                    <a:pt x="46806" y="25937"/>
                    <a:pt x="46686" y="25971"/>
                  </a:cubicBezTo>
                  <a:cubicBezTo>
                    <a:pt x="46566" y="26005"/>
                    <a:pt x="46686" y="25885"/>
                    <a:pt x="46549" y="25971"/>
                  </a:cubicBezTo>
                  <a:cubicBezTo>
                    <a:pt x="46411" y="26057"/>
                    <a:pt x="46549" y="25696"/>
                    <a:pt x="46428" y="25559"/>
                  </a:cubicBezTo>
                  <a:cubicBezTo>
                    <a:pt x="46239" y="25730"/>
                    <a:pt x="46428" y="25318"/>
                    <a:pt x="46119" y="25438"/>
                  </a:cubicBezTo>
                  <a:cubicBezTo>
                    <a:pt x="46119" y="25438"/>
                    <a:pt x="45965" y="25524"/>
                    <a:pt x="45913" y="25610"/>
                  </a:cubicBezTo>
                  <a:cubicBezTo>
                    <a:pt x="45861" y="25696"/>
                    <a:pt x="45810" y="25610"/>
                    <a:pt x="45741" y="25610"/>
                  </a:cubicBezTo>
                  <a:cubicBezTo>
                    <a:pt x="45673" y="25610"/>
                    <a:pt x="45604" y="25610"/>
                    <a:pt x="45552" y="25765"/>
                  </a:cubicBezTo>
                  <a:cubicBezTo>
                    <a:pt x="45501" y="25919"/>
                    <a:pt x="45552" y="25765"/>
                    <a:pt x="45432" y="25765"/>
                  </a:cubicBezTo>
                  <a:cubicBezTo>
                    <a:pt x="45312" y="25765"/>
                    <a:pt x="45260" y="25885"/>
                    <a:pt x="45209" y="25679"/>
                  </a:cubicBezTo>
                  <a:cubicBezTo>
                    <a:pt x="45209" y="25782"/>
                    <a:pt x="44814" y="25679"/>
                    <a:pt x="44728" y="25679"/>
                  </a:cubicBezTo>
                  <a:cubicBezTo>
                    <a:pt x="44642" y="25679"/>
                    <a:pt x="44573" y="25679"/>
                    <a:pt x="44453" y="25679"/>
                  </a:cubicBezTo>
                  <a:cubicBezTo>
                    <a:pt x="44178" y="24683"/>
                    <a:pt x="44144" y="25541"/>
                    <a:pt x="43663" y="25404"/>
                  </a:cubicBezTo>
                  <a:cubicBezTo>
                    <a:pt x="43560" y="25404"/>
                    <a:pt x="43251" y="25284"/>
                    <a:pt x="43285" y="25146"/>
                  </a:cubicBezTo>
                  <a:cubicBezTo>
                    <a:pt x="43319" y="25009"/>
                    <a:pt x="42838" y="25146"/>
                    <a:pt x="42804" y="24803"/>
                  </a:cubicBezTo>
                  <a:cubicBezTo>
                    <a:pt x="42804" y="24803"/>
                    <a:pt x="42684" y="24803"/>
                    <a:pt x="42804" y="24803"/>
                  </a:cubicBezTo>
                  <a:cubicBezTo>
                    <a:pt x="42632" y="24803"/>
                    <a:pt x="42564" y="24185"/>
                    <a:pt x="42375" y="24425"/>
                  </a:cubicBezTo>
                  <a:cubicBezTo>
                    <a:pt x="42375" y="24339"/>
                    <a:pt x="42220" y="24425"/>
                    <a:pt x="42272" y="24270"/>
                  </a:cubicBezTo>
                  <a:cubicBezTo>
                    <a:pt x="42323" y="24116"/>
                    <a:pt x="42272" y="24270"/>
                    <a:pt x="42272" y="24270"/>
                  </a:cubicBezTo>
                  <a:cubicBezTo>
                    <a:pt x="42272" y="24270"/>
                    <a:pt x="42272" y="24494"/>
                    <a:pt x="42272" y="24270"/>
                  </a:cubicBezTo>
                  <a:cubicBezTo>
                    <a:pt x="42272" y="24047"/>
                    <a:pt x="42272" y="24580"/>
                    <a:pt x="42100" y="24597"/>
                  </a:cubicBezTo>
                  <a:lnTo>
                    <a:pt x="42220" y="24597"/>
                  </a:lnTo>
                  <a:lnTo>
                    <a:pt x="42220" y="24597"/>
                  </a:lnTo>
                  <a:cubicBezTo>
                    <a:pt x="42220" y="24597"/>
                    <a:pt x="42220" y="24700"/>
                    <a:pt x="42220" y="24734"/>
                  </a:cubicBezTo>
                  <a:cubicBezTo>
                    <a:pt x="42220" y="24769"/>
                    <a:pt x="42220" y="24837"/>
                    <a:pt x="42220" y="24734"/>
                  </a:cubicBezTo>
                  <a:cubicBezTo>
                    <a:pt x="42259" y="24896"/>
                    <a:pt x="42365" y="25033"/>
                    <a:pt x="42512" y="25112"/>
                  </a:cubicBezTo>
                  <a:cubicBezTo>
                    <a:pt x="42512" y="25112"/>
                    <a:pt x="42821" y="25438"/>
                    <a:pt x="42770" y="25610"/>
                  </a:cubicBezTo>
                  <a:lnTo>
                    <a:pt x="42770" y="25610"/>
                  </a:lnTo>
                  <a:cubicBezTo>
                    <a:pt x="42993" y="25851"/>
                    <a:pt x="43027" y="26314"/>
                    <a:pt x="43045" y="25782"/>
                  </a:cubicBezTo>
                  <a:cubicBezTo>
                    <a:pt x="43045" y="25645"/>
                    <a:pt x="43045" y="25438"/>
                    <a:pt x="43165" y="25627"/>
                  </a:cubicBezTo>
                  <a:cubicBezTo>
                    <a:pt x="43133" y="25786"/>
                    <a:pt x="43133" y="25950"/>
                    <a:pt x="43165" y="26108"/>
                  </a:cubicBezTo>
                  <a:cubicBezTo>
                    <a:pt x="43165" y="26108"/>
                    <a:pt x="43165" y="26297"/>
                    <a:pt x="43165" y="26211"/>
                  </a:cubicBezTo>
                  <a:lnTo>
                    <a:pt x="43165" y="26366"/>
                  </a:lnTo>
                  <a:cubicBezTo>
                    <a:pt x="43371" y="26177"/>
                    <a:pt x="43646" y="26366"/>
                    <a:pt x="43766" y="26091"/>
                  </a:cubicBezTo>
                  <a:lnTo>
                    <a:pt x="43766" y="26091"/>
                  </a:lnTo>
                  <a:cubicBezTo>
                    <a:pt x="43766" y="25833"/>
                    <a:pt x="44024" y="25593"/>
                    <a:pt x="44058" y="25318"/>
                  </a:cubicBezTo>
                  <a:lnTo>
                    <a:pt x="44058" y="25318"/>
                  </a:lnTo>
                  <a:cubicBezTo>
                    <a:pt x="44058" y="25318"/>
                    <a:pt x="44058" y="25146"/>
                    <a:pt x="44058" y="25215"/>
                  </a:cubicBezTo>
                  <a:cubicBezTo>
                    <a:pt x="44058" y="25284"/>
                    <a:pt x="44058" y="25559"/>
                    <a:pt x="44058" y="25507"/>
                  </a:cubicBezTo>
                  <a:cubicBezTo>
                    <a:pt x="44058" y="25851"/>
                    <a:pt x="44247" y="26280"/>
                    <a:pt x="44642" y="26091"/>
                  </a:cubicBezTo>
                  <a:cubicBezTo>
                    <a:pt x="44947" y="26440"/>
                    <a:pt x="44947" y="26961"/>
                    <a:pt x="44642" y="27311"/>
                  </a:cubicBezTo>
                  <a:cubicBezTo>
                    <a:pt x="44642" y="27105"/>
                    <a:pt x="44487" y="27757"/>
                    <a:pt x="44642" y="27877"/>
                  </a:cubicBezTo>
                  <a:cubicBezTo>
                    <a:pt x="44230" y="27877"/>
                    <a:pt x="44505" y="28290"/>
                    <a:pt x="44109" y="28376"/>
                  </a:cubicBezTo>
                  <a:cubicBezTo>
                    <a:pt x="44109" y="28496"/>
                    <a:pt x="44109" y="28599"/>
                    <a:pt x="44109" y="28719"/>
                  </a:cubicBezTo>
                  <a:cubicBezTo>
                    <a:pt x="43847" y="28757"/>
                    <a:pt x="43612" y="28900"/>
                    <a:pt x="43457" y="29114"/>
                  </a:cubicBezTo>
                  <a:cubicBezTo>
                    <a:pt x="43457" y="29475"/>
                    <a:pt x="42924" y="29595"/>
                    <a:pt x="42684" y="29767"/>
                  </a:cubicBezTo>
                  <a:cubicBezTo>
                    <a:pt x="42443" y="29939"/>
                    <a:pt x="42495" y="30042"/>
                    <a:pt x="42357" y="29990"/>
                  </a:cubicBezTo>
                  <a:cubicBezTo>
                    <a:pt x="42248" y="30193"/>
                    <a:pt x="42016" y="30299"/>
                    <a:pt x="41791" y="30248"/>
                  </a:cubicBezTo>
                  <a:cubicBezTo>
                    <a:pt x="41649" y="30457"/>
                    <a:pt x="41423" y="30595"/>
                    <a:pt x="41172" y="30626"/>
                  </a:cubicBezTo>
                  <a:cubicBezTo>
                    <a:pt x="41035" y="30317"/>
                    <a:pt x="41172" y="29904"/>
                    <a:pt x="40897" y="29629"/>
                  </a:cubicBezTo>
                  <a:cubicBezTo>
                    <a:pt x="41155" y="29011"/>
                    <a:pt x="40262" y="28204"/>
                    <a:pt x="39850" y="27706"/>
                  </a:cubicBezTo>
                  <a:cubicBezTo>
                    <a:pt x="39850" y="27293"/>
                    <a:pt x="39747" y="26589"/>
                    <a:pt x="39283" y="26606"/>
                  </a:cubicBezTo>
                  <a:cubicBezTo>
                    <a:pt x="39111" y="25799"/>
                    <a:pt x="38166" y="25370"/>
                    <a:pt x="38338" y="24751"/>
                  </a:cubicBezTo>
                  <a:cubicBezTo>
                    <a:pt x="38218" y="24975"/>
                    <a:pt x="38338" y="25249"/>
                    <a:pt x="38201" y="25438"/>
                  </a:cubicBezTo>
                  <a:cubicBezTo>
                    <a:pt x="37948" y="25233"/>
                    <a:pt x="37727" y="24989"/>
                    <a:pt x="37548" y="24717"/>
                  </a:cubicBezTo>
                  <a:cubicBezTo>
                    <a:pt x="37840" y="25370"/>
                    <a:pt x="38304" y="26022"/>
                    <a:pt x="38682" y="26692"/>
                  </a:cubicBezTo>
                  <a:lnTo>
                    <a:pt x="38682" y="26692"/>
                  </a:lnTo>
                  <a:cubicBezTo>
                    <a:pt x="38718" y="26746"/>
                    <a:pt x="38765" y="26793"/>
                    <a:pt x="38819" y="26830"/>
                  </a:cubicBezTo>
                  <a:cubicBezTo>
                    <a:pt x="38819" y="26830"/>
                    <a:pt x="38716" y="26830"/>
                    <a:pt x="38699" y="26830"/>
                  </a:cubicBezTo>
                  <a:cubicBezTo>
                    <a:pt x="38699" y="27328"/>
                    <a:pt x="39231" y="27311"/>
                    <a:pt x="39317" y="27826"/>
                  </a:cubicBezTo>
                  <a:cubicBezTo>
                    <a:pt x="39180" y="27826"/>
                    <a:pt x="39420" y="28187"/>
                    <a:pt x="39317" y="28376"/>
                  </a:cubicBezTo>
                  <a:cubicBezTo>
                    <a:pt x="39214" y="28565"/>
                    <a:pt x="39644" y="28719"/>
                    <a:pt x="39712" y="28891"/>
                  </a:cubicBezTo>
                  <a:cubicBezTo>
                    <a:pt x="39781" y="29063"/>
                    <a:pt x="39884" y="29561"/>
                    <a:pt x="40021" y="29715"/>
                  </a:cubicBezTo>
                  <a:cubicBezTo>
                    <a:pt x="40159" y="29870"/>
                    <a:pt x="40142" y="30007"/>
                    <a:pt x="40021" y="29801"/>
                  </a:cubicBezTo>
                  <a:cubicBezTo>
                    <a:pt x="39901" y="29595"/>
                    <a:pt x="40021" y="30042"/>
                    <a:pt x="40193" y="29939"/>
                  </a:cubicBezTo>
                  <a:cubicBezTo>
                    <a:pt x="40571" y="29939"/>
                    <a:pt x="40708" y="30591"/>
                    <a:pt x="40932" y="30626"/>
                  </a:cubicBezTo>
                  <a:cubicBezTo>
                    <a:pt x="41155" y="30660"/>
                    <a:pt x="40932" y="30746"/>
                    <a:pt x="41035" y="30746"/>
                  </a:cubicBezTo>
                  <a:cubicBezTo>
                    <a:pt x="41037" y="30889"/>
                    <a:pt x="40935" y="31013"/>
                    <a:pt x="40794" y="31038"/>
                  </a:cubicBezTo>
                  <a:cubicBezTo>
                    <a:pt x="41035" y="31038"/>
                    <a:pt x="41086" y="31364"/>
                    <a:pt x="41327" y="31450"/>
                  </a:cubicBezTo>
                  <a:cubicBezTo>
                    <a:pt x="41782" y="31205"/>
                    <a:pt x="42267" y="31020"/>
                    <a:pt x="42770" y="30901"/>
                  </a:cubicBezTo>
                  <a:cubicBezTo>
                    <a:pt x="42857" y="30834"/>
                    <a:pt x="42933" y="30752"/>
                    <a:pt x="42993" y="30660"/>
                  </a:cubicBezTo>
                  <a:cubicBezTo>
                    <a:pt x="43165" y="30660"/>
                    <a:pt x="42993" y="31021"/>
                    <a:pt x="42993" y="31210"/>
                  </a:cubicBezTo>
                  <a:cubicBezTo>
                    <a:pt x="42993" y="31399"/>
                    <a:pt x="42993" y="31210"/>
                    <a:pt x="42993" y="31210"/>
                  </a:cubicBezTo>
                  <a:cubicBezTo>
                    <a:pt x="42684" y="33580"/>
                    <a:pt x="39163" y="34989"/>
                    <a:pt x="38922" y="37033"/>
                  </a:cubicBezTo>
                  <a:cubicBezTo>
                    <a:pt x="38922" y="37033"/>
                    <a:pt x="38716" y="37204"/>
                    <a:pt x="38802" y="37307"/>
                  </a:cubicBezTo>
                  <a:cubicBezTo>
                    <a:pt x="38888" y="37410"/>
                    <a:pt x="38596" y="37874"/>
                    <a:pt x="38802" y="38012"/>
                  </a:cubicBezTo>
                  <a:cubicBezTo>
                    <a:pt x="38630" y="38407"/>
                    <a:pt x="38493" y="38991"/>
                    <a:pt x="38355" y="39248"/>
                  </a:cubicBezTo>
                  <a:cubicBezTo>
                    <a:pt x="38218" y="39506"/>
                    <a:pt x="38149" y="39369"/>
                    <a:pt x="38355" y="39351"/>
                  </a:cubicBezTo>
                  <a:cubicBezTo>
                    <a:pt x="38063" y="39781"/>
                    <a:pt x="37514" y="39901"/>
                    <a:pt x="37119" y="40193"/>
                  </a:cubicBezTo>
                  <a:lnTo>
                    <a:pt x="37119" y="40193"/>
                  </a:lnTo>
                  <a:cubicBezTo>
                    <a:pt x="36902" y="40432"/>
                    <a:pt x="36622" y="40604"/>
                    <a:pt x="36311" y="40691"/>
                  </a:cubicBezTo>
                  <a:cubicBezTo>
                    <a:pt x="36339" y="40751"/>
                    <a:pt x="36339" y="40820"/>
                    <a:pt x="36311" y="40880"/>
                  </a:cubicBezTo>
                  <a:cubicBezTo>
                    <a:pt x="36311" y="40880"/>
                    <a:pt x="36311" y="41000"/>
                    <a:pt x="36311" y="41035"/>
                  </a:cubicBezTo>
                  <a:cubicBezTo>
                    <a:pt x="36311" y="41069"/>
                    <a:pt x="36311" y="41292"/>
                    <a:pt x="36311" y="41395"/>
                  </a:cubicBezTo>
                  <a:cubicBezTo>
                    <a:pt x="36311" y="41498"/>
                    <a:pt x="36311" y="41310"/>
                    <a:pt x="36311" y="41292"/>
                  </a:cubicBezTo>
                  <a:lnTo>
                    <a:pt x="36311" y="41292"/>
                  </a:lnTo>
                  <a:lnTo>
                    <a:pt x="36311" y="41292"/>
                  </a:lnTo>
                  <a:cubicBezTo>
                    <a:pt x="36311" y="41447"/>
                    <a:pt x="36122" y="41567"/>
                    <a:pt x="36054" y="41705"/>
                  </a:cubicBezTo>
                  <a:lnTo>
                    <a:pt x="36054" y="41705"/>
                  </a:lnTo>
                  <a:cubicBezTo>
                    <a:pt x="35865" y="42117"/>
                    <a:pt x="35126" y="41997"/>
                    <a:pt x="35006" y="42392"/>
                  </a:cubicBezTo>
                  <a:lnTo>
                    <a:pt x="35126" y="42392"/>
                  </a:lnTo>
                  <a:cubicBezTo>
                    <a:pt x="35084" y="42471"/>
                    <a:pt x="35025" y="42542"/>
                    <a:pt x="34954" y="42598"/>
                  </a:cubicBezTo>
                  <a:lnTo>
                    <a:pt x="34954" y="42598"/>
                  </a:lnTo>
                  <a:cubicBezTo>
                    <a:pt x="34162" y="43425"/>
                    <a:pt x="33158" y="44019"/>
                    <a:pt x="32051" y="44315"/>
                  </a:cubicBezTo>
                  <a:cubicBezTo>
                    <a:pt x="31588" y="44161"/>
                    <a:pt x="31124" y="44453"/>
                    <a:pt x="30660" y="44418"/>
                  </a:cubicBezTo>
                  <a:cubicBezTo>
                    <a:pt x="30660" y="44333"/>
                    <a:pt x="30660" y="44418"/>
                    <a:pt x="30660" y="44418"/>
                  </a:cubicBezTo>
                  <a:cubicBezTo>
                    <a:pt x="30660" y="44418"/>
                    <a:pt x="30557" y="44333"/>
                    <a:pt x="30660" y="44418"/>
                  </a:cubicBezTo>
                  <a:cubicBezTo>
                    <a:pt x="30763" y="44504"/>
                    <a:pt x="30798" y="44230"/>
                    <a:pt x="30660" y="44092"/>
                  </a:cubicBezTo>
                  <a:cubicBezTo>
                    <a:pt x="30987" y="43938"/>
                    <a:pt x="30660" y="43508"/>
                    <a:pt x="30660" y="43199"/>
                  </a:cubicBezTo>
                  <a:cubicBezTo>
                    <a:pt x="30128" y="42392"/>
                    <a:pt x="30437" y="41189"/>
                    <a:pt x="29836" y="40296"/>
                  </a:cubicBezTo>
                  <a:cubicBezTo>
                    <a:pt x="29836" y="39369"/>
                    <a:pt x="31210" y="38956"/>
                    <a:pt x="30591" y="38046"/>
                  </a:cubicBezTo>
                  <a:cubicBezTo>
                    <a:pt x="30866" y="37840"/>
                    <a:pt x="30591" y="37428"/>
                    <a:pt x="30471" y="37204"/>
                  </a:cubicBezTo>
                  <a:lnTo>
                    <a:pt x="30574" y="37204"/>
                  </a:lnTo>
                  <a:cubicBezTo>
                    <a:pt x="30574" y="37204"/>
                    <a:pt x="30334" y="37204"/>
                    <a:pt x="30454" y="37050"/>
                  </a:cubicBezTo>
                  <a:cubicBezTo>
                    <a:pt x="30248" y="36449"/>
                    <a:pt x="29561" y="36242"/>
                    <a:pt x="29423" y="35607"/>
                  </a:cubicBezTo>
                  <a:cubicBezTo>
                    <a:pt x="29578" y="35607"/>
                    <a:pt x="29612" y="35487"/>
                    <a:pt x="29630" y="35298"/>
                  </a:cubicBezTo>
                  <a:cubicBezTo>
                    <a:pt x="29647" y="35109"/>
                    <a:pt x="29767" y="35298"/>
                    <a:pt x="29819" y="35298"/>
                  </a:cubicBezTo>
                  <a:cubicBezTo>
                    <a:pt x="29741" y="35301"/>
                    <a:pt x="29670" y="35252"/>
                    <a:pt x="29647" y="35177"/>
                  </a:cubicBezTo>
                  <a:cubicBezTo>
                    <a:pt x="29767" y="35177"/>
                    <a:pt x="29750" y="35057"/>
                    <a:pt x="29647" y="35040"/>
                  </a:cubicBezTo>
                  <a:cubicBezTo>
                    <a:pt x="29897" y="34793"/>
                    <a:pt x="29972" y="34419"/>
                    <a:pt x="29836" y="34095"/>
                  </a:cubicBezTo>
                  <a:cubicBezTo>
                    <a:pt x="29681" y="34198"/>
                    <a:pt x="29612" y="34095"/>
                    <a:pt x="29612" y="33906"/>
                  </a:cubicBezTo>
                  <a:cubicBezTo>
                    <a:pt x="29559" y="33957"/>
                    <a:pt x="29477" y="33957"/>
                    <a:pt x="29423" y="33906"/>
                  </a:cubicBezTo>
                  <a:cubicBezTo>
                    <a:pt x="29269" y="34095"/>
                    <a:pt x="28771" y="34078"/>
                    <a:pt x="28496" y="34044"/>
                  </a:cubicBezTo>
                  <a:cubicBezTo>
                    <a:pt x="28118" y="32807"/>
                    <a:pt x="26778" y="33529"/>
                    <a:pt x="25937" y="33821"/>
                  </a:cubicBezTo>
                  <a:cubicBezTo>
                    <a:pt x="24219" y="33305"/>
                    <a:pt x="23961" y="34490"/>
                    <a:pt x="22501" y="32687"/>
                  </a:cubicBezTo>
                  <a:cubicBezTo>
                    <a:pt x="22330" y="32687"/>
                    <a:pt x="22364" y="32429"/>
                    <a:pt x="22226" y="32361"/>
                  </a:cubicBezTo>
                  <a:cubicBezTo>
                    <a:pt x="22089" y="32292"/>
                    <a:pt x="22226" y="32240"/>
                    <a:pt x="22226" y="32137"/>
                  </a:cubicBezTo>
                  <a:cubicBezTo>
                    <a:pt x="22226" y="32034"/>
                    <a:pt x="21883" y="31897"/>
                    <a:pt x="21986" y="31828"/>
                  </a:cubicBezTo>
                  <a:cubicBezTo>
                    <a:pt x="21608" y="31828"/>
                    <a:pt x="21814" y="31485"/>
                    <a:pt x="21591" y="31536"/>
                  </a:cubicBezTo>
                  <a:cubicBezTo>
                    <a:pt x="21368" y="31588"/>
                    <a:pt x="21591" y="31450"/>
                    <a:pt x="21436" y="31450"/>
                  </a:cubicBezTo>
                  <a:lnTo>
                    <a:pt x="21436" y="31450"/>
                  </a:lnTo>
                  <a:lnTo>
                    <a:pt x="21436" y="31450"/>
                  </a:lnTo>
                  <a:cubicBezTo>
                    <a:pt x="21436" y="31450"/>
                    <a:pt x="21436" y="31450"/>
                    <a:pt x="21436" y="31347"/>
                  </a:cubicBezTo>
                  <a:cubicBezTo>
                    <a:pt x="21436" y="31244"/>
                    <a:pt x="21625" y="31347"/>
                    <a:pt x="21642" y="31347"/>
                  </a:cubicBezTo>
                  <a:cubicBezTo>
                    <a:pt x="21660" y="31347"/>
                    <a:pt x="21076" y="31347"/>
                    <a:pt x="21247" y="31158"/>
                  </a:cubicBezTo>
                  <a:cubicBezTo>
                    <a:pt x="21110" y="31158"/>
                    <a:pt x="21076" y="31158"/>
                    <a:pt x="21041" y="30986"/>
                  </a:cubicBezTo>
                  <a:cubicBezTo>
                    <a:pt x="21007" y="30815"/>
                    <a:pt x="21162" y="30986"/>
                    <a:pt x="21213" y="30986"/>
                  </a:cubicBezTo>
                  <a:cubicBezTo>
                    <a:pt x="21265" y="30986"/>
                    <a:pt x="21076" y="30986"/>
                    <a:pt x="21024" y="30986"/>
                  </a:cubicBezTo>
                  <a:cubicBezTo>
                    <a:pt x="20973" y="30986"/>
                    <a:pt x="21024" y="30849"/>
                    <a:pt x="21024" y="30780"/>
                  </a:cubicBezTo>
                  <a:cubicBezTo>
                    <a:pt x="21024" y="30712"/>
                    <a:pt x="21179" y="30935"/>
                    <a:pt x="21299" y="30780"/>
                  </a:cubicBezTo>
                  <a:cubicBezTo>
                    <a:pt x="21419" y="30626"/>
                    <a:pt x="21024" y="30694"/>
                    <a:pt x="21144" y="30626"/>
                  </a:cubicBezTo>
                  <a:lnTo>
                    <a:pt x="21144" y="30626"/>
                  </a:lnTo>
                  <a:cubicBezTo>
                    <a:pt x="21144" y="30626"/>
                    <a:pt x="20990" y="30368"/>
                    <a:pt x="20921" y="30299"/>
                  </a:cubicBezTo>
                  <a:cubicBezTo>
                    <a:pt x="21365" y="29847"/>
                    <a:pt x="21523" y="29187"/>
                    <a:pt x="21333" y="28582"/>
                  </a:cubicBezTo>
                  <a:cubicBezTo>
                    <a:pt x="21471" y="28582"/>
                    <a:pt x="21333" y="28393"/>
                    <a:pt x="21436" y="28358"/>
                  </a:cubicBezTo>
                  <a:cubicBezTo>
                    <a:pt x="21539" y="28324"/>
                    <a:pt x="21265" y="28255"/>
                    <a:pt x="21247" y="28135"/>
                  </a:cubicBezTo>
                  <a:lnTo>
                    <a:pt x="21247" y="28221"/>
                  </a:lnTo>
                  <a:cubicBezTo>
                    <a:pt x="21228" y="27927"/>
                    <a:pt x="21357" y="27644"/>
                    <a:pt x="21591" y="27465"/>
                  </a:cubicBezTo>
                  <a:cubicBezTo>
                    <a:pt x="21952" y="26297"/>
                    <a:pt x="23103" y="25833"/>
                    <a:pt x="23927" y="25043"/>
                  </a:cubicBezTo>
                  <a:cubicBezTo>
                    <a:pt x="23935" y="24883"/>
                    <a:pt x="23935" y="24723"/>
                    <a:pt x="23927" y="24562"/>
                  </a:cubicBezTo>
                  <a:cubicBezTo>
                    <a:pt x="23927" y="24373"/>
                    <a:pt x="24288" y="24288"/>
                    <a:pt x="24133" y="24081"/>
                  </a:cubicBezTo>
                  <a:cubicBezTo>
                    <a:pt x="24677" y="23812"/>
                    <a:pt x="25139" y="23403"/>
                    <a:pt x="25473" y="22896"/>
                  </a:cubicBezTo>
                  <a:cubicBezTo>
                    <a:pt x="25473" y="23240"/>
                    <a:pt x="26005" y="23223"/>
                    <a:pt x="26194" y="23102"/>
                  </a:cubicBezTo>
                  <a:cubicBezTo>
                    <a:pt x="26521" y="23497"/>
                    <a:pt x="27225" y="22828"/>
                    <a:pt x="27586" y="22725"/>
                  </a:cubicBezTo>
                  <a:cubicBezTo>
                    <a:pt x="27946" y="22621"/>
                    <a:pt x="28771" y="22725"/>
                    <a:pt x="29063" y="22587"/>
                  </a:cubicBezTo>
                  <a:cubicBezTo>
                    <a:pt x="29355" y="22450"/>
                    <a:pt x="29286" y="22828"/>
                    <a:pt x="29372" y="22587"/>
                  </a:cubicBezTo>
                  <a:cubicBezTo>
                    <a:pt x="29647" y="22828"/>
                    <a:pt x="29939" y="22450"/>
                    <a:pt x="30162" y="22587"/>
                  </a:cubicBezTo>
                  <a:cubicBezTo>
                    <a:pt x="30162" y="22398"/>
                    <a:pt x="30299" y="22725"/>
                    <a:pt x="30385" y="22776"/>
                  </a:cubicBezTo>
                  <a:cubicBezTo>
                    <a:pt x="30746" y="22415"/>
                    <a:pt x="30488" y="22862"/>
                    <a:pt x="30385" y="23017"/>
                  </a:cubicBezTo>
                  <a:cubicBezTo>
                    <a:pt x="31021" y="23446"/>
                    <a:pt x="29956" y="23618"/>
                    <a:pt x="30385" y="23910"/>
                  </a:cubicBezTo>
                  <a:cubicBezTo>
                    <a:pt x="30385" y="23910"/>
                    <a:pt x="30385" y="23910"/>
                    <a:pt x="30506" y="23910"/>
                  </a:cubicBezTo>
                  <a:cubicBezTo>
                    <a:pt x="30626" y="23910"/>
                    <a:pt x="30506" y="23824"/>
                    <a:pt x="30506" y="23910"/>
                  </a:cubicBezTo>
                  <a:cubicBezTo>
                    <a:pt x="30677" y="24322"/>
                    <a:pt x="31313" y="24013"/>
                    <a:pt x="31622" y="24236"/>
                  </a:cubicBezTo>
                  <a:cubicBezTo>
                    <a:pt x="34851" y="26469"/>
                    <a:pt x="32343" y="23566"/>
                    <a:pt x="34473" y="24236"/>
                  </a:cubicBezTo>
                  <a:cubicBezTo>
                    <a:pt x="34834" y="24580"/>
                    <a:pt x="35641" y="24477"/>
                    <a:pt x="36191" y="24700"/>
                  </a:cubicBezTo>
                  <a:cubicBezTo>
                    <a:pt x="36741" y="24923"/>
                    <a:pt x="36724" y="24597"/>
                    <a:pt x="37084" y="24494"/>
                  </a:cubicBezTo>
                  <a:cubicBezTo>
                    <a:pt x="36844" y="24580"/>
                    <a:pt x="37084" y="24494"/>
                    <a:pt x="37187" y="24494"/>
                  </a:cubicBezTo>
                  <a:cubicBezTo>
                    <a:pt x="37290" y="24494"/>
                    <a:pt x="37187" y="24494"/>
                    <a:pt x="37187" y="24494"/>
                  </a:cubicBezTo>
                  <a:cubicBezTo>
                    <a:pt x="37187" y="24494"/>
                    <a:pt x="37411" y="24494"/>
                    <a:pt x="37462" y="24494"/>
                  </a:cubicBezTo>
                  <a:cubicBezTo>
                    <a:pt x="37514" y="24494"/>
                    <a:pt x="37565" y="24614"/>
                    <a:pt x="37565" y="24665"/>
                  </a:cubicBezTo>
                  <a:cubicBezTo>
                    <a:pt x="37565" y="24717"/>
                    <a:pt x="37565" y="24562"/>
                    <a:pt x="37565" y="24494"/>
                  </a:cubicBezTo>
                  <a:cubicBezTo>
                    <a:pt x="38733" y="24889"/>
                    <a:pt x="38338" y="22776"/>
                    <a:pt x="38407" y="22381"/>
                  </a:cubicBezTo>
                  <a:cubicBezTo>
                    <a:pt x="38218" y="22536"/>
                    <a:pt x="37892" y="22381"/>
                    <a:pt x="37840" y="22656"/>
                  </a:cubicBezTo>
                  <a:cubicBezTo>
                    <a:pt x="37496" y="23051"/>
                    <a:pt x="36775" y="22106"/>
                    <a:pt x="36775" y="22656"/>
                  </a:cubicBezTo>
                  <a:cubicBezTo>
                    <a:pt x="36620" y="22656"/>
                    <a:pt x="36225" y="22828"/>
                    <a:pt x="36277" y="22536"/>
                  </a:cubicBezTo>
                  <a:cubicBezTo>
                    <a:pt x="36277" y="22536"/>
                    <a:pt x="36277" y="22536"/>
                    <a:pt x="36140" y="22536"/>
                  </a:cubicBezTo>
                  <a:cubicBezTo>
                    <a:pt x="36002" y="22536"/>
                    <a:pt x="35951" y="22690"/>
                    <a:pt x="35933" y="22536"/>
                  </a:cubicBezTo>
                  <a:lnTo>
                    <a:pt x="35727" y="22536"/>
                  </a:lnTo>
                  <a:cubicBezTo>
                    <a:pt x="35727" y="22450"/>
                    <a:pt x="35951" y="22536"/>
                    <a:pt x="35951" y="22398"/>
                  </a:cubicBezTo>
                  <a:cubicBezTo>
                    <a:pt x="35951" y="22261"/>
                    <a:pt x="35556" y="22501"/>
                    <a:pt x="35762" y="22398"/>
                  </a:cubicBezTo>
                  <a:cubicBezTo>
                    <a:pt x="35521" y="22244"/>
                    <a:pt x="35762" y="22106"/>
                    <a:pt x="35401" y="22020"/>
                  </a:cubicBezTo>
                  <a:cubicBezTo>
                    <a:pt x="35040" y="21934"/>
                    <a:pt x="35401" y="21883"/>
                    <a:pt x="35401" y="21831"/>
                  </a:cubicBezTo>
                  <a:cubicBezTo>
                    <a:pt x="35401" y="21780"/>
                    <a:pt x="35401" y="21952"/>
                    <a:pt x="35573" y="21831"/>
                  </a:cubicBezTo>
                  <a:lnTo>
                    <a:pt x="35573" y="21831"/>
                  </a:lnTo>
                  <a:cubicBezTo>
                    <a:pt x="35573" y="21831"/>
                    <a:pt x="35710" y="21831"/>
                    <a:pt x="35676" y="21694"/>
                  </a:cubicBezTo>
                  <a:cubicBezTo>
                    <a:pt x="35641" y="21557"/>
                    <a:pt x="35504" y="21522"/>
                    <a:pt x="35676" y="21488"/>
                  </a:cubicBezTo>
                  <a:cubicBezTo>
                    <a:pt x="35195" y="21660"/>
                    <a:pt x="35435" y="20938"/>
                    <a:pt x="35779" y="21179"/>
                  </a:cubicBezTo>
                  <a:cubicBezTo>
                    <a:pt x="35779" y="21041"/>
                    <a:pt x="36071" y="21179"/>
                    <a:pt x="36225" y="21179"/>
                  </a:cubicBezTo>
                  <a:cubicBezTo>
                    <a:pt x="35916" y="21058"/>
                    <a:pt x="36363" y="21076"/>
                    <a:pt x="36397" y="20990"/>
                  </a:cubicBezTo>
                  <a:cubicBezTo>
                    <a:pt x="35676" y="20766"/>
                    <a:pt x="36775" y="20869"/>
                    <a:pt x="36827" y="20784"/>
                  </a:cubicBezTo>
                  <a:cubicBezTo>
                    <a:pt x="36964" y="20406"/>
                    <a:pt x="37479" y="20457"/>
                    <a:pt x="37788" y="20371"/>
                  </a:cubicBezTo>
                  <a:cubicBezTo>
                    <a:pt x="37788" y="20543"/>
                    <a:pt x="37960" y="20560"/>
                    <a:pt x="38063" y="20371"/>
                  </a:cubicBezTo>
                  <a:cubicBezTo>
                    <a:pt x="38166" y="20182"/>
                    <a:pt x="38201" y="20663"/>
                    <a:pt x="38287" y="20526"/>
                  </a:cubicBezTo>
                  <a:cubicBezTo>
                    <a:pt x="40760" y="21024"/>
                    <a:pt x="38991" y="19324"/>
                    <a:pt x="37857" y="19049"/>
                  </a:cubicBezTo>
                  <a:cubicBezTo>
                    <a:pt x="37857" y="19049"/>
                    <a:pt x="37857" y="19049"/>
                    <a:pt x="37857" y="18911"/>
                  </a:cubicBezTo>
                  <a:cubicBezTo>
                    <a:pt x="37857" y="18774"/>
                    <a:pt x="38063" y="18911"/>
                    <a:pt x="37977" y="18791"/>
                  </a:cubicBezTo>
                  <a:cubicBezTo>
                    <a:pt x="37892" y="18671"/>
                    <a:pt x="38201" y="18637"/>
                    <a:pt x="37977" y="18551"/>
                  </a:cubicBezTo>
                  <a:cubicBezTo>
                    <a:pt x="37754" y="18465"/>
                    <a:pt x="37874" y="18551"/>
                    <a:pt x="37857" y="18448"/>
                  </a:cubicBezTo>
                  <a:cubicBezTo>
                    <a:pt x="37840" y="18345"/>
                    <a:pt x="38029" y="18448"/>
                    <a:pt x="38029" y="18448"/>
                  </a:cubicBezTo>
                  <a:cubicBezTo>
                    <a:pt x="38029" y="18448"/>
                    <a:pt x="38166" y="18310"/>
                    <a:pt x="38132" y="18224"/>
                  </a:cubicBezTo>
                  <a:cubicBezTo>
                    <a:pt x="38098" y="18138"/>
                    <a:pt x="37651" y="18224"/>
                    <a:pt x="37548" y="18499"/>
                  </a:cubicBezTo>
                  <a:cubicBezTo>
                    <a:pt x="37548" y="18499"/>
                    <a:pt x="37445" y="18585"/>
                    <a:pt x="37359" y="18499"/>
                  </a:cubicBezTo>
                  <a:cubicBezTo>
                    <a:pt x="37273" y="18413"/>
                    <a:pt x="37256" y="18499"/>
                    <a:pt x="37204" y="18499"/>
                  </a:cubicBezTo>
                  <a:cubicBezTo>
                    <a:pt x="37153" y="18499"/>
                    <a:pt x="37204" y="18774"/>
                    <a:pt x="37204" y="18705"/>
                  </a:cubicBezTo>
                  <a:cubicBezTo>
                    <a:pt x="37204" y="18637"/>
                    <a:pt x="37204" y="18585"/>
                    <a:pt x="37204" y="18568"/>
                  </a:cubicBezTo>
                  <a:cubicBezTo>
                    <a:pt x="37204" y="18551"/>
                    <a:pt x="36964" y="18722"/>
                    <a:pt x="36878" y="18791"/>
                  </a:cubicBezTo>
                  <a:cubicBezTo>
                    <a:pt x="36792" y="18860"/>
                    <a:pt x="37170" y="18791"/>
                    <a:pt x="37136" y="18946"/>
                  </a:cubicBezTo>
                  <a:cubicBezTo>
                    <a:pt x="37101" y="19100"/>
                    <a:pt x="37136" y="18946"/>
                    <a:pt x="37136" y="18946"/>
                  </a:cubicBezTo>
                  <a:cubicBezTo>
                    <a:pt x="37136" y="18946"/>
                    <a:pt x="37136" y="19066"/>
                    <a:pt x="37325" y="19049"/>
                  </a:cubicBezTo>
                  <a:cubicBezTo>
                    <a:pt x="37514" y="19032"/>
                    <a:pt x="37016" y="18825"/>
                    <a:pt x="37084" y="18705"/>
                  </a:cubicBezTo>
                  <a:cubicBezTo>
                    <a:pt x="37153" y="18585"/>
                    <a:pt x="37273" y="18980"/>
                    <a:pt x="37393" y="19014"/>
                  </a:cubicBezTo>
                  <a:cubicBezTo>
                    <a:pt x="37514" y="19049"/>
                    <a:pt x="37393" y="19014"/>
                    <a:pt x="37514" y="19014"/>
                  </a:cubicBezTo>
                  <a:cubicBezTo>
                    <a:pt x="37634" y="19014"/>
                    <a:pt x="37617" y="18929"/>
                    <a:pt x="37685" y="18929"/>
                  </a:cubicBezTo>
                  <a:cubicBezTo>
                    <a:pt x="37754" y="18929"/>
                    <a:pt x="37685" y="19152"/>
                    <a:pt x="37462" y="19100"/>
                  </a:cubicBezTo>
                  <a:cubicBezTo>
                    <a:pt x="37239" y="19049"/>
                    <a:pt x="36861" y="19650"/>
                    <a:pt x="36912" y="19100"/>
                  </a:cubicBezTo>
                  <a:cubicBezTo>
                    <a:pt x="36775" y="18980"/>
                    <a:pt x="36466" y="19100"/>
                    <a:pt x="36758" y="18860"/>
                  </a:cubicBezTo>
                  <a:cubicBezTo>
                    <a:pt x="37050" y="18619"/>
                    <a:pt x="36620" y="18602"/>
                    <a:pt x="36500" y="18740"/>
                  </a:cubicBezTo>
                  <a:cubicBezTo>
                    <a:pt x="36380" y="18877"/>
                    <a:pt x="36311" y="18740"/>
                    <a:pt x="36380" y="18619"/>
                  </a:cubicBezTo>
                  <a:cubicBezTo>
                    <a:pt x="36449" y="18499"/>
                    <a:pt x="36191" y="18619"/>
                    <a:pt x="36157" y="18619"/>
                  </a:cubicBezTo>
                  <a:cubicBezTo>
                    <a:pt x="36122" y="18619"/>
                    <a:pt x="36380" y="18619"/>
                    <a:pt x="36449" y="18619"/>
                  </a:cubicBezTo>
                  <a:cubicBezTo>
                    <a:pt x="36396" y="18670"/>
                    <a:pt x="36313" y="18670"/>
                    <a:pt x="36260" y="18619"/>
                  </a:cubicBezTo>
                  <a:cubicBezTo>
                    <a:pt x="36260" y="18791"/>
                    <a:pt x="36122" y="18619"/>
                    <a:pt x="36088" y="18740"/>
                  </a:cubicBezTo>
                  <a:cubicBezTo>
                    <a:pt x="36054" y="18860"/>
                    <a:pt x="36088" y="18929"/>
                    <a:pt x="35916" y="18946"/>
                  </a:cubicBezTo>
                  <a:cubicBezTo>
                    <a:pt x="35744" y="18963"/>
                    <a:pt x="35916" y="19221"/>
                    <a:pt x="35796" y="19083"/>
                  </a:cubicBezTo>
                  <a:cubicBezTo>
                    <a:pt x="35916" y="19392"/>
                    <a:pt x="35796" y="19409"/>
                    <a:pt x="35607" y="19598"/>
                  </a:cubicBezTo>
                  <a:cubicBezTo>
                    <a:pt x="35418" y="19787"/>
                    <a:pt x="35607" y="19856"/>
                    <a:pt x="35607" y="19993"/>
                  </a:cubicBezTo>
                  <a:cubicBezTo>
                    <a:pt x="35607" y="20131"/>
                    <a:pt x="35401" y="20097"/>
                    <a:pt x="35470" y="20251"/>
                  </a:cubicBezTo>
                  <a:cubicBezTo>
                    <a:pt x="35538" y="20406"/>
                    <a:pt x="35607" y="20440"/>
                    <a:pt x="35607" y="20698"/>
                  </a:cubicBezTo>
                  <a:cubicBezTo>
                    <a:pt x="35607" y="20955"/>
                    <a:pt x="36054" y="20835"/>
                    <a:pt x="35899" y="20990"/>
                  </a:cubicBezTo>
                  <a:cubicBezTo>
                    <a:pt x="35744" y="21144"/>
                    <a:pt x="35435" y="21144"/>
                    <a:pt x="35212" y="21333"/>
                  </a:cubicBezTo>
                  <a:cubicBezTo>
                    <a:pt x="35212" y="21230"/>
                    <a:pt x="35212" y="21179"/>
                    <a:pt x="35315" y="21144"/>
                  </a:cubicBezTo>
                  <a:cubicBezTo>
                    <a:pt x="35109" y="21144"/>
                    <a:pt x="34851" y="20887"/>
                    <a:pt x="34731" y="21144"/>
                  </a:cubicBezTo>
                  <a:cubicBezTo>
                    <a:pt x="34559" y="21144"/>
                    <a:pt x="34611" y="21144"/>
                    <a:pt x="34491" y="21230"/>
                  </a:cubicBezTo>
                  <a:cubicBezTo>
                    <a:pt x="34370" y="21316"/>
                    <a:pt x="34491" y="21333"/>
                    <a:pt x="34611" y="21385"/>
                  </a:cubicBezTo>
                  <a:cubicBezTo>
                    <a:pt x="34731" y="21436"/>
                    <a:pt x="34422" y="21299"/>
                    <a:pt x="34439" y="21385"/>
                  </a:cubicBezTo>
                  <a:cubicBezTo>
                    <a:pt x="34456" y="21471"/>
                    <a:pt x="34559" y="21385"/>
                    <a:pt x="34439" y="21471"/>
                  </a:cubicBezTo>
                  <a:cubicBezTo>
                    <a:pt x="34319" y="21557"/>
                    <a:pt x="34164" y="21350"/>
                    <a:pt x="34439" y="21471"/>
                  </a:cubicBezTo>
                  <a:cubicBezTo>
                    <a:pt x="34302" y="21471"/>
                    <a:pt x="34250" y="21333"/>
                    <a:pt x="34164" y="21282"/>
                  </a:cubicBezTo>
                  <a:cubicBezTo>
                    <a:pt x="34078" y="21230"/>
                    <a:pt x="33924" y="21402"/>
                    <a:pt x="34164" y="21522"/>
                  </a:cubicBezTo>
                  <a:cubicBezTo>
                    <a:pt x="34405" y="21642"/>
                    <a:pt x="34542" y="21986"/>
                    <a:pt x="34164" y="21728"/>
                  </a:cubicBezTo>
                  <a:cubicBezTo>
                    <a:pt x="34164" y="21728"/>
                    <a:pt x="34164" y="21728"/>
                    <a:pt x="34164" y="21728"/>
                  </a:cubicBezTo>
                  <a:cubicBezTo>
                    <a:pt x="34164" y="21728"/>
                    <a:pt x="34164" y="21849"/>
                    <a:pt x="34164" y="21831"/>
                  </a:cubicBezTo>
                  <a:cubicBezTo>
                    <a:pt x="34353" y="21969"/>
                    <a:pt x="34680" y="22020"/>
                    <a:pt x="34662" y="22295"/>
                  </a:cubicBezTo>
                  <a:cubicBezTo>
                    <a:pt x="34542" y="22295"/>
                    <a:pt x="34473" y="22175"/>
                    <a:pt x="34336" y="22295"/>
                  </a:cubicBezTo>
                  <a:cubicBezTo>
                    <a:pt x="34199" y="22415"/>
                    <a:pt x="34645" y="22536"/>
                    <a:pt x="34456" y="22467"/>
                  </a:cubicBezTo>
                  <a:cubicBezTo>
                    <a:pt x="34267" y="22398"/>
                    <a:pt x="34456" y="22467"/>
                    <a:pt x="34456" y="22467"/>
                  </a:cubicBezTo>
                  <a:cubicBezTo>
                    <a:pt x="34456" y="22467"/>
                    <a:pt x="34456" y="22707"/>
                    <a:pt x="34456" y="22776"/>
                  </a:cubicBezTo>
                  <a:cubicBezTo>
                    <a:pt x="34456" y="22845"/>
                    <a:pt x="34216" y="22587"/>
                    <a:pt x="34250" y="22776"/>
                  </a:cubicBezTo>
                  <a:cubicBezTo>
                    <a:pt x="34250" y="22621"/>
                    <a:pt x="34147" y="22639"/>
                    <a:pt x="34078" y="22518"/>
                  </a:cubicBezTo>
                  <a:cubicBezTo>
                    <a:pt x="34010" y="22398"/>
                    <a:pt x="34078" y="22604"/>
                    <a:pt x="34078" y="22656"/>
                  </a:cubicBezTo>
                  <a:cubicBezTo>
                    <a:pt x="33988" y="22604"/>
                    <a:pt x="33946" y="22498"/>
                    <a:pt x="33975" y="22398"/>
                  </a:cubicBezTo>
                  <a:cubicBezTo>
                    <a:pt x="33855" y="22295"/>
                    <a:pt x="33666" y="22226"/>
                    <a:pt x="33855" y="22089"/>
                  </a:cubicBezTo>
                  <a:cubicBezTo>
                    <a:pt x="34044" y="21952"/>
                    <a:pt x="34199" y="22261"/>
                    <a:pt x="34353" y="22089"/>
                  </a:cubicBezTo>
                  <a:cubicBezTo>
                    <a:pt x="34216" y="22089"/>
                    <a:pt x="34061" y="21917"/>
                    <a:pt x="33958" y="22089"/>
                  </a:cubicBezTo>
                  <a:cubicBezTo>
                    <a:pt x="33855" y="22261"/>
                    <a:pt x="33838" y="21969"/>
                    <a:pt x="33786" y="22089"/>
                  </a:cubicBezTo>
                  <a:cubicBezTo>
                    <a:pt x="33546" y="21849"/>
                    <a:pt x="33374" y="21471"/>
                    <a:pt x="33065" y="21316"/>
                  </a:cubicBezTo>
                  <a:cubicBezTo>
                    <a:pt x="33065" y="21127"/>
                    <a:pt x="33065" y="20921"/>
                    <a:pt x="33065" y="20732"/>
                  </a:cubicBezTo>
                  <a:cubicBezTo>
                    <a:pt x="32859" y="20732"/>
                    <a:pt x="32739" y="20457"/>
                    <a:pt x="32584" y="20320"/>
                  </a:cubicBezTo>
                  <a:cubicBezTo>
                    <a:pt x="32429" y="20182"/>
                    <a:pt x="32326" y="20320"/>
                    <a:pt x="32275" y="20320"/>
                  </a:cubicBezTo>
                  <a:cubicBezTo>
                    <a:pt x="32223" y="20320"/>
                    <a:pt x="32275" y="20320"/>
                    <a:pt x="32395" y="20320"/>
                  </a:cubicBezTo>
                  <a:cubicBezTo>
                    <a:pt x="32515" y="20320"/>
                    <a:pt x="32103" y="20062"/>
                    <a:pt x="31931" y="20131"/>
                  </a:cubicBezTo>
                  <a:cubicBezTo>
                    <a:pt x="31759" y="20200"/>
                    <a:pt x="31416" y="19839"/>
                    <a:pt x="31742" y="19856"/>
                  </a:cubicBezTo>
                  <a:cubicBezTo>
                    <a:pt x="31347" y="19616"/>
                    <a:pt x="31536" y="19135"/>
                    <a:pt x="31175" y="19633"/>
                  </a:cubicBezTo>
                  <a:cubicBezTo>
                    <a:pt x="31175" y="19530"/>
                    <a:pt x="31038" y="19409"/>
                    <a:pt x="31175" y="19306"/>
                  </a:cubicBezTo>
                  <a:cubicBezTo>
                    <a:pt x="31313" y="19203"/>
                    <a:pt x="30832" y="19306"/>
                    <a:pt x="30746" y="19427"/>
                  </a:cubicBezTo>
                  <a:cubicBezTo>
                    <a:pt x="30746" y="19942"/>
                    <a:pt x="31347" y="20268"/>
                    <a:pt x="31656" y="20681"/>
                  </a:cubicBezTo>
                  <a:cubicBezTo>
                    <a:pt x="31811" y="20681"/>
                    <a:pt x="32223" y="20681"/>
                    <a:pt x="31983" y="20887"/>
                  </a:cubicBezTo>
                  <a:cubicBezTo>
                    <a:pt x="32223" y="21024"/>
                    <a:pt x="32979" y="21161"/>
                    <a:pt x="32807" y="21539"/>
                  </a:cubicBezTo>
                  <a:cubicBezTo>
                    <a:pt x="32653" y="21539"/>
                    <a:pt x="32807" y="21282"/>
                    <a:pt x="32532" y="21333"/>
                  </a:cubicBezTo>
                  <a:cubicBezTo>
                    <a:pt x="32258" y="21385"/>
                    <a:pt x="32258" y="21539"/>
                    <a:pt x="32309" y="21625"/>
                  </a:cubicBezTo>
                  <a:cubicBezTo>
                    <a:pt x="32670" y="21728"/>
                    <a:pt x="32309" y="21934"/>
                    <a:pt x="32309" y="22141"/>
                  </a:cubicBezTo>
                  <a:cubicBezTo>
                    <a:pt x="32309" y="22347"/>
                    <a:pt x="31845" y="22415"/>
                    <a:pt x="32086" y="22141"/>
                  </a:cubicBezTo>
                  <a:cubicBezTo>
                    <a:pt x="32197" y="21856"/>
                    <a:pt x="32069" y="21534"/>
                    <a:pt x="31794" y="21402"/>
                  </a:cubicBezTo>
                  <a:cubicBezTo>
                    <a:pt x="31639" y="21402"/>
                    <a:pt x="31794" y="21282"/>
                    <a:pt x="31656" y="21230"/>
                  </a:cubicBezTo>
                  <a:cubicBezTo>
                    <a:pt x="31518" y="21226"/>
                    <a:pt x="31393" y="21147"/>
                    <a:pt x="31330" y="21024"/>
                  </a:cubicBezTo>
                  <a:cubicBezTo>
                    <a:pt x="30317" y="21024"/>
                    <a:pt x="30145" y="18980"/>
                    <a:pt x="29080" y="20217"/>
                  </a:cubicBezTo>
                  <a:cubicBezTo>
                    <a:pt x="29080" y="20423"/>
                    <a:pt x="28736" y="20217"/>
                    <a:pt x="28633" y="20114"/>
                  </a:cubicBezTo>
                  <a:cubicBezTo>
                    <a:pt x="27568" y="19993"/>
                    <a:pt x="28633" y="20921"/>
                    <a:pt x="27448" y="21093"/>
                  </a:cubicBezTo>
                  <a:cubicBezTo>
                    <a:pt x="27534" y="21093"/>
                    <a:pt x="27448" y="21265"/>
                    <a:pt x="27448" y="21213"/>
                  </a:cubicBezTo>
                  <a:cubicBezTo>
                    <a:pt x="26744" y="21763"/>
                    <a:pt x="27448" y="21728"/>
                    <a:pt x="27191" y="22003"/>
                  </a:cubicBezTo>
                  <a:cubicBezTo>
                    <a:pt x="26950" y="22003"/>
                    <a:pt x="27070" y="22450"/>
                    <a:pt x="26847" y="22398"/>
                  </a:cubicBezTo>
                  <a:cubicBezTo>
                    <a:pt x="26418" y="22862"/>
                    <a:pt x="25919" y="22398"/>
                    <a:pt x="25421" y="22896"/>
                  </a:cubicBezTo>
                  <a:cubicBezTo>
                    <a:pt x="25095" y="22896"/>
                    <a:pt x="25147" y="22192"/>
                    <a:pt x="24700" y="22501"/>
                  </a:cubicBezTo>
                  <a:cubicBezTo>
                    <a:pt x="24700" y="22501"/>
                    <a:pt x="24494" y="22364"/>
                    <a:pt x="24408" y="22501"/>
                  </a:cubicBezTo>
                  <a:cubicBezTo>
                    <a:pt x="24426" y="22310"/>
                    <a:pt x="24460" y="22120"/>
                    <a:pt x="24511" y="21934"/>
                  </a:cubicBezTo>
                  <a:cubicBezTo>
                    <a:pt x="24185" y="21934"/>
                    <a:pt x="24511" y="21934"/>
                    <a:pt x="24511" y="21763"/>
                  </a:cubicBezTo>
                  <a:cubicBezTo>
                    <a:pt x="24099" y="22020"/>
                    <a:pt x="24614" y="21299"/>
                    <a:pt x="24631" y="21144"/>
                  </a:cubicBezTo>
                  <a:cubicBezTo>
                    <a:pt x="24648" y="20990"/>
                    <a:pt x="24631" y="20595"/>
                    <a:pt x="24734" y="20457"/>
                  </a:cubicBezTo>
                  <a:lnTo>
                    <a:pt x="24734" y="20457"/>
                  </a:lnTo>
                  <a:cubicBezTo>
                    <a:pt x="24734" y="20457"/>
                    <a:pt x="24734" y="20457"/>
                    <a:pt x="24734" y="20337"/>
                  </a:cubicBezTo>
                  <a:cubicBezTo>
                    <a:pt x="24734" y="20217"/>
                    <a:pt x="24734" y="20337"/>
                    <a:pt x="24734" y="20234"/>
                  </a:cubicBezTo>
                  <a:cubicBezTo>
                    <a:pt x="24734" y="20131"/>
                    <a:pt x="24940" y="20097"/>
                    <a:pt x="25026" y="20045"/>
                  </a:cubicBezTo>
                  <a:cubicBezTo>
                    <a:pt x="25112" y="19993"/>
                    <a:pt x="25404" y="20045"/>
                    <a:pt x="25490" y="20045"/>
                  </a:cubicBezTo>
                  <a:cubicBezTo>
                    <a:pt x="25851" y="20045"/>
                    <a:pt x="26246" y="20217"/>
                    <a:pt x="26607" y="20131"/>
                  </a:cubicBezTo>
                  <a:cubicBezTo>
                    <a:pt x="27242" y="20629"/>
                    <a:pt x="26847" y="18911"/>
                    <a:pt x="27276" y="19564"/>
                  </a:cubicBezTo>
                  <a:cubicBezTo>
                    <a:pt x="27276" y="19461"/>
                    <a:pt x="27173" y="19306"/>
                    <a:pt x="27053" y="19289"/>
                  </a:cubicBezTo>
                  <a:cubicBezTo>
                    <a:pt x="27225" y="19066"/>
                    <a:pt x="26899" y="19014"/>
                    <a:pt x="26813" y="18860"/>
                  </a:cubicBezTo>
                  <a:cubicBezTo>
                    <a:pt x="26727" y="18705"/>
                    <a:pt x="26813" y="18619"/>
                    <a:pt x="26950" y="18722"/>
                  </a:cubicBezTo>
                  <a:cubicBezTo>
                    <a:pt x="26847" y="18568"/>
                    <a:pt x="26727" y="18825"/>
                    <a:pt x="26727" y="18551"/>
                  </a:cubicBezTo>
                  <a:cubicBezTo>
                    <a:pt x="26607" y="18551"/>
                    <a:pt x="26400" y="18345"/>
                    <a:pt x="26229" y="18465"/>
                  </a:cubicBezTo>
                  <a:cubicBezTo>
                    <a:pt x="26057" y="18585"/>
                    <a:pt x="26229" y="18465"/>
                    <a:pt x="26229" y="18345"/>
                  </a:cubicBezTo>
                  <a:cubicBezTo>
                    <a:pt x="26229" y="18224"/>
                    <a:pt x="26332" y="18190"/>
                    <a:pt x="26229" y="18345"/>
                  </a:cubicBezTo>
                  <a:cubicBezTo>
                    <a:pt x="26126" y="18499"/>
                    <a:pt x="26229" y="18345"/>
                    <a:pt x="26229" y="18345"/>
                  </a:cubicBezTo>
                  <a:cubicBezTo>
                    <a:pt x="25851" y="18224"/>
                    <a:pt x="26435" y="18207"/>
                    <a:pt x="26555" y="18121"/>
                  </a:cubicBezTo>
                  <a:cubicBezTo>
                    <a:pt x="26692" y="18293"/>
                    <a:pt x="26795" y="18121"/>
                    <a:pt x="27019" y="18241"/>
                  </a:cubicBezTo>
                  <a:cubicBezTo>
                    <a:pt x="26989" y="18096"/>
                    <a:pt x="26949" y="17952"/>
                    <a:pt x="26899" y="17812"/>
                  </a:cubicBezTo>
                  <a:cubicBezTo>
                    <a:pt x="26899" y="17812"/>
                    <a:pt x="27053" y="17812"/>
                    <a:pt x="27105" y="17812"/>
                  </a:cubicBezTo>
                  <a:cubicBezTo>
                    <a:pt x="27156" y="17812"/>
                    <a:pt x="27397" y="18001"/>
                    <a:pt x="27500" y="17812"/>
                  </a:cubicBezTo>
                  <a:cubicBezTo>
                    <a:pt x="27259" y="17623"/>
                    <a:pt x="27775" y="17709"/>
                    <a:pt x="27775" y="17606"/>
                  </a:cubicBezTo>
                  <a:cubicBezTo>
                    <a:pt x="27775" y="17503"/>
                    <a:pt x="27860" y="17383"/>
                    <a:pt x="27895" y="17280"/>
                  </a:cubicBezTo>
                  <a:cubicBezTo>
                    <a:pt x="27929" y="17177"/>
                    <a:pt x="28204" y="16988"/>
                    <a:pt x="28444" y="17125"/>
                  </a:cubicBezTo>
                  <a:cubicBezTo>
                    <a:pt x="28273" y="17125"/>
                    <a:pt x="28221" y="16919"/>
                    <a:pt x="28444" y="17125"/>
                  </a:cubicBezTo>
                  <a:cubicBezTo>
                    <a:pt x="28668" y="17331"/>
                    <a:pt x="28324" y="17005"/>
                    <a:pt x="28547" y="17022"/>
                  </a:cubicBezTo>
                  <a:cubicBezTo>
                    <a:pt x="28187" y="16764"/>
                    <a:pt x="28925" y="16112"/>
                    <a:pt x="29286" y="16438"/>
                  </a:cubicBezTo>
                  <a:cubicBezTo>
                    <a:pt x="29028" y="16249"/>
                    <a:pt x="29389" y="16112"/>
                    <a:pt x="29458" y="16438"/>
                  </a:cubicBezTo>
                  <a:cubicBezTo>
                    <a:pt x="29458" y="16197"/>
                    <a:pt x="29458" y="16438"/>
                    <a:pt x="29595" y="16438"/>
                  </a:cubicBezTo>
                  <a:cubicBezTo>
                    <a:pt x="29441" y="16026"/>
                    <a:pt x="29750" y="16232"/>
                    <a:pt x="29956" y="16301"/>
                  </a:cubicBezTo>
                  <a:cubicBezTo>
                    <a:pt x="29389" y="16043"/>
                    <a:pt x="29544" y="15493"/>
                    <a:pt x="29389" y="15115"/>
                  </a:cubicBezTo>
                  <a:cubicBezTo>
                    <a:pt x="29630" y="15115"/>
                    <a:pt x="29527" y="14961"/>
                    <a:pt x="29664" y="15115"/>
                  </a:cubicBezTo>
                  <a:cubicBezTo>
                    <a:pt x="29664" y="14634"/>
                    <a:pt x="29836" y="15115"/>
                    <a:pt x="30025" y="15115"/>
                  </a:cubicBezTo>
                  <a:cubicBezTo>
                    <a:pt x="30025" y="15373"/>
                    <a:pt x="29527" y="15528"/>
                    <a:pt x="29922" y="16009"/>
                  </a:cubicBezTo>
                  <a:cubicBezTo>
                    <a:pt x="29922" y="15888"/>
                    <a:pt x="30334" y="16009"/>
                    <a:pt x="30059" y="16094"/>
                  </a:cubicBezTo>
                  <a:cubicBezTo>
                    <a:pt x="30591" y="16094"/>
                    <a:pt x="30385" y="15768"/>
                    <a:pt x="30883" y="16094"/>
                  </a:cubicBezTo>
                  <a:cubicBezTo>
                    <a:pt x="31124" y="16472"/>
                    <a:pt x="31656" y="15356"/>
                    <a:pt x="32103" y="15768"/>
                  </a:cubicBezTo>
                  <a:cubicBezTo>
                    <a:pt x="31828" y="15768"/>
                    <a:pt x="32103" y="16043"/>
                    <a:pt x="32326" y="15768"/>
                  </a:cubicBezTo>
                  <a:cubicBezTo>
                    <a:pt x="32299" y="15829"/>
                    <a:pt x="32250" y="15878"/>
                    <a:pt x="32189" y="15905"/>
                  </a:cubicBezTo>
                  <a:cubicBezTo>
                    <a:pt x="34078" y="15820"/>
                    <a:pt x="31656" y="15270"/>
                    <a:pt x="32704" y="14497"/>
                  </a:cubicBezTo>
                  <a:cubicBezTo>
                    <a:pt x="33082" y="15081"/>
                    <a:pt x="33202" y="14686"/>
                    <a:pt x="33031" y="14222"/>
                  </a:cubicBezTo>
                  <a:cubicBezTo>
                    <a:pt x="33031" y="14428"/>
                    <a:pt x="32739" y="14222"/>
                    <a:pt x="32842" y="14068"/>
                  </a:cubicBezTo>
                  <a:cubicBezTo>
                    <a:pt x="32532" y="14068"/>
                    <a:pt x="32842" y="13758"/>
                    <a:pt x="32842" y="13690"/>
                  </a:cubicBezTo>
                  <a:cubicBezTo>
                    <a:pt x="32842" y="13621"/>
                    <a:pt x="33082" y="13690"/>
                    <a:pt x="32979" y="13690"/>
                  </a:cubicBezTo>
                  <a:lnTo>
                    <a:pt x="33615" y="13793"/>
                  </a:lnTo>
                  <a:cubicBezTo>
                    <a:pt x="33426" y="13501"/>
                    <a:pt x="33615" y="13690"/>
                    <a:pt x="33752" y="13466"/>
                  </a:cubicBezTo>
                  <a:cubicBezTo>
                    <a:pt x="33889" y="13243"/>
                    <a:pt x="33305" y="13363"/>
                    <a:pt x="33546" y="13192"/>
                  </a:cubicBezTo>
                  <a:cubicBezTo>
                    <a:pt x="33546" y="13192"/>
                    <a:pt x="33426" y="13295"/>
                    <a:pt x="33408" y="13192"/>
                  </a:cubicBezTo>
                  <a:cubicBezTo>
                    <a:pt x="33408" y="13346"/>
                    <a:pt x="33099" y="13363"/>
                    <a:pt x="33031" y="13312"/>
                  </a:cubicBezTo>
                  <a:cubicBezTo>
                    <a:pt x="32962" y="13260"/>
                    <a:pt x="33031" y="13312"/>
                    <a:pt x="33031" y="13312"/>
                  </a:cubicBezTo>
                  <a:cubicBezTo>
                    <a:pt x="33031" y="13312"/>
                    <a:pt x="33031" y="13552"/>
                    <a:pt x="33031" y="13312"/>
                  </a:cubicBezTo>
                  <a:cubicBezTo>
                    <a:pt x="33031" y="13449"/>
                    <a:pt x="32601" y="13466"/>
                    <a:pt x="32567" y="13621"/>
                  </a:cubicBezTo>
                  <a:cubicBezTo>
                    <a:pt x="32567" y="13312"/>
                    <a:pt x="32412" y="13415"/>
                    <a:pt x="32172" y="13260"/>
                  </a:cubicBezTo>
                  <a:cubicBezTo>
                    <a:pt x="31931" y="13106"/>
                    <a:pt x="31691" y="12144"/>
                    <a:pt x="31914" y="12058"/>
                  </a:cubicBezTo>
                  <a:cubicBezTo>
                    <a:pt x="32137" y="11972"/>
                    <a:pt x="31914" y="11972"/>
                    <a:pt x="32017" y="12058"/>
                  </a:cubicBezTo>
                  <a:cubicBezTo>
                    <a:pt x="32120" y="12144"/>
                    <a:pt x="32017" y="11921"/>
                    <a:pt x="32017" y="11817"/>
                  </a:cubicBezTo>
                  <a:cubicBezTo>
                    <a:pt x="32017" y="11714"/>
                    <a:pt x="32240" y="11354"/>
                    <a:pt x="32309" y="11457"/>
                  </a:cubicBezTo>
                  <a:cubicBezTo>
                    <a:pt x="32103" y="11010"/>
                    <a:pt x="31708" y="11148"/>
                    <a:pt x="31502" y="11182"/>
                  </a:cubicBezTo>
                  <a:cubicBezTo>
                    <a:pt x="31622" y="11354"/>
                    <a:pt x="31502" y="11577"/>
                    <a:pt x="31656" y="11714"/>
                  </a:cubicBezTo>
                  <a:cubicBezTo>
                    <a:pt x="31532" y="12056"/>
                    <a:pt x="31318" y="12359"/>
                    <a:pt x="31038" y="12590"/>
                  </a:cubicBezTo>
                  <a:cubicBezTo>
                    <a:pt x="31158" y="12676"/>
                    <a:pt x="31038" y="12848"/>
                    <a:pt x="31175" y="12968"/>
                  </a:cubicBezTo>
                  <a:cubicBezTo>
                    <a:pt x="30883" y="13123"/>
                    <a:pt x="32189" y="13999"/>
                    <a:pt x="31382" y="13793"/>
                  </a:cubicBezTo>
                  <a:cubicBezTo>
                    <a:pt x="31382" y="13793"/>
                    <a:pt x="30901" y="13793"/>
                    <a:pt x="31210" y="13913"/>
                  </a:cubicBezTo>
                  <a:cubicBezTo>
                    <a:pt x="31519" y="14033"/>
                    <a:pt x="31811" y="14119"/>
                    <a:pt x="31485" y="14050"/>
                  </a:cubicBezTo>
                  <a:cubicBezTo>
                    <a:pt x="31485" y="14050"/>
                    <a:pt x="31485" y="14257"/>
                    <a:pt x="31364" y="14188"/>
                  </a:cubicBezTo>
                  <a:cubicBezTo>
                    <a:pt x="31244" y="14119"/>
                    <a:pt x="31467" y="14325"/>
                    <a:pt x="31364" y="14342"/>
                  </a:cubicBezTo>
                  <a:cubicBezTo>
                    <a:pt x="31485" y="14342"/>
                    <a:pt x="31519" y="14600"/>
                    <a:pt x="31364" y="14514"/>
                  </a:cubicBezTo>
                  <a:cubicBezTo>
                    <a:pt x="31502" y="14789"/>
                    <a:pt x="31519" y="15510"/>
                    <a:pt x="31090" y="15236"/>
                  </a:cubicBezTo>
                  <a:cubicBezTo>
                    <a:pt x="30815" y="16301"/>
                    <a:pt x="30059" y="14153"/>
                    <a:pt x="30162" y="14050"/>
                  </a:cubicBezTo>
                  <a:cubicBezTo>
                    <a:pt x="29990" y="13947"/>
                    <a:pt x="29939" y="13844"/>
                    <a:pt x="29939" y="13810"/>
                  </a:cubicBezTo>
                  <a:cubicBezTo>
                    <a:pt x="29958" y="13906"/>
                    <a:pt x="29958" y="14006"/>
                    <a:pt x="29939" y="14102"/>
                  </a:cubicBezTo>
                  <a:cubicBezTo>
                    <a:pt x="29939" y="14102"/>
                    <a:pt x="29939" y="14102"/>
                    <a:pt x="29733" y="13965"/>
                  </a:cubicBezTo>
                  <a:cubicBezTo>
                    <a:pt x="29733" y="14119"/>
                    <a:pt x="29733" y="14360"/>
                    <a:pt x="29595" y="14291"/>
                  </a:cubicBezTo>
                  <a:cubicBezTo>
                    <a:pt x="29733" y="14463"/>
                    <a:pt x="29286" y="14583"/>
                    <a:pt x="29183" y="14428"/>
                  </a:cubicBezTo>
                  <a:cubicBezTo>
                    <a:pt x="29080" y="14549"/>
                    <a:pt x="28651" y="14050"/>
                    <a:pt x="29183" y="14102"/>
                  </a:cubicBezTo>
                  <a:cubicBezTo>
                    <a:pt x="28960" y="14102"/>
                    <a:pt x="29183" y="13999"/>
                    <a:pt x="29011" y="13879"/>
                  </a:cubicBezTo>
                  <a:cubicBezTo>
                    <a:pt x="29011" y="14188"/>
                    <a:pt x="28771" y="13690"/>
                    <a:pt x="29011" y="13879"/>
                  </a:cubicBezTo>
                  <a:cubicBezTo>
                    <a:pt x="29252" y="14068"/>
                    <a:pt x="29011" y="13879"/>
                    <a:pt x="29166" y="13776"/>
                  </a:cubicBezTo>
                  <a:cubicBezTo>
                    <a:pt x="28960" y="13776"/>
                    <a:pt x="29166" y="13449"/>
                    <a:pt x="29166" y="13655"/>
                  </a:cubicBezTo>
                  <a:cubicBezTo>
                    <a:pt x="29118" y="13609"/>
                    <a:pt x="29118" y="13533"/>
                    <a:pt x="29164" y="13485"/>
                  </a:cubicBezTo>
                  <a:cubicBezTo>
                    <a:pt x="29165" y="13485"/>
                    <a:pt x="29165" y="13484"/>
                    <a:pt x="29166" y="13484"/>
                  </a:cubicBezTo>
                  <a:cubicBezTo>
                    <a:pt x="28943" y="13569"/>
                    <a:pt x="28822" y="13724"/>
                    <a:pt x="28943" y="13484"/>
                  </a:cubicBezTo>
                  <a:cubicBezTo>
                    <a:pt x="28788" y="13484"/>
                    <a:pt x="28736" y="13569"/>
                    <a:pt x="28943" y="13381"/>
                  </a:cubicBezTo>
                  <a:cubicBezTo>
                    <a:pt x="28599" y="13243"/>
                    <a:pt x="29544" y="13484"/>
                    <a:pt x="29355" y="13157"/>
                  </a:cubicBezTo>
                  <a:cubicBezTo>
                    <a:pt x="29355" y="13329"/>
                    <a:pt x="28582" y="13295"/>
                    <a:pt x="28994" y="13157"/>
                  </a:cubicBezTo>
                  <a:cubicBezTo>
                    <a:pt x="28651" y="13157"/>
                    <a:pt x="28994" y="13037"/>
                    <a:pt x="29183" y="13020"/>
                  </a:cubicBezTo>
                  <a:cubicBezTo>
                    <a:pt x="28822" y="13020"/>
                    <a:pt x="28754" y="12831"/>
                    <a:pt x="29046" y="12917"/>
                  </a:cubicBezTo>
                  <a:cubicBezTo>
                    <a:pt x="28960" y="12917"/>
                    <a:pt x="29046" y="12779"/>
                    <a:pt x="29183" y="12917"/>
                  </a:cubicBezTo>
                  <a:lnTo>
                    <a:pt x="29183" y="12797"/>
                  </a:lnTo>
                  <a:cubicBezTo>
                    <a:pt x="29183" y="12797"/>
                    <a:pt x="29183" y="12797"/>
                    <a:pt x="29441" y="12797"/>
                  </a:cubicBezTo>
                  <a:cubicBezTo>
                    <a:pt x="29114" y="12797"/>
                    <a:pt x="29303" y="12590"/>
                    <a:pt x="29578" y="12797"/>
                  </a:cubicBezTo>
                  <a:cubicBezTo>
                    <a:pt x="29217" y="12505"/>
                    <a:pt x="29578" y="12797"/>
                    <a:pt x="29578" y="12676"/>
                  </a:cubicBezTo>
                  <a:cubicBezTo>
                    <a:pt x="29578" y="12556"/>
                    <a:pt x="29922" y="12213"/>
                    <a:pt x="29767" y="12676"/>
                  </a:cubicBezTo>
                  <a:cubicBezTo>
                    <a:pt x="30007" y="12539"/>
                    <a:pt x="29973" y="12539"/>
                    <a:pt x="30059" y="12298"/>
                  </a:cubicBezTo>
                  <a:cubicBezTo>
                    <a:pt x="30145" y="12058"/>
                    <a:pt x="29784" y="12814"/>
                    <a:pt x="29801" y="12419"/>
                  </a:cubicBezTo>
                  <a:cubicBezTo>
                    <a:pt x="29664" y="12522"/>
                    <a:pt x="29801" y="12161"/>
                    <a:pt x="29801" y="12195"/>
                  </a:cubicBezTo>
                  <a:cubicBezTo>
                    <a:pt x="29801" y="12230"/>
                    <a:pt x="29990" y="12006"/>
                    <a:pt x="30145" y="11766"/>
                  </a:cubicBezTo>
                  <a:cubicBezTo>
                    <a:pt x="29990" y="11886"/>
                    <a:pt x="30059" y="11525"/>
                    <a:pt x="30145" y="11611"/>
                  </a:cubicBezTo>
                  <a:cubicBezTo>
                    <a:pt x="30231" y="11697"/>
                    <a:pt x="30145" y="11440"/>
                    <a:pt x="30145" y="11525"/>
                  </a:cubicBezTo>
                  <a:cubicBezTo>
                    <a:pt x="30042" y="11319"/>
                    <a:pt x="30145" y="11440"/>
                    <a:pt x="30145" y="11337"/>
                  </a:cubicBezTo>
                  <a:cubicBezTo>
                    <a:pt x="29939" y="11337"/>
                    <a:pt x="30145" y="11233"/>
                    <a:pt x="30025" y="11148"/>
                  </a:cubicBezTo>
                  <a:cubicBezTo>
                    <a:pt x="29904" y="11062"/>
                    <a:pt x="30025" y="10821"/>
                    <a:pt x="30334" y="10976"/>
                  </a:cubicBezTo>
                  <a:cubicBezTo>
                    <a:pt x="30179" y="10890"/>
                    <a:pt x="30111" y="10735"/>
                    <a:pt x="30334" y="10838"/>
                  </a:cubicBezTo>
                  <a:cubicBezTo>
                    <a:pt x="30557" y="10941"/>
                    <a:pt x="30162" y="10701"/>
                    <a:pt x="30334" y="10684"/>
                  </a:cubicBezTo>
                  <a:cubicBezTo>
                    <a:pt x="30042" y="10684"/>
                    <a:pt x="30334" y="10684"/>
                    <a:pt x="30334" y="10478"/>
                  </a:cubicBezTo>
                  <a:cubicBezTo>
                    <a:pt x="30523" y="10478"/>
                    <a:pt x="30488" y="10478"/>
                    <a:pt x="30506" y="10478"/>
                  </a:cubicBezTo>
                  <a:cubicBezTo>
                    <a:pt x="30918" y="10564"/>
                    <a:pt x="30214" y="10323"/>
                    <a:pt x="30506" y="10323"/>
                  </a:cubicBezTo>
                  <a:cubicBezTo>
                    <a:pt x="30506" y="10323"/>
                    <a:pt x="30506" y="10220"/>
                    <a:pt x="30506" y="10220"/>
                  </a:cubicBezTo>
                  <a:cubicBezTo>
                    <a:pt x="30506" y="10220"/>
                    <a:pt x="30506" y="9911"/>
                    <a:pt x="30609" y="10117"/>
                  </a:cubicBezTo>
                  <a:cubicBezTo>
                    <a:pt x="30712" y="10323"/>
                    <a:pt x="30609" y="10117"/>
                    <a:pt x="30609" y="10117"/>
                  </a:cubicBezTo>
                  <a:cubicBezTo>
                    <a:pt x="30385" y="9980"/>
                    <a:pt x="30609" y="10014"/>
                    <a:pt x="30609" y="10117"/>
                  </a:cubicBezTo>
                  <a:cubicBezTo>
                    <a:pt x="30609" y="10220"/>
                    <a:pt x="30609" y="9773"/>
                    <a:pt x="30609" y="10117"/>
                  </a:cubicBezTo>
                  <a:cubicBezTo>
                    <a:pt x="30609" y="9670"/>
                    <a:pt x="30609" y="10237"/>
                    <a:pt x="30798" y="10117"/>
                  </a:cubicBezTo>
                  <a:cubicBezTo>
                    <a:pt x="30609" y="9773"/>
                    <a:pt x="31021" y="10117"/>
                    <a:pt x="30798" y="9739"/>
                  </a:cubicBezTo>
                  <a:cubicBezTo>
                    <a:pt x="30901" y="9739"/>
                    <a:pt x="31038" y="9911"/>
                    <a:pt x="31124" y="9894"/>
                  </a:cubicBezTo>
                  <a:cubicBezTo>
                    <a:pt x="31210" y="9877"/>
                    <a:pt x="31124" y="9602"/>
                    <a:pt x="31124" y="9619"/>
                  </a:cubicBezTo>
                  <a:cubicBezTo>
                    <a:pt x="31124" y="9636"/>
                    <a:pt x="30969" y="9464"/>
                    <a:pt x="31124" y="9619"/>
                  </a:cubicBezTo>
                  <a:cubicBezTo>
                    <a:pt x="31279" y="9773"/>
                    <a:pt x="31124" y="9499"/>
                    <a:pt x="31124" y="9619"/>
                  </a:cubicBezTo>
                  <a:cubicBezTo>
                    <a:pt x="31244" y="9447"/>
                    <a:pt x="31279" y="10426"/>
                    <a:pt x="31261" y="9619"/>
                  </a:cubicBezTo>
                  <a:cubicBezTo>
                    <a:pt x="31536" y="10134"/>
                    <a:pt x="31261" y="9516"/>
                    <a:pt x="31450" y="9499"/>
                  </a:cubicBezTo>
                  <a:cubicBezTo>
                    <a:pt x="31639" y="9481"/>
                    <a:pt x="31450" y="9653"/>
                    <a:pt x="31553" y="9842"/>
                  </a:cubicBezTo>
                  <a:cubicBezTo>
                    <a:pt x="31656" y="10031"/>
                    <a:pt x="31639" y="9842"/>
                    <a:pt x="31674" y="9842"/>
                  </a:cubicBezTo>
                  <a:cubicBezTo>
                    <a:pt x="31502" y="9499"/>
                    <a:pt x="31863" y="9688"/>
                    <a:pt x="31845" y="9842"/>
                  </a:cubicBezTo>
                  <a:cubicBezTo>
                    <a:pt x="32172" y="9842"/>
                    <a:pt x="32051" y="10134"/>
                    <a:pt x="31742" y="10031"/>
                  </a:cubicBezTo>
                  <a:cubicBezTo>
                    <a:pt x="31845" y="10031"/>
                    <a:pt x="31948" y="10031"/>
                    <a:pt x="32000" y="10220"/>
                  </a:cubicBezTo>
                  <a:cubicBezTo>
                    <a:pt x="32051" y="10409"/>
                    <a:pt x="32120" y="10083"/>
                    <a:pt x="32275" y="10220"/>
                  </a:cubicBezTo>
                  <a:cubicBezTo>
                    <a:pt x="32275" y="10100"/>
                    <a:pt x="32275" y="10117"/>
                    <a:pt x="32275" y="10048"/>
                  </a:cubicBezTo>
                  <a:cubicBezTo>
                    <a:pt x="32275" y="9980"/>
                    <a:pt x="32653" y="10306"/>
                    <a:pt x="32378" y="10048"/>
                  </a:cubicBezTo>
                  <a:cubicBezTo>
                    <a:pt x="32378" y="10237"/>
                    <a:pt x="32567" y="10048"/>
                    <a:pt x="32584" y="10220"/>
                  </a:cubicBezTo>
                  <a:cubicBezTo>
                    <a:pt x="32601" y="10392"/>
                    <a:pt x="33220" y="10220"/>
                    <a:pt x="33683" y="10529"/>
                  </a:cubicBezTo>
                  <a:cubicBezTo>
                    <a:pt x="33563" y="10392"/>
                    <a:pt x="34044" y="10735"/>
                    <a:pt x="33804" y="10529"/>
                  </a:cubicBezTo>
                  <a:cubicBezTo>
                    <a:pt x="34697" y="10838"/>
                    <a:pt x="34611" y="11852"/>
                    <a:pt x="33597" y="11354"/>
                  </a:cubicBezTo>
                  <a:cubicBezTo>
                    <a:pt x="33477" y="11354"/>
                    <a:pt x="33477" y="11354"/>
                    <a:pt x="33426" y="11354"/>
                  </a:cubicBezTo>
                  <a:cubicBezTo>
                    <a:pt x="33374" y="11354"/>
                    <a:pt x="32910" y="11096"/>
                    <a:pt x="33065" y="11354"/>
                  </a:cubicBezTo>
                  <a:cubicBezTo>
                    <a:pt x="33220" y="11611"/>
                    <a:pt x="33460" y="11491"/>
                    <a:pt x="33357" y="11663"/>
                  </a:cubicBezTo>
                  <a:cubicBezTo>
                    <a:pt x="33632" y="11663"/>
                    <a:pt x="34834" y="13277"/>
                    <a:pt x="34576" y="12333"/>
                  </a:cubicBezTo>
                  <a:cubicBezTo>
                    <a:pt x="34388" y="12505"/>
                    <a:pt x="34113" y="12058"/>
                    <a:pt x="34250" y="12006"/>
                  </a:cubicBezTo>
                  <a:cubicBezTo>
                    <a:pt x="35693" y="12917"/>
                    <a:pt x="33975" y="11148"/>
                    <a:pt x="34972" y="11474"/>
                  </a:cubicBezTo>
                  <a:cubicBezTo>
                    <a:pt x="34972" y="11337"/>
                    <a:pt x="35092" y="11474"/>
                    <a:pt x="35143" y="11474"/>
                  </a:cubicBezTo>
                  <a:cubicBezTo>
                    <a:pt x="34895" y="11040"/>
                    <a:pt x="34569" y="10656"/>
                    <a:pt x="34181" y="10340"/>
                  </a:cubicBezTo>
                  <a:cubicBezTo>
                    <a:pt x="34491" y="10340"/>
                    <a:pt x="34972" y="10443"/>
                    <a:pt x="34800" y="10753"/>
                  </a:cubicBezTo>
                  <a:cubicBezTo>
                    <a:pt x="35195" y="11354"/>
                    <a:pt x="35349" y="10753"/>
                    <a:pt x="35143" y="10529"/>
                  </a:cubicBezTo>
                  <a:cubicBezTo>
                    <a:pt x="35315" y="10529"/>
                    <a:pt x="35143" y="9945"/>
                    <a:pt x="35401" y="10289"/>
                  </a:cubicBezTo>
                  <a:cubicBezTo>
                    <a:pt x="35401" y="10186"/>
                    <a:pt x="35178" y="9980"/>
                    <a:pt x="35401" y="10151"/>
                  </a:cubicBezTo>
                  <a:cubicBezTo>
                    <a:pt x="35229" y="9705"/>
                    <a:pt x="35521" y="10151"/>
                    <a:pt x="35727" y="10306"/>
                  </a:cubicBezTo>
                  <a:cubicBezTo>
                    <a:pt x="35727" y="10203"/>
                    <a:pt x="35727" y="10169"/>
                    <a:pt x="35727" y="10306"/>
                  </a:cubicBezTo>
                  <a:cubicBezTo>
                    <a:pt x="35504" y="10048"/>
                    <a:pt x="35882" y="10134"/>
                    <a:pt x="35830" y="9842"/>
                  </a:cubicBezTo>
                  <a:cubicBezTo>
                    <a:pt x="35951" y="9997"/>
                    <a:pt x="36311" y="10272"/>
                    <a:pt x="36019" y="9945"/>
                  </a:cubicBezTo>
                  <a:cubicBezTo>
                    <a:pt x="36191" y="9945"/>
                    <a:pt x="35916" y="9791"/>
                    <a:pt x="36122" y="9945"/>
                  </a:cubicBezTo>
                  <a:cubicBezTo>
                    <a:pt x="36035" y="9882"/>
                    <a:pt x="35943" y="9824"/>
                    <a:pt x="35848" y="9773"/>
                  </a:cubicBezTo>
                  <a:lnTo>
                    <a:pt x="35848" y="9773"/>
                  </a:lnTo>
                  <a:cubicBezTo>
                    <a:pt x="35057" y="9155"/>
                    <a:pt x="36586" y="9619"/>
                    <a:pt x="36981" y="9894"/>
                  </a:cubicBezTo>
                  <a:cubicBezTo>
                    <a:pt x="36792" y="9619"/>
                    <a:pt x="36517" y="9567"/>
                    <a:pt x="36260" y="9361"/>
                  </a:cubicBezTo>
                  <a:lnTo>
                    <a:pt x="36260" y="9361"/>
                  </a:lnTo>
                  <a:cubicBezTo>
                    <a:pt x="36260" y="9361"/>
                    <a:pt x="36260" y="9361"/>
                    <a:pt x="36140" y="9361"/>
                  </a:cubicBezTo>
                  <a:lnTo>
                    <a:pt x="36140" y="9361"/>
                  </a:lnTo>
                  <a:lnTo>
                    <a:pt x="35882" y="9155"/>
                  </a:lnTo>
                  <a:cubicBezTo>
                    <a:pt x="36019" y="9155"/>
                    <a:pt x="35624" y="8983"/>
                    <a:pt x="35727" y="8983"/>
                  </a:cubicBezTo>
                  <a:cubicBezTo>
                    <a:pt x="35504" y="8880"/>
                    <a:pt x="34353" y="7918"/>
                    <a:pt x="34594" y="7884"/>
                  </a:cubicBezTo>
                  <a:cubicBezTo>
                    <a:pt x="35435" y="8193"/>
                    <a:pt x="36311" y="9086"/>
                    <a:pt x="37136" y="9602"/>
                  </a:cubicBezTo>
                  <a:lnTo>
                    <a:pt x="37136" y="9602"/>
                  </a:lnTo>
                  <a:cubicBezTo>
                    <a:pt x="37389" y="9800"/>
                    <a:pt x="37614" y="10031"/>
                    <a:pt x="37806" y="10289"/>
                  </a:cubicBezTo>
                  <a:lnTo>
                    <a:pt x="37806" y="10289"/>
                  </a:lnTo>
                  <a:cubicBezTo>
                    <a:pt x="37995" y="10409"/>
                    <a:pt x="37977" y="10581"/>
                    <a:pt x="37806" y="10289"/>
                  </a:cubicBezTo>
                  <a:cubicBezTo>
                    <a:pt x="37806" y="10289"/>
                    <a:pt x="37479" y="10289"/>
                    <a:pt x="37703" y="10426"/>
                  </a:cubicBezTo>
                  <a:cubicBezTo>
                    <a:pt x="38939" y="10701"/>
                    <a:pt x="37256" y="9619"/>
                    <a:pt x="37101" y="9275"/>
                  </a:cubicBezTo>
                  <a:cubicBezTo>
                    <a:pt x="37101" y="9275"/>
                    <a:pt x="37101" y="9275"/>
                    <a:pt x="37101" y="9275"/>
                  </a:cubicBezTo>
                  <a:cubicBezTo>
                    <a:pt x="36284" y="8916"/>
                    <a:pt x="35525" y="8435"/>
                    <a:pt x="34851" y="7850"/>
                  </a:cubicBezTo>
                  <a:cubicBezTo>
                    <a:pt x="35229" y="8021"/>
                    <a:pt x="35573" y="8399"/>
                    <a:pt x="35933" y="8451"/>
                  </a:cubicBezTo>
                  <a:cubicBezTo>
                    <a:pt x="35796" y="8262"/>
                    <a:pt x="36208" y="8571"/>
                    <a:pt x="36105" y="8451"/>
                  </a:cubicBezTo>
                  <a:cubicBezTo>
                    <a:pt x="35827" y="8436"/>
                    <a:pt x="35564" y="8320"/>
                    <a:pt x="35367" y="8125"/>
                  </a:cubicBezTo>
                  <a:cubicBezTo>
                    <a:pt x="35727" y="8279"/>
                    <a:pt x="35367" y="8125"/>
                    <a:pt x="35367" y="8039"/>
                  </a:cubicBezTo>
                  <a:lnTo>
                    <a:pt x="35367" y="8039"/>
                  </a:lnTo>
                  <a:cubicBezTo>
                    <a:pt x="34886" y="7455"/>
                    <a:pt x="37084" y="8880"/>
                    <a:pt x="36363" y="8331"/>
                  </a:cubicBezTo>
                  <a:cubicBezTo>
                    <a:pt x="36637" y="8531"/>
                    <a:pt x="36938" y="8693"/>
                    <a:pt x="37256" y="8812"/>
                  </a:cubicBezTo>
                  <a:cubicBezTo>
                    <a:pt x="36947" y="8605"/>
                    <a:pt x="37256" y="8691"/>
                    <a:pt x="37428" y="8812"/>
                  </a:cubicBezTo>
                  <a:cubicBezTo>
                    <a:pt x="37325" y="8709"/>
                    <a:pt x="37033" y="8588"/>
                    <a:pt x="37101" y="8709"/>
                  </a:cubicBezTo>
                  <a:cubicBezTo>
                    <a:pt x="36569" y="8468"/>
                    <a:pt x="36019" y="8056"/>
                    <a:pt x="35384" y="7798"/>
                  </a:cubicBezTo>
                  <a:cubicBezTo>
                    <a:pt x="35212" y="7798"/>
                    <a:pt x="34405" y="7403"/>
                    <a:pt x="34525" y="7231"/>
                  </a:cubicBezTo>
                  <a:cubicBezTo>
                    <a:pt x="34284" y="6922"/>
                    <a:pt x="34697" y="7334"/>
                    <a:pt x="34851" y="7317"/>
                  </a:cubicBezTo>
                  <a:cubicBezTo>
                    <a:pt x="34628" y="7317"/>
                    <a:pt x="34491" y="7042"/>
                    <a:pt x="34267" y="7008"/>
                  </a:cubicBezTo>
                  <a:cubicBezTo>
                    <a:pt x="34044" y="6974"/>
                    <a:pt x="34061" y="7008"/>
                    <a:pt x="34027" y="6922"/>
                  </a:cubicBezTo>
                  <a:cubicBezTo>
                    <a:pt x="33992" y="6836"/>
                    <a:pt x="34130" y="6922"/>
                    <a:pt x="34027" y="6922"/>
                  </a:cubicBezTo>
                  <a:cubicBezTo>
                    <a:pt x="33924" y="6922"/>
                    <a:pt x="33838" y="6836"/>
                    <a:pt x="33872" y="6922"/>
                  </a:cubicBezTo>
                  <a:cubicBezTo>
                    <a:pt x="33907" y="7008"/>
                    <a:pt x="33683" y="6802"/>
                    <a:pt x="33872" y="6922"/>
                  </a:cubicBezTo>
                  <a:lnTo>
                    <a:pt x="33615" y="6768"/>
                  </a:lnTo>
                  <a:cubicBezTo>
                    <a:pt x="33615" y="6768"/>
                    <a:pt x="33615" y="6768"/>
                    <a:pt x="33615" y="6768"/>
                  </a:cubicBezTo>
                  <a:lnTo>
                    <a:pt x="33168" y="6458"/>
                  </a:lnTo>
                  <a:lnTo>
                    <a:pt x="33168" y="6458"/>
                  </a:lnTo>
                  <a:cubicBezTo>
                    <a:pt x="33086" y="6395"/>
                    <a:pt x="33000" y="6338"/>
                    <a:pt x="32910" y="6287"/>
                  </a:cubicBezTo>
                  <a:lnTo>
                    <a:pt x="32910" y="6287"/>
                  </a:lnTo>
                  <a:lnTo>
                    <a:pt x="32910" y="6287"/>
                  </a:lnTo>
                  <a:lnTo>
                    <a:pt x="32910" y="6287"/>
                  </a:lnTo>
                  <a:lnTo>
                    <a:pt x="32687" y="6184"/>
                  </a:lnTo>
                  <a:lnTo>
                    <a:pt x="32687" y="6184"/>
                  </a:lnTo>
                  <a:cubicBezTo>
                    <a:pt x="32687" y="6184"/>
                    <a:pt x="32515" y="6184"/>
                    <a:pt x="32687" y="6184"/>
                  </a:cubicBezTo>
                  <a:lnTo>
                    <a:pt x="32687" y="6184"/>
                  </a:lnTo>
                  <a:lnTo>
                    <a:pt x="32687" y="6184"/>
                  </a:lnTo>
                  <a:lnTo>
                    <a:pt x="32962" y="6287"/>
                  </a:lnTo>
                  <a:lnTo>
                    <a:pt x="32739" y="6184"/>
                  </a:lnTo>
                  <a:lnTo>
                    <a:pt x="32893" y="6184"/>
                  </a:lnTo>
                  <a:lnTo>
                    <a:pt x="32807" y="6184"/>
                  </a:lnTo>
                  <a:cubicBezTo>
                    <a:pt x="32762" y="6174"/>
                    <a:pt x="32715" y="6174"/>
                    <a:pt x="32670" y="6184"/>
                  </a:cubicBezTo>
                  <a:lnTo>
                    <a:pt x="32670" y="6184"/>
                  </a:lnTo>
                  <a:cubicBezTo>
                    <a:pt x="32625" y="6193"/>
                    <a:pt x="32578" y="6193"/>
                    <a:pt x="32532" y="6184"/>
                  </a:cubicBezTo>
                  <a:lnTo>
                    <a:pt x="32876" y="6304"/>
                  </a:lnTo>
                  <a:cubicBezTo>
                    <a:pt x="32750" y="6242"/>
                    <a:pt x="32618" y="6196"/>
                    <a:pt x="32481" y="6166"/>
                  </a:cubicBezTo>
                  <a:lnTo>
                    <a:pt x="32481" y="6166"/>
                  </a:lnTo>
                  <a:cubicBezTo>
                    <a:pt x="32481" y="6166"/>
                    <a:pt x="32292" y="6166"/>
                    <a:pt x="32343" y="6166"/>
                  </a:cubicBezTo>
                  <a:cubicBezTo>
                    <a:pt x="32395" y="6166"/>
                    <a:pt x="32343" y="6166"/>
                    <a:pt x="32343" y="6166"/>
                  </a:cubicBezTo>
                  <a:lnTo>
                    <a:pt x="32343" y="6166"/>
                  </a:lnTo>
                  <a:lnTo>
                    <a:pt x="32206" y="6166"/>
                  </a:lnTo>
                  <a:lnTo>
                    <a:pt x="32206" y="6166"/>
                  </a:lnTo>
                  <a:lnTo>
                    <a:pt x="31742" y="6029"/>
                  </a:lnTo>
                  <a:lnTo>
                    <a:pt x="31742" y="6029"/>
                  </a:lnTo>
                  <a:cubicBezTo>
                    <a:pt x="31571" y="6029"/>
                    <a:pt x="30763" y="5720"/>
                    <a:pt x="30952" y="5754"/>
                  </a:cubicBezTo>
                  <a:lnTo>
                    <a:pt x="30952" y="5754"/>
                  </a:lnTo>
                  <a:lnTo>
                    <a:pt x="31055" y="5754"/>
                  </a:lnTo>
                  <a:lnTo>
                    <a:pt x="31055" y="5754"/>
                  </a:lnTo>
                  <a:cubicBezTo>
                    <a:pt x="31244" y="5754"/>
                    <a:pt x="31416" y="5857"/>
                    <a:pt x="31605" y="5909"/>
                  </a:cubicBezTo>
                  <a:lnTo>
                    <a:pt x="31416" y="5909"/>
                  </a:lnTo>
                  <a:lnTo>
                    <a:pt x="31588" y="5909"/>
                  </a:lnTo>
                  <a:lnTo>
                    <a:pt x="31485" y="5909"/>
                  </a:lnTo>
                  <a:cubicBezTo>
                    <a:pt x="31588" y="5909"/>
                    <a:pt x="31364" y="5909"/>
                    <a:pt x="31485" y="5909"/>
                  </a:cubicBezTo>
                  <a:lnTo>
                    <a:pt x="31485" y="5909"/>
                  </a:lnTo>
                  <a:cubicBezTo>
                    <a:pt x="31794" y="5995"/>
                    <a:pt x="32481" y="6201"/>
                    <a:pt x="31811" y="5909"/>
                  </a:cubicBezTo>
                  <a:lnTo>
                    <a:pt x="31811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2292" y="6046"/>
                  </a:lnTo>
                  <a:lnTo>
                    <a:pt x="32051" y="6046"/>
                  </a:lnTo>
                  <a:lnTo>
                    <a:pt x="32378" y="6046"/>
                  </a:lnTo>
                  <a:lnTo>
                    <a:pt x="32635" y="6046"/>
                  </a:lnTo>
                  <a:lnTo>
                    <a:pt x="32635" y="6046"/>
                  </a:lnTo>
                  <a:cubicBezTo>
                    <a:pt x="32412" y="6046"/>
                    <a:pt x="32635" y="6046"/>
                    <a:pt x="32773" y="6046"/>
                  </a:cubicBezTo>
                  <a:lnTo>
                    <a:pt x="32773" y="6046"/>
                  </a:lnTo>
                  <a:lnTo>
                    <a:pt x="32773" y="6046"/>
                  </a:lnTo>
                  <a:cubicBezTo>
                    <a:pt x="33198" y="6156"/>
                    <a:pt x="33612" y="6306"/>
                    <a:pt x="34010" y="6493"/>
                  </a:cubicBezTo>
                  <a:cubicBezTo>
                    <a:pt x="34010" y="6493"/>
                    <a:pt x="34010" y="6493"/>
                    <a:pt x="34010" y="6493"/>
                  </a:cubicBezTo>
                  <a:cubicBezTo>
                    <a:pt x="34010" y="6493"/>
                    <a:pt x="34456" y="6665"/>
                    <a:pt x="34645" y="6768"/>
                  </a:cubicBezTo>
                  <a:lnTo>
                    <a:pt x="34645" y="6768"/>
                  </a:lnTo>
                  <a:lnTo>
                    <a:pt x="35470" y="7163"/>
                  </a:lnTo>
                  <a:cubicBezTo>
                    <a:pt x="35212" y="7025"/>
                    <a:pt x="34954" y="6871"/>
                    <a:pt x="34662" y="6733"/>
                  </a:cubicBezTo>
                  <a:lnTo>
                    <a:pt x="34662" y="6733"/>
                  </a:lnTo>
                  <a:lnTo>
                    <a:pt x="34353" y="6596"/>
                  </a:lnTo>
                  <a:lnTo>
                    <a:pt x="34491" y="6596"/>
                  </a:lnTo>
                  <a:cubicBezTo>
                    <a:pt x="34491" y="6596"/>
                    <a:pt x="34044" y="6441"/>
                    <a:pt x="34250" y="6493"/>
                  </a:cubicBezTo>
                  <a:lnTo>
                    <a:pt x="34113" y="6493"/>
                  </a:lnTo>
                  <a:lnTo>
                    <a:pt x="34422" y="6596"/>
                  </a:lnTo>
                  <a:cubicBezTo>
                    <a:pt x="34327" y="6538"/>
                    <a:pt x="34222" y="6497"/>
                    <a:pt x="34113" y="6476"/>
                  </a:cubicBezTo>
                  <a:cubicBezTo>
                    <a:pt x="34287" y="6517"/>
                    <a:pt x="34459" y="6568"/>
                    <a:pt x="34628" y="6630"/>
                  </a:cubicBezTo>
                  <a:lnTo>
                    <a:pt x="34473" y="6630"/>
                  </a:lnTo>
                  <a:lnTo>
                    <a:pt x="34473" y="6630"/>
                  </a:lnTo>
                  <a:lnTo>
                    <a:pt x="33700" y="4827"/>
                  </a:lnTo>
                  <a:cubicBezTo>
                    <a:pt x="42679" y="7791"/>
                    <a:pt x="48892" y="15993"/>
                    <a:pt x="49314" y="25438"/>
                  </a:cubicBezTo>
                  <a:cubicBezTo>
                    <a:pt x="49301" y="25780"/>
                    <a:pt x="49255" y="26119"/>
                    <a:pt x="49177" y="26452"/>
                  </a:cubicBezTo>
                  <a:cubicBezTo>
                    <a:pt x="49245" y="26349"/>
                    <a:pt x="49159" y="26538"/>
                    <a:pt x="49159" y="26589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4" name="Google Shape;54;p68"/>
            <p:cNvSpPr/>
            <p:nvPr/>
          </p:nvSpPr>
          <p:spPr>
            <a:xfrm rot="-5400000">
              <a:off x="12026199" y="6563439"/>
              <a:ext cx="13277" cy="68070"/>
            </a:xfrm>
            <a:custGeom>
              <a:avLst/>
              <a:gdLst/>
              <a:ahLst/>
              <a:cxnLst/>
              <a:rect l="l" t="t" r="r" b="b"/>
              <a:pathLst>
                <a:path w="13277" h="68070" extrusionOk="0">
                  <a:moveTo>
                    <a:pt x="13277" y="12024"/>
                  </a:moveTo>
                  <a:lnTo>
                    <a:pt x="0" y="12024"/>
                  </a:lnTo>
                  <a:lnTo>
                    <a:pt x="0" y="0"/>
                  </a:lnTo>
                  <a:lnTo>
                    <a:pt x="13277" y="0"/>
                  </a:lnTo>
                  <a:close/>
                  <a:moveTo>
                    <a:pt x="0" y="17984"/>
                  </a:moveTo>
                  <a:lnTo>
                    <a:pt x="13277" y="17984"/>
                  </a:lnTo>
                  <a:lnTo>
                    <a:pt x="13277" y="68070"/>
                  </a:lnTo>
                  <a:lnTo>
                    <a:pt x="0" y="6807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5" name="Google Shape;55;p68"/>
            <p:cNvSpPr/>
            <p:nvPr/>
          </p:nvSpPr>
          <p:spPr>
            <a:xfrm rot="-5400000">
              <a:off x="12018640" y="6529825"/>
              <a:ext cx="45208" cy="51256"/>
            </a:xfrm>
            <a:custGeom>
              <a:avLst/>
              <a:gdLst/>
              <a:ahLst/>
              <a:cxnLst/>
              <a:rect l="l" t="t" r="r" b="b"/>
              <a:pathLst>
                <a:path w="45208" h="51256" extrusionOk="0">
                  <a:moveTo>
                    <a:pt x="40279" y="4038"/>
                  </a:moveTo>
                  <a:cubicBezTo>
                    <a:pt x="43565" y="6752"/>
                    <a:pt x="45209" y="11246"/>
                    <a:pt x="45209" y="17521"/>
                  </a:cubicBezTo>
                  <a:lnTo>
                    <a:pt x="45209" y="51256"/>
                  </a:lnTo>
                  <a:lnTo>
                    <a:pt x="31794" y="51256"/>
                  </a:lnTo>
                  <a:lnTo>
                    <a:pt x="31794" y="20785"/>
                  </a:lnTo>
                  <a:cubicBezTo>
                    <a:pt x="31892" y="18712"/>
                    <a:pt x="31535" y="16642"/>
                    <a:pt x="30746" y="14722"/>
                  </a:cubicBezTo>
                  <a:cubicBezTo>
                    <a:pt x="29458" y="12162"/>
                    <a:pt x="27036" y="10874"/>
                    <a:pt x="23446" y="10874"/>
                  </a:cubicBezTo>
                  <a:cubicBezTo>
                    <a:pt x="19509" y="10574"/>
                    <a:pt x="15832" y="12861"/>
                    <a:pt x="14360" y="16525"/>
                  </a:cubicBezTo>
                  <a:cubicBezTo>
                    <a:pt x="13437" y="18959"/>
                    <a:pt x="13005" y="21550"/>
                    <a:pt x="13089" y="24152"/>
                  </a:cubicBezTo>
                  <a:lnTo>
                    <a:pt x="13089" y="51256"/>
                  </a:lnTo>
                  <a:lnTo>
                    <a:pt x="0" y="51256"/>
                  </a:lnTo>
                  <a:lnTo>
                    <a:pt x="0" y="1272"/>
                  </a:lnTo>
                  <a:lnTo>
                    <a:pt x="12676" y="1272"/>
                  </a:lnTo>
                  <a:lnTo>
                    <a:pt x="12676" y="8607"/>
                  </a:lnTo>
                  <a:cubicBezTo>
                    <a:pt x="13939" y="6498"/>
                    <a:pt x="15548" y="4617"/>
                    <a:pt x="17434" y="3042"/>
                  </a:cubicBezTo>
                  <a:cubicBezTo>
                    <a:pt x="20409" y="938"/>
                    <a:pt x="23996" y="-125"/>
                    <a:pt x="27637" y="19"/>
                  </a:cubicBezTo>
                  <a:cubicBezTo>
                    <a:pt x="32194" y="-181"/>
                    <a:pt x="36674" y="1243"/>
                    <a:pt x="40279" y="403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6" name="Google Shape;56;p68"/>
            <p:cNvSpPr/>
            <p:nvPr/>
          </p:nvSpPr>
          <p:spPr>
            <a:xfrm rot="-5400000">
              <a:off x="12018195" y="6477145"/>
              <a:ext cx="28942" cy="68414"/>
            </a:xfrm>
            <a:custGeom>
              <a:avLst/>
              <a:gdLst/>
              <a:ahLst/>
              <a:cxnLst/>
              <a:rect l="l" t="t" r="r" b="b"/>
              <a:pathLst>
                <a:path w="28942" h="68414" extrusionOk="0">
                  <a:moveTo>
                    <a:pt x="25868" y="0"/>
                  </a:moveTo>
                  <a:lnTo>
                    <a:pt x="28616" y="206"/>
                  </a:lnTo>
                  <a:lnTo>
                    <a:pt x="28616" y="10941"/>
                  </a:lnTo>
                  <a:cubicBezTo>
                    <a:pt x="27390" y="10808"/>
                    <a:pt x="26157" y="10739"/>
                    <a:pt x="24923" y="10735"/>
                  </a:cubicBezTo>
                  <a:cubicBezTo>
                    <a:pt x="23616" y="10538"/>
                    <a:pt x="22290" y="10956"/>
                    <a:pt x="21333" y="11869"/>
                  </a:cubicBezTo>
                  <a:cubicBezTo>
                    <a:pt x="20704" y="12627"/>
                    <a:pt x="20358" y="13580"/>
                    <a:pt x="20354" y="14566"/>
                  </a:cubicBezTo>
                  <a:lnTo>
                    <a:pt x="20354" y="18791"/>
                  </a:lnTo>
                  <a:lnTo>
                    <a:pt x="28943" y="18791"/>
                  </a:lnTo>
                  <a:lnTo>
                    <a:pt x="28943" y="28032"/>
                  </a:lnTo>
                  <a:lnTo>
                    <a:pt x="20354" y="28032"/>
                  </a:lnTo>
                  <a:lnTo>
                    <a:pt x="20354" y="68414"/>
                  </a:lnTo>
                  <a:lnTo>
                    <a:pt x="7352" y="68414"/>
                  </a:lnTo>
                  <a:lnTo>
                    <a:pt x="7352" y="28032"/>
                  </a:lnTo>
                  <a:lnTo>
                    <a:pt x="0" y="28032"/>
                  </a:lnTo>
                  <a:lnTo>
                    <a:pt x="0" y="18791"/>
                  </a:lnTo>
                  <a:lnTo>
                    <a:pt x="7163" y="18791"/>
                  </a:lnTo>
                  <a:lnTo>
                    <a:pt x="7163" y="15579"/>
                  </a:lnTo>
                  <a:cubicBezTo>
                    <a:pt x="7163" y="10220"/>
                    <a:pt x="8067" y="6527"/>
                    <a:pt x="9877" y="4500"/>
                  </a:cubicBezTo>
                  <a:cubicBezTo>
                    <a:pt x="11783" y="1494"/>
                    <a:pt x="16352" y="0"/>
                    <a:pt x="23618" y="0"/>
                  </a:cubicBezTo>
                  <a:cubicBezTo>
                    <a:pt x="24442" y="0"/>
                    <a:pt x="25198" y="0"/>
                    <a:pt x="25868" y="0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7" name="Google Shape;57;p68"/>
            <p:cNvSpPr/>
            <p:nvPr/>
          </p:nvSpPr>
          <p:spPr>
            <a:xfrm rot="-5400000">
              <a:off x="12016830" y="6161182"/>
              <a:ext cx="49036" cy="51048"/>
            </a:xfrm>
            <a:custGeom>
              <a:avLst/>
              <a:gdLst/>
              <a:ahLst/>
              <a:cxnLst/>
              <a:rect l="l" t="t" r="r" b="b"/>
              <a:pathLst>
                <a:path w="49036" h="51048" extrusionOk="0">
                  <a:moveTo>
                    <a:pt x="42949" y="43542"/>
                  </a:moveTo>
                  <a:cubicBezTo>
                    <a:pt x="38907" y="48535"/>
                    <a:pt x="32763" y="51037"/>
                    <a:pt x="24519" y="51049"/>
                  </a:cubicBezTo>
                  <a:cubicBezTo>
                    <a:pt x="16274" y="51060"/>
                    <a:pt x="10125" y="48558"/>
                    <a:pt x="6071" y="43542"/>
                  </a:cubicBezTo>
                  <a:cubicBezTo>
                    <a:pt x="2000" y="38452"/>
                    <a:pt x="-145" y="32091"/>
                    <a:pt x="8" y="25576"/>
                  </a:cubicBezTo>
                  <a:cubicBezTo>
                    <a:pt x="-130" y="19058"/>
                    <a:pt x="2016" y="12697"/>
                    <a:pt x="6071" y="7592"/>
                  </a:cubicBezTo>
                  <a:cubicBezTo>
                    <a:pt x="10125" y="2519"/>
                    <a:pt x="16274" y="-11"/>
                    <a:pt x="24519" y="0"/>
                  </a:cubicBezTo>
                  <a:cubicBezTo>
                    <a:pt x="32763" y="12"/>
                    <a:pt x="38907" y="2542"/>
                    <a:pt x="42949" y="7592"/>
                  </a:cubicBezTo>
                  <a:cubicBezTo>
                    <a:pt x="47010" y="12695"/>
                    <a:pt x="49160" y="19056"/>
                    <a:pt x="49030" y="25576"/>
                  </a:cubicBezTo>
                  <a:cubicBezTo>
                    <a:pt x="49177" y="32093"/>
                    <a:pt x="47023" y="38454"/>
                    <a:pt x="42949" y="43542"/>
                  </a:cubicBezTo>
                  <a:close/>
                  <a:moveTo>
                    <a:pt x="32918" y="36672"/>
                  </a:moveTo>
                  <a:cubicBezTo>
                    <a:pt x="35077" y="33390"/>
                    <a:pt x="36115" y="29497"/>
                    <a:pt x="35872" y="25576"/>
                  </a:cubicBezTo>
                  <a:cubicBezTo>
                    <a:pt x="36123" y="21654"/>
                    <a:pt x="35086" y="17758"/>
                    <a:pt x="32918" y="14480"/>
                  </a:cubicBezTo>
                  <a:cubicBezTo>
                    <a:pt x="28893" y="9808"/>
                    <a:pt x="21844" y="9283"/>
                    <a:pt x="17172" y="13307"/>
                  </a:cubicBezTo>
                  <a:cubicBezTo>
                    <a:pt x="16753" y="13668"/>
                    <a:pt x="16360" y="14060"/>
                    <a:pt x="15999" y="14480"/>
                  </a:cubicBezTo>
                  <a:cubicBezTo>
                    <a:pt x="13826" y="17756"/>
                    <a:pt x="12782" y="21652"/>
                    <a:pt x="13027" y="25576"/>
                  </a:cubicBezTo>
                  <a:cubicBezTo>
                    <a:pt x="12782" y="29510"/>
                    <a:pt x="13824" y="33418"/>
                    <a:pt x="15999" y="36706"/>
                  </a:cubicBezTo>
                  <a:cubicBezTo>
                    <a:pt x="19994" y="41378"/>
                    <a:pt x="27020" y="41927"/>
                    <a:pt x="31692" y="37932"/>
                  </a:cubicBezTo>
                  <a:cubicBezTo>
                    <a:pt x="32131" y="37556"/>
                    <a:pt x="32542" y="37146"/>
                    <a:pt x="32918" y="36706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8" name="Google Shape;58;p68"/>
            <p:cNvSpPr/>
            <p:nvPr/>
          </p:nvSpPr>
          <p:spPr>
            <a:xfrm rot="-5400000">
              <a:off x="12005374" y="6370523"/>
              <a:ext cx="71791" cy="51205"/>
            </a:xfrm>
            <a:custGeom>
              <a:avLst/>
              <a:gdLst/>
              <a:ahLst/>
              <a:cxnLst/>
              <a:rect l="l" t="t" r="r" b="b"/>
              <a:pathLst>
                <a:path w="71791" h="51205" extrusionOk="0">
                  <a:moveTo>
                    <a:pt x="62643" y="1307"/>
                  </a:moveTo>
                  <a:cubicBezTo>
                    <a:pt x="64938" y="2282"/>
                    <a:pt x="66944" y="3832"/>
                    <a:pt x="68466" y="5808"/>
                  </a:cubicBezTo>
                  <a:cubicBezTo>
                    <a:pt x="69936" y="7685"/>
                    <a:pt x="70917" y="9898"/>
                    <a:pt x="71317" y="12249"/>
                  </a:cubicBezTo>
                  <a:cubicBezTo>
                    <a:pt x="71680" y="14693"/>
                    <a:pt x="71834" y="17164"/>
                    <a:pt x="71781" y="19635"/>
                  </a:cubicBezTo>
                  <a:lnTo>
                    <a:pt x="71781" y="51205"/>
                  </a:lnTo>
                  <a:lnTo>
                    <a:pt x="58349" y="51205"/>
                  </a:lnTo>
                  <a:lnTo>
                    <a:pt x="58349" y="19308"/>
                  </a:lnTo>
                  <a:cubicBezTo>
                    <a:pt x="58414" y="17701"/>
                    <a:pt x="58101" y="16101"/>
                    <a:pt x="57438" y="14636"/>
                  </a:cubicBezTo>
                  <a:cubicBezTo>
                    <a:pt x="56188" y="12289"/>
                    <a:pt x="53642" y="10931"/>
                    <a:pt x="50997" y="11201"/>
                  </a:cubicBezTo>
                  <a:cubicBezTo>
                    <a:pt x="47802" y="10957"/>
                    <a:pt x="44803" y="12763"/>
                    <a:pt x="43525" y="15701"/>
                  </a:cubicBezTo>
                  <a:cubicBezTo>
                    <a:pt x="42766" y="17522"/>
                    <a:pt x="42404" y="19483"/>
                    <a:pt x="42460" y="21455"/>
                  </a:cubicBezTo>
                  <a:lnTo>
                    <a:pt x="42460" y="51205"/>
                  </a:lnTo>
                  <a:lnTo>
                    <a:pt x="29269" y="51205"/>
                  </a:lnTo>
                  <a:lnTo>
                    <a:pt x="29269" y="21387"/>
                  </a:lnTo>
                  <a:cubicBezTo>
                    <a:pt x="29389" y="19189"/>
                    <a:pt x="29080" y="16990"/>
                    <a:pt x="28359" y="14911"/>
                  </a:cubicBezTo>
                  <a:cubicBezTo>
                    <a:pt x="27192" y="12446"/>
                    <a:pt x="24595" y="10986"/>
                    <a:pt x="21883" y="11270"/>
                  </a:cubicBezTo>
                  <a:cubicBezTo>
                    <a:pt x="18138" y="11270"/>
                    <a:pt x="15626" y="12484"/>
                    <a:pt x="14342" y="14911"/>
                  </a:cubicBezTo>
                  <a:cubicBezTo>
                    <a:pt x="13527" y="16854"/>
                    <a:pt x="13162" y="18956"/>
                    <a:pt x="13277" y="21060"/>
                  </a:cubicBezTo>
                  <a:lnTo>
                    <a:pt x="13277" y="51205"/>
                  </a:lnTo>
                  <a:lnTo>
                    <a:pt x="0" y="51205"/>
                  </a:lnTo>
                  <a:lnTo>
                    <a:pt x="0" y="1221"/>
                  </a:lnTo>
                  <a:lnTo>
                    <a:pt x="12728" y="1221"/>
                  </a:lnTo>
                  <a:lnTo>
                    <a:pt x="12728" y="8556"/>
                  </a:lnTo>
                  <a:cubicBezTo>
                    <a:pt x="13930" y="6449"/>
                    <a:pt x="15488" y="4567"/>
                    <a:pt x="17331" y="2991"/>
                  </a:cubicBezTo>
                  <a:cubicBezTo>
                    <a:pt x="23120" y="-769"/>
                    <a:pt x="30538" y="-929"/>
                    <a:pt x="36483" y="2578"/>
                  </a:cubicBezTo>
                  <a:cubicBezTo>
                    <a:pt x="38381" y="4179"/>
                    <a:pt x="39841" y="6236"/>
                    <a:pt x="40726" y="8556"/>
                  </a:cubicBezTo>
                  <a:cubicBezTo>
                    <a:pt x="42206" y="5843"/>
                    <a:pt x="44413" y="3595"/>
                    <a:pt x="47098" y="2063"/>
                  </a:cubicBezTo>
                  <a:cubicBezTo>
                    <a:pt x="49896" y="665"/>
                    <a:pt x="52988" y="-42"/>
                    <a:pt x="56116" y="2"/>
                  </a:cubicBezTo>
                  <a:cubicBezTo>
                    <a:pt x="58356" y="15"/>
                    <a:pt x="60571" y="458"/>
                    <a:pt x="62643" y="1307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9" name="Google Shape;59;p68"/>
            <p:cNvSpPr/>
            <p:nvPr/>
          </p:nvSpPr>
          <p:spPr>
            <a:xfrm rot="-5400000">
              <a:off x="12026199" y="6307354"/>
              <a:ext cx="13277" cy="68070"/>
            </a:xfrm>
            <a:custGeom>
              <a:avLst/>
              <a:gdLst/>
              <a:ahLst/>
              <a:cxnLst/>
              <a:rect l="l" t="t" r="r" b="b"/>
              <a:pathLst>
                <a:path w="13277" h="68070" extrusionOk="0">
                  <a:moveTo>
                    <a:pt x="13278" y="12024"/>
                  </a:moveTo>
                  <a:lnTo>
                    <a:pt x="0" y="12024"/>
                  </a:lnTo>
                  <a:lnTo>
                    <a:pt x="0" y="0"/>
                  </a:lnTo>
                  <a:lnTo>
                    <a:pt x="13278" y="0"/>
                  </a:lnTo>
                  <a:close/>
                  <a:moveTo>
                    <a:pt x="0" y="17984"/>
                  </a:moveTo>
                  <a:lnTo>
                    <a:pt x="13278" y="17984"/>
                  </a:lnTo>
                  <a:lnTo>
                    <a:pt x="13278" y="68070"/>
                  </a:lnTo>
                  <a:lnTo>
                    <a:pt x="0" y="6807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0" name="Google Shape;60;p68"/>
            <p:cNvSpPr/>
            <p:nvPr/>
          </p:nvSpPr>
          <p:spPr>
            <a:xfrm rot="-5400000">
              <a:off x="12018641" y="6273739"/>
              <a:ext cx="45208" cy="51255"/>
            </a:xfrm>
            <a:custGeom>
              <a:avLst/>
              <a:gdLst/>
              <a:ahLst/>
              <a:cxnLst/>
              <a:rect l="l" t="t" r="r" b="b"/>
              <a:pathLst>
                <a:path w="45208" h="51255" extrusionOk="0">
                  <a:moveTo>
                    <a:pt x="40296" y="4038"/>
                  </a:moveTo>
                  <a:cubicBezTo>
                    <a:pt x="43560" y="6752"/>
                    <a:pt x="45209" y="11252"/>
                    <a:pt x="45209" y="17521"/>
                  </a:cubicBezTo>
                  <a:lnTo>
                    <a:pt x="45209" y="51256"/>
                  </a:lnTo>
                  <a:lnTo>
                    <a:pt x="31794" y="51256"/>
                  </a:lnTo>
                  <a:lnTo>
                    <a:pt x="31794" y="20785"/>
                  </a:lnTo>
                  <a:cubicBezTo>
                    <a:pt x="31900" y="18711"/>
                    <a:pt x="31543" y="16639"/>
                    <a:pt x="30746" y="14722"/>
                  </a:cubicBezTo>
                  <a:cubicBezTo>
                    <a:pt x="29458" y="12162"/>
                    <a:pt x="27036" y="10874"/>
                    <a:pt x="23446" y="10874"/>
                  </a:cubicBezTo>
                  <a:cubicBezTo>
                    <a:pt x="19511" y="10565"/>
                    <a:pt x="15833" y="12857"/>
                    <a:pt x="14377" y="16525"/>
                  </a:cubicBezTo>
                  <a:cubicBezTo>
                    <a:pt x="13439" y="18955"/>
                    <a:pt x="13001" y="21549"/>
                    <a:pt x="13089" y="24151"/>
                  </a:cubicBezTo>
                  <a:lnTo>
                    <a:pt x="13089" y="51256"/>
                  </a:lnTo>
                  <a:lnTo>
                    <a:pt x="0" y="51256"/>
                  </a:lnTo>
                  <a:lnTo>
                    <a:pt x="0" y="1272"/>
                  </a:lnTo>
                  <a:lnTo>
                    <a:pt x="12676" y="1272"/>
                  </a:lnTo>
                  <a:lnTo>
                    <a:pt x="12676" y="8607"/>
                  </a:lnTo>
                  <a:cubicBezTo>
                    <a:pt x="13946" y="6502"/>
                    <a:pt x="15553" y="4622"/>
                    <a:pt x="17434" y="3042"/>
                  </a:cubicBezTo>
                  <a:cubicBezTo>
                    <a:pt x="20409" y="938"/>
                    <a:pt x="23996" y="-125"/>
                    <a:pt x="27637" y="18"/>
                  </a:cubicBezTo>
                  <a:cubicBezTo>
                    <a:pt x="32199" y="-181"/>
                    <a:pt x="36684" y="1243"/>
                    <a:pt x="40296" y="403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1" name="Google Shape;61;p68"/>
            <p:cNvSpPr/>
            <p:nvPr/>
          </p:nvSpPr>
          <p:spPr>
            <a:xfrm rot="-5400000">
              <a:off x="12017163" y="6218687"/>
              <a:ext cx="48082" cy="51510"/>
            </a:xfrm>
            <a:custGeom>
              <a:avLst/>
              <a:gdLst/>
              <a:ahLst/>
              <a:cxnLst/>
              <a:rect l="l" t="t" r="r" b="b"/>
              <a:pathLst>
                <a:path w="48082" h="51510" extrusionOk="0">
                  <a:moveTo>
                    <a:pt x="35384" y="2281"/>
                  </a:moveTo>
                  <a:cubicBezTo>
                    <a:pt x="38804" y="3821"/>
                    <a:pt x="41712" y="6306"/>
                    <a:pt x="43766" y="9444"/>
                  </a:cubicBezTo>
                  <a:cubicBezTo>
                    <a:pt x="45803" y="12448"/>
                    <a:pt x="47126" y="15880"/>
                    <a:pt x="47631" y="19475"/>
                  </a:cubicBezTo>
                  <a:cubicBezTo>
                    <a:pt x="48021" y="22665"/>
                    <a:pt x="48160" y="25881"/>
                    <a:pt x="48043" y="29094"/>
                  </a:cubicBezTo>
                  <a:lnTo>
                    <a:pt x="12711" y="29094"/>
                  </a:lnTo>
                  <a:cubicBezTo>
                    <a:pt x="12900" y="33955"/>
                    <a:pt x="14600" y="37373"/>
                    <a:pt x="17778" y="39400"/>
                  </a:cubicBezTo>
                  <a:cubicBezTo>
                    <a:pt x="19884" y="40669"/>
                    <a:pt x="22311" y="41306"/>
                    <a:pt x="24769" y="41237"/>
                  </a:cubicBezTo>
                  <a:cubicBezTo>
                    <a:pt x="27307" y="41354"/>
                    <a:pt x="29803" y="40563"/>
                    <a:pt x="31811" y="39004"/>
                  </a:cubicBezTo>
                  <a:cubicBezTo>
                    <a:pt x="32891" y="38080"/>
                    <a:pt x="33774" y="36947"/>
                    <a:pt x="34405" y="35672"/>
                  </a:cubicBezTo>
                  <a:lnTo>
                    <a:pt x="47407" y="35672"/>
                  </a:lnTo>
                  <a:cubicBezTo>
                    <a:pt x="46818" y="39021"/>
                    <a:pt x="45169" y="42092"/>
                    <a:pt x="42701" y="44432"/>
                  </a:cubicBezTo>
                  <a:cubicBezTo>
                    <a:pt x="38355" y="49156"/>
                    <a:pt x="32292" y="51509"/>
                    <a:pt x="24459" y="51509"/>
                  </a:cubicBezTo>
                  <a:cubicBezTo>
                    <a:pt x="18245" y="51584"/>
                    <a:pt x="12202" y="49474"/>
                    <a:pt x="7386" y="45549"/>
                  </a:cubicBezTo>
                  <a:cubicBezTo>
                    <a:pt x="2461" y="41564"/>
                    <a:pt x="0" y="35094"/>
                    <a:pt x="0" y="26139"/>
                  </a:cubicBezTo>
                  <a:cubicBezTo>
                    <a:pt x="0" y="17746"/>
                    <a:pt x="2228" y="11304"/>
                    <a:pt x="6682" y="6816"/>
                  </a:cubicBezTo>
                  <a:cubicBezTo>
                    <a:pt x="11252" y="2254"/>
                    <a:pt x="17508" y="-208"/>
                    <a:pt x="23961" y="14"/>
                  </a:cubicBezTo>
                  <a:cubicBezTo>
                    <a:pt x="27886" y="-52"/>
                    <a:pt x="31782" y="721"/>
                    <a:pt x="35384" y="2281"/>
                  </a:cubicBezTo>
                  <a:close/>
                  <a:moveTo>
                    <a:pt x="16490" y="13223"/>
                  </a:moveTo>
                  <a:cubicBezTo>
                    <a:pt x="14554" y="15309"/>
                    <a:pt x="13350" y="17967"/>
                    <a:pt x="13054" y="20797"/>
                  </a:cubicBezTo>
                  <a:lnTo>
                    <a:pt x="34886" y="20797"/>
                  </a:lnTo>
                  <a:cubicBezTo>
                    <a:pt x="34844" y="17880"/>
                    <a:pt x="33601" y="15108"/>
                    <a:pt x="31450" y="13137"/>
                  </a:cubicBezTo>
                  <a:cubicBezTo>
                    <a:pt x="29363" y="11367"/>
                    <a:pt x="26698" y="10426"/>
                    <a:pt x="23961" y="10491"/>
                  </a:cubicBezTo>
                  <a:cubicBezTo>
                    <a:pt x="21201" y="10337"/>
                    <a:pt x="18499" y="11325"/>
                    <a:pt x="16490" y="13223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62" name="Google Shape;62;p68"/>
          <p:cNvSpPr txBox="1"/>
          <p:nvPr/>
        </p:nvSpPr>
        <p:spPr>
          <a:xfrm rot="-5400000">
            <a:off x="11250971" y="5290633"/>
            <a:ext cx="1567737" cy="110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</a:pPr>
            <a:r>
              <a:rPr lang="en-US" sz="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Copyright © 2020. All rights reserved.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3" name="Google Shape;63;p68"/>
          <p:cNvSpPr txBox="1">
            <a:spLocks noGrp="1"/>
          </p:cNvSpPr>
          <p:nvPr>
            <p:ph type="sldNum" idx="12"/>
          </p:nvPr>
        </p:nvSpPr>
        <p:spPr>
          <a:xfrm>
            <a:off x="11490153" y="6465614"/>
            <a:ext cx="150682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marL="0" marR="0" lvl="0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1170286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:ahyp="http://schemas.microsoft.com/office/drawing/2018/hyperlinkcolor" xmlns:p15="http://schemas.microsoft.com/office/powerpoint/2012/main" xmlns:com="http://schemas.openxmlformats.org/drawingml/2006/compatibility" xmlns:pvml="urn:schemas-microsoft-com:office:powerpoint" xmlns:v="urn:schemas-microsoft-com:vml" xmlns:o="urn:schemas-microsoft-com:office:office" xmlns:dgm="http://schemas.openxmlformats.org/drawingml/2006/diagram" xmlns:c="http://schemas.openxmlformats.org/drawingml/2006/chart" xmlns:mv="urn:schemas-microsoft-com:mac:vml" xmlns="">
      <p:transition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Last Page">
  <p:cSld name="Last Page">
    <p:spTree>
      <p:nvGrpSpPr>
        <p:cNvPr id="1" name="Shape 13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7" name="Google Shape;137;p57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0">
                <a:srgbClr val="062379"/>
              </a:gs>
              <a:gs pos="16000">
                <a:srgbClr val="062379"/>
              </a:gs>
              <a:gs pos="45000">
                <a:srgbClr val="0934B6">
                  <a:alpha val="88235"/>
                </a:srgbClr>
              </a:gs>
              <a:gs pos="79000">
                <a:srgbClr val="036DFF">
                  <a:alpha val="80000"/>
                </a:srgbClr>
              </a:gs>
              <a:gs pos="100000">
                <a:srgbClr val="43E1D3"/>
              </a:gs>
            </a:gsLst>
            <a:lin ang="270000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8" name="Google Shape;138;p57"/>
          <p:cNvSpPr txBox="1"/>
          <p:nvPr/>
        </p:nvSpPr>
        <p:spPr>
          <a:xfrm>
            <a:off x="550863" y="5965461"/>
            <a:ext cx="3028906" cy="3693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r>
              <a:rPr lang="en-US" sz="1200" b="1" i="0" u="sng" strike="noStrike" cap="none">
                <a:solidFill>
                  <a:srgbClr val="43E1D3"/>
                </a:solidFill>
                <a:latin typeface="Calibri"/>
                <a:ea typeface="Calibri"/>
                <a:cs typeface="Calibri"/>
                <a:sym typeface="Calibri"/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www.infomineo.com</a:t>
            </a:r>
            <a:endParaRPr sz="1200" b="1" i="0" u="none" strike="noStrike" cap="none">
              <a:solidFill>
                <a:srgbClr val="43E1D3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r>
              <a:rPr lang="en-US" sz="12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Infomineo Copyright © 2020. All rights reserved.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139" name="Google Shape;139;p57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4256669" y="3006053"/>
            <a:ext cx="3678662" cy="845895"/>
          </a:xfrm>
          <a:prstGeom prst="rect">
            <a:avLst/>
          </a:prstGeom>
          <a:noFill/>
          <a:ln>
            <a:noFill/>
          </a:ln>
        </p:spPr>
      </p:pic>
      <p:pic>
        <p:nvPicPr>
          <p:cNvPr id="140" name="Google Shape;140;p57">
            <a:hlinkClick r:id="rId4"/>
          </p:cNvPr>
          <p:cNvPicPr preferRelativeResize="0"/>
          <p:nvPr/>
        </p:nvPicPr>
        <p:blipFill rotWithShape="1">
          <a:blip r:embed="rId5">
            <a:alphaModFix/>
          </a:blip>
          <a:srcRect/>
          <a:stretch/>
        </p:blipFill>
        <p:spPr>
          <a:xfrm>
            <a:off x="11323329" y="5965461"/>
            <a:ext cx="370332" cy="370332"/>
          </a:xfrm>
          <a:prstGeom prst="rect">
            <a:avLst/>
          </a:prstGeom>
          <a:noFill/>
          <a:ln>
            <a:noFill/>
          </a:ln>
        </p:spPr>
      </p:pic>
      <p:pic>
        <p:nvPicPr>
          <p:cNvPr id="141" name="Google Shape;141;p57">
            <a:hlinkClick r:id="rId6"/>
          </p:cNvPr>
          <p:cNvPicPr preferRelativeResize="0"/>
          <p:nvPr/>
        </p:nvPicPr>
        <p:blipFill rotWithShape="1">
          <a:blip r:embed="rId7">
            <a:alphaModFix/>
          </a:blip>
          <a:srcRect/>
          <a:stretch/>
        </p:blipFill>
        <p:spPr>
          <a:xfrm>
            <a:off x="10825964" y="5965461"/>
            <a:ext cx="368808" cy="370332"/>
          </a:xfrm>
          <a:prstGeom prst="rect">
            <a:avLst/>
          </a:prstGeom>
          <a:noFill/>
          <a:ln>
            <a:noFill/>
          </a:ln>
        </p:spPr>
      </p:pic>
      <p:pic>
        <p:nvPicPr>
          <p:cNvPr id="142" name="Google Shape;142;p57">
            <a:hlinkClick r:id="rId8"/>
          </p:cNvPr>
          <p:cNvPicPr preferRelativeResize="0"/>
          <p:nvPr/>
        </p:nvPicPr>
        <p:blipFill rotWithShape="1">
          <a:blip r:embed="rId9">
            <a:alphaModFix/>
          </a:blip>
          <a:srcRect/>
          <a:stretch/>
        </p:blipFill>
        <p:spPr>
          <a:xfrm>
            <a:off x="10328599" y="5965461"/>
            <a:ext cx="368808" cy="37033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960601946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itle only (with background)">
  <p:cSld name="1_Title only (with background)">
    <p:bg>
      <p:bgPr>
        <a:solidFill>
          <a:schemeClr val="lt2"/>
        </a:solidFill>
        <a:effectLst/>
      </p:bgPr>
    </p:bg>
    <p:spTree>
      <p:nvGrpSpPr>
        <p:cNvPr id="1" name="Shape 14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4" name="Google Shape;144;p50"/>
          <p:cNvSpPr txBox="1">
            <a:spLocks noGrp="1"/>
          </p:cNvSpPr>
          <p:nvPr>
            <p:ph type="title"/>
          </p:nvPr>
        </p:nvSpPr>
        <p:spPr>
          <a:xfrm>
            <a:off x="539400" y="560588"/>
            <a:ext cx="11089972" cy="42229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200"/>
              <a:buFont typeface="Franklin Gothic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45" name="Google Shape;145;p50"/>
          <p:cNvSpPr txBox="1">
            <a:spLocks noGrp="1"/>
          </p:cNvSpPr>
          <p:nvPr>
            <p:ph type="sldNum" idx="12"/>
          </p:nvPr>
        </p:nvSpPr>
        <p:spPr>
          <a:xfrm>
            <a:off x="11490153" y="6465614"/>
            <a:ext cx="150682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marL="0" marR="0" lvl="0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46" name="Google Shape;146;p50"/>
          <p:cNvSpPr txBox="1">
            <a:spLocks noGrp="1"/>
          </p:cNvSpPr>
          <p:nvPr>
            <p:ph type="ftr" idx="11"/>
          </p:nvPr>
        </p:nvSpPr>
        <p:spPr>
          <a:xfrm>
            <a:off x="550863" y="6465614"/>
            <a:ext cx="5545138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47" name="Google Shape;147;p50"/>
          <p:cNvSpPr txBox="1">
            <a:spLocks noGrp="1"/>
          </p:cNvSpPr>
          <p:nvPr>
            <p:ph type="body" idx="1"/>
          </p:nvPr>
        </p:nvSpPr>
        <p:spPr>
          <a:xfrm>
            <a:off x="550862" y="1028324"/>
            <a:ext cx="11089972" cy="2923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95000"/>
              </a:lnSpc>
              <a:spcBef>
                <a:spcPts val="1000"/>
              </a:spcBef>
              <a:spcAft>
                <a:spcPts val="0"/>
              </a:spcAft>
              <a:buClr>
                <a:srgbClr val="6D90F8"/>
              </a:buClr>
              <a:buSzPts val="2000"/>
              <a:buNone/>
              <a:defRPr sz="2000">
                <a:solidFill>
                  <a:srgbClr val="6D90F8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1pPr>
            <a:lvl2pPr marL="914400" lvl="1" indent="-331469" algn="l">
              <a:lnSpc>
                <a:spcPct val="95000"/>
              </a:lnSpc>
              <a:spcBef>
                <a:spcPts val="500"/>
              </a:spcBef>
              <a:spcAft>
                <a:spcPts val="0"/>
              </a:spcAft>
              <a:buSzPts val="1620"/>
              <a:buChar char="▪"/>
              <a:defRPr/>
            </a:lvl2pPr>
            <a:lvl3pPr marL="1371600" lvl="2" indent="-342900" algn="l">
              <a:lnSpc>
                <a:spcPct val="95000"/>
              </a:lnSpc>
              <a:spcBef>
                <a:spcPts val="300"/>
              </a:spcBef>
              <a:spcAft>
                <a:spcPts val="0"/>
              </a:spcAft>
              <a:buSzPts val="1800"/>
              <a:buChar char="−"/>
              <a:defRPr/>
            </a:lvl3pPr>
            <a:lvl4pPr marL="1828800" lvl="3" indent="-331469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620"/>
              <a:buChar char="▪"/>
              <a:defRPr/>
            </a:lvl4pPr>
            <a:lvl5pPr marL="2286000" lvl="4" indent="-34290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800"/>
              <a:buChar char="−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248975163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Without Title">
  <p:cSld name="Without Title">
    <p:spTree>
      <p:nvGrpSpPr>
        <p:cNvPr id="1" name="Shape 14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9" name="Google Shape;149;p58"/>
          <p:cNvSpPr txBox="1">
            <a:spLocks noGrp="1"/>
          </p:cNvSpPr>
          <p:nvPr>
            <p:ph type="sldNum" idx="12"/>
          </p:nvPr>
        </p:nvSpPr>
        <p:spPr>
          <a:xfrm>
            <a:off x="11490153" y="6465614"/>
            <a:ext cx="150682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marL="0" marR="0" lvl="0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grpSp>
        <p:nvGrpSpPr>
          <p:cNvPr id="150" name="Google Shape;150;p58"/>
          <p:cNvGrpSpPr/>
          <p:nvPr/>
        </p:nvGrpSpPr>
        <p:grpSpPr>
          <a:xfrm>
            <a:off x="11998459" y="6162188"/>
            <a:ext cx="68500" cy="441925"/>
            <a:chOff x="11998459" y="6162188"/>
            <a:chExt cx="68500" cy="441925"/>
          </a:xfrm>
        </p:grpSpPr>
        <p:sp>
          <p:nvSpPr>
            <p:cNvPr id="151" name="Google Shape;151;p58"/>
            <p:cNvSpPr/>
            <p:nvPr/>
          </p:nvSpPr>
          <p:spPr>
            <a:xfrm rot="-5400000">
              <a:off x="12063068" y="6476346"/>
              <a:ext cx="17" cy="1717"/>
            </a:xfrm>
            <a:custGeom>
              <a:avLst/>
              <a:gdLst/>
              <a:ahLst/>
              <a:cxnLst/>
              <a:rect l="l" t="t" r="r" b="b"/>
              <a:pathLst>
                <a:path w="17" h="1717" extrusionOk="0">
                  <a:moveTo>
                    <a:pt x="0" y="0"/>
                  </a:moveTo>
                  <a:lnTo>
                    <a:pt x="17" y="0"/>
                  </a:lnTo>
                  <a:lnTo>
                    <a:pt x="17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B0F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B4B4B4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2" name="Google Shape;152;p58"/>
            <p:cNvSpPr/>
            <p:nvPr/>
          </p:nvSpPr>
          <p:spPr>
            <a:xfrm rot="-5400000">
              <a:off x="12023737" y="6455896"/>
              <a:ext cx="453" cy="271"/>
            </a:xfrm>
            <a:custGeom>
              <a:avLst/>
              <a:gdLst/>
              <a:ahLst/>
              <a:cxnLst/>
              <a:rect l="l" t="t" r="r" b="b"/>
              <a:pathLst>
                <a:path w="453" h="271" extrusionOk="0">
                  <a:moveTo>
                    <a:pt x="0" y="0"/>
                  </a:moveTo>
                  <a:cubicBezTo>
                    <a:pt x="258" y="172"/>
                    <a:pt x="498" y="344"/>
                    <a:pt x="447" y="240"/>
                  </a:cubicBezTo>
                  <a:close/>
                </a:path>
              </a:pathLst>
            </a:custGeom>
            <a:solidFill>
              <a:srgbClr val="00B0F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B4B4B4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3" name="Google Shape;153;p58"/>
            <p:cNvSpPr/>
            <p:nvPr/>
          </p:nvSpPr>
          <p:spPr>
            <a:xfrm rot="-5400000">
              <a:off x="12023907" y="6477766"/>
              <a:ext cx="15" cy="76"/>
            </a:xfrm>
            <a:custGeom>
              <a:avLst/>
              <a:gdLst/>
              <a:ahLst/>
              <a:cxnLst/>
              <a:rect l="l" t="t" r="r" b="b"/>
              <a:pathLst>
                <a:path w="15" h="76" extrusionOk="0">
                  <a:moveTo>
                    <a:pt x="15" y="38"/>
                  </a:moveTo>
                  <a:cubicBezTo>
                    <a:pt x="15" y="38"/>
                    <a:pt x="15" y="-48"/>
                    <a:pt x="15" y="38"/>
                  </a:cubicBezTo>
                  <a:cubicBezTo>
                    <a:pt x="15" y="124"/>
                    <a:pt x="-19" y="38"/>
                    <a:pt x="15" y="38"/>
                  </a:cubicBezTo>
                  <a:close/>
                </a:path>
              </a:pathLst>
            </a:custGeom>
            <a:solidFill>
              <a:srgbClr val="00B0F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B4B4B4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4" name="Google Shape;154;p58"/>
            <p:cNvSpPr/>
            <p:nvPr/>
          </p:nvSpPr>
          <p:spPr>
            <a:xfrm rot="-5400000">
              <a:off x="12021636" y="6473651"/>
              <a:ext cx="261" cy="103"/>
            </a:xfrm>
            <a:custGeom>
              <a:avLst/>
              <a:gdLst/>
              <a:ahLst/>
              <a:cxnLst/>
              <a:rect l="l" t="t" r="r" b="b"/>
              <a:pathLst>
                <a:path w="261" h="103" extrusionOk="0">
                  <a:moveTo>
                    <a:pt x="262" y="0"/>
                  </a:moveTo>
                  <a:lnTo>
                    <a:pt x="56" y="103"/>
                  </a:lnTo>
                  <a:cubicBezTo>
                    <a:pt x="176" y="103"/>
                    <a:pt x="-116" y="103"/>
                    <a:pt x="56" y="103"/>
                  </a:cubicBezTo>
                  <a:close/>
                </a:path>
              </a:pathLst>
            </a:custGeom>
            <a:solidFill>
              <a:srgbClr val="00B0F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B4B4B4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5" name="Google Shape;155;p58"/>
            <p:cNvSpPr/>
            <p:nvPr/>
          </p:nvSpPr>
          <p:spPr>
            <a:xfrm rot="-5400000">
              <a:off x="12015635" y="6442208"/>
              <a:ext cx="51323" cy="51323"/>
            </a:xfrm>
            <a:custGeom>
              <a:avLst/>
              <a:gdLst/>
              <a:ahLst/>
              <a:cxnLst/>
              <a:rect l="l" t="t" r="r" b="b"/>
              <a:pathLst>
                <a:path w="51323" h="51323" extrusionOk="0">
                  <a:moveTo>
                    <a:pt x="25662" y="0"/>
                  </a:moveTo>
                  <a:cubicBezTo>
                    <a:pt x="11489" y="0"/>
                    <a:pt x="0" y="11489"/>
                    <a:pt x="0" y="25662"/>
                  </a:cubicBezTo>
                  <a:cubicBezTo>
                    <a:pt x="0" y="39834"/>
                    <a:pt x="11489" y="51323"/>
                    <a:pt x="25662" y="51323"/>
                  </a:cubicBezTo>
                  <a:cubicBezTo>
                    <a:pt x="39835" y="51323"/>
                    <a:pt x="51324" y="39834"/>
                    <a:pt x="51324" y="25662"/>
                  </a:cubicBezTo>
                  <a:cubicBezTo>
                    <a:pt x="51324" y="25645"/>
                    <a:pt x="51324" y="25627"/>
                    <a:pt x="51324" y="25610"/>
                  </a:cubicBezTo>
                  <a:cubicBezTo>
                    <a:pt x="51314" y="11457"/>
                    <a:pt x="39833" y="-9"/>
                    <a:pt x="25679" y="0"/>
                  </a:cubicBezTo>
                  <a:cubicBezTo>
                    <a:pt x="25673" y="0"/>
                    <a:pt x="25667" y="0"/>
                    <a:pt x="25662" y="0"/>
                  </a:cubicBezTo>
                  <a:close/>
                  <a:moveTo>
                    <a:pt x="26967" y="15648"/>
                  </a:moveTo>
                  <a:cubicBezTo>
                    <a:pt x="26864" y="15648"/>
                    <a:pt x="26967" y="15785"/>
                    <a:pt x="26967" y="15837"/>
                  </a:cubicBezTo>
                  <a:cubicBezTo>
                    <a:pt x="26894" y="15820"/>
                    <a:pt x="26817" y="15820"/>
                    <a:pt x="26744" y="15837"/>
                  </a:cubicBezTo>
                  <a:cubicBezTo>
                    <a:pt x="26899" y="15837"/>
                    <a:pt x="27139" y="16043"/>
                    <a:pt x="26933" y="16163"/>
                  </a:cubicBezTo>
                  <a:cubicBezTo>
                    <a:pt x="26727" y="16283"/>
                    <a:pt x="27019" y="16163"/>
                    <a:pt x="27036" y="16163"/>
                  </a:cubicBezTo>
                  <a:cubicBezTo>
                    <a:pt x="27173" y="15854"/>
                    <a:pt x="27586" y="16283"/>
                    <a:pt x="27294" y="16489"/>
                  </a:cubicBezTo>
                  <a:lnTo>
                    <a:pt x="27294" y="16489"/>
                  </a:lnTo>
                  <a:cubicBezTo>
                    <a:pt x="27294" y="16489"/>
                    <a:pt x="27294" y="16489"/>
                    <a:pt x="27294" y="16489"/>
                  </a:cubicBezTo>
                  <a:lnTo>
                    <a:pt x="27294" y="16489"/>
                  </a:lnTo>
                  <a:cubicBezTo>
                    <a:pt x="27294" y="16489"/>
                    <a:pt x="27191" y="16489"/>
                    <a:pt x="27156" y="16489"/>
                  </a:cubicBezTo>
                  <a:cubicBezTo>
                    <a:pt x="27122" y="16489"/>
                    <a:pt x="27156" y="16489"/>
                    <a:pt x="27156" y="16593"/>
                  </a:cubicBezTo>
                  <a:cubicBezTo>
                    <a:pt x="27156" y="16696"/>
                    <a:pt x="27276" y="16593"/>
                    <a:pt x="27156" y="16593"/>
                  </a:cubicBezTo>
                  <a:cubicBezTo>
                    <a:pt x="27036" y="16593"/>
                    <a:pt x="27294" y="16593"/>
                    <a:pt x="27379" y="16593"/>
                  </a:cubicBezTo>
                  <a:cubicBezTo>
                    <a:pt x="27465" y="16593"/>
                    <a:pt x="27276" y="16713"/>
                    <a:pt x="27276" y="16799"/>
                  </a:cubicBezTo>
                  <a:cubicBezTo>
                    <a:pt x="27276" y="16885"/>
                    <a:pt x="26795" y="16936"/>
                    <a:pt x="26744" y="16799"/>
                  </a:cubicBezTo>
                  <a:cubicBezTo>
                    <a:pt x="26692" y="16661"/>
                    <a:pt x="26297" y="16799"/>
                    <a:pt x="26074" y="16902"/>
                  </a:cubicBezTo>
                  <a:cubicBezTo>
                    <a:pt x="25851" y="17005"/>
                    <a:pt x="26074" y="17125"/>
                    <a:pt x="25868" y="16988"/>
                  </a:cubicBezTo>
                  <a:cubicBezTo>
                    <a:pt x="25662" y="16850"/>
                    <a:pt x="25610" y="16988"/>
                    <a:pt x="25559" y="17142"/>
                  </a:cubicBezTo>
                  <a:cubicBezTo>
                    <a:pt x="25507" y="17297"/>
                    <a:pt x="25559" y="17142"/>
                    <a:pt x="25404" y="17142"/>
                  </a:cubicBezTo>
                  <a:cubicBezTo>
                    <a:pt x="25553" y="17029"/>
                    <a:pt x="25690" y="16902"/>
                    <a:pt x="25816" y="16764"/>
                  </a:cubicBezTo>
                  <a:cubicBezTo>
                    <a:pt x="25816" y="16593"/>
                    <a:pt x="26057" y="16764"/>
                    <a:pt x="26194" y="16764"/>
                  </a:cubicBezTo>
                  <a:cubicBezTo>
                    <a:pt x="26332" y="16764"/>
                    <a:pt x="26297" y="16610"/>
                    <a:pt x="26349" y="16541"/>
                  </a:cubicBezTo>
                  <a:cubicBezTo>
                    <a:pt x="26400" y="16472"/>
                    <a:pt x="26091" y="16764"/>
                    <a:pt x="26005" y="16627"/>
                  </a:cubicBezTo>
                  <a:cubicBezTo>
                    <a:pt x="25919" y="16489"/>
                    <a:pt x="25748" y="16627"/>
                    <a:pt x="25902" y="16627"/>
                  </a:cubicBezTo>
                  <a:cubicBezTo>
                    <a:pt x="26057" y="16627"/>
                    <a:pt x="25765" y="16627"/>
                    <a:pt x="25662" y="16627"/>
                  </a:cubicBezTo>
                  <a:lnTo>
                    <a:pt x="25662" y="16627"/>
                  </a:lnTo>
                  <a:cubicBezTo>
                    <a:pt x="25662" y="16627"/>
                    <a:pt x="25662" y="16627"/>
                    <a:pt x="25662" y="16627"/>
                  </a:cubicBezTo>
                  <a:cubicBezTo>
                    <a:pt x="25919" y="16541"/>
                    <a:pt x="26040" y="16472"/>
                    <a:pt x="26005" y="16215"/>
                  </a:cubicBezTo>
                  <a:lnTo>
                    <a:pt x="25834" y="16215"/>
                  </a:lnTo>
                  <a:cubicBezTo>
                    <a:pt x="25954" y="16094"/>
                    <a:pt x="26126" y="15940"/>
                    <a:pt x="26297" y="16060"/>
                  </a:cubicBezTo>
                  <a:cubicBezTo>
                    <a:pt x="26160" y="15888"/>
                    <a:pt x="26297" y="16060"/>
                    <a:pt x="26297" y="16060"/>
                  </a:cubicBezTo>
                  <a:cubicBezTo>
                    <a:pt x="26297" y="16060"/>
                    <a:pt x="26194" y="15837"/>
                    <a:pt x="26297" y="15785"/>
                  </a:cubicBezTo>
                  <a:cubicBezTo>
                    <a:pt x="26400" y="15734"/>
                    <a:pt x="26297" y="15648"/>
                    <a:pt x="26194" y="15785"/>
                  </a:cubicBezTo>
                  <a:lnTo>
                    <a:pt x="26194" y="15785"/>
                  </a:lnTo>
                  <a:cubicBezTo>
                    <a:pt x="26057" y="15785"/>
                    <a:pt x="26194" y="15476"/>
                    <a:pt x="26194" y="15493"/>
                  </a:cubicBezTo>
                  <a:cubicBezTo>
                    <a:pt x="26023" y="15493"/>
                    <a:pt x="25988" y="15613"/>
                    <a:pt x="25834" y="15493"/>
                  </a:cubicBezTo>
                  <a:cubicBezTo>
                    <a:pt x="25679" y="15373"/>
                    <a:pt x="25834" y="15493"/>
                    <a:pt x="25834" y="15596"/>
                  </a:cubicBezTo>
                  <a:cubicBezTo>
                    <a:pt x="25834" y="15699"/>
                    <a:pt x="25662" y="15459"/>
                    <a:pt x="25713" y="15596"/>
                  </a:cubicBezTo>
                  <a:cubicBezTo>
                    <a:pt x="25765" y="15734"/>
                    <a:pt x="25713" y="15493"/>
                    <a:pt x="25713" y="15459"/>
                  </a:cubicBezTo>
                  <a:lnTo>
                    <a:pt x="25713" y="15459"/>
                  </a:lnTo>
                  <a:cubicBezTo>
                    <a:pt x="25713" y="15459"/>
                    <a:pt x="25713" y="15287"/>
                    <a:pt x="25816" y="15236"/>
                  </a:cubicBezTo>
                  <a:cubicBezTo>
                    <a:pt x="25919" y="15184"/>
                    <a:pt x="25713" y="15029"/>
                    <a:pt x="25816" y="15064"/>
                  </a:cubicBezTo>
                  <a:cubicBezTo>
                    <a:pt x="25919" y="15098"/>
                    <a:pt x="25816" y="15064"/>
                    <a:pt x="25816" y="14961"/>
                  </a:cubicBezTo>
                  <a:cubicBezTo>
                    <a:pt x="25816" y="14858"/>
                    <a:pt x="25816" y="15047"/>
                    <a:pt x="25816" y="15081"/>
                  </a:cubicBezTo>
                  <a:lnTo>
                    <a:pt x="25816" y="15081"/>
                  </a:lnTo>
                  <a:cubicBezTo>
                    <a:pt x="25816" y="15081"/>
                    <a:pt x="25816" y="15081"/>
                    <a:pt x="25816" y="15081"/>
                  </a:cubicBezTo>
                  <a:cubicBezTo>
                    <a:pt x="25816" y="15081"/>
                    <a:pt x="25816" y="15081"/>
                    <a:pt x="25816" y="15081"/>
                  </a:cubicBezTo>
                  <a:cubicBezTo>
                    <a:pt x="25812" y="15173"/>
                    <a:pt x="25812" y="15264"/>
                    <a:pt x="25816" y="15356"/>
                  </a:cubicBezTo>
                  <a:cubicBezTo>
                    <a:pt x="25713" y="15356"/>
                    <a:pt x="25816" y="15218"/>
                    <a:pt x="25816" y="15167"/>
                  </a:cubicBezTo>
                  <a:cubicBezTo>
                    <a:pt x="25816" y="15115"/>
                    <a:pt x="25816" y="14858"/>
                    <a:pt x="25919" y="14823"/>
                  </a:cubicBezTo>
                  <a:cubicBezTo>
                    <a:pt x="26023" y="14789"/>
                    <a:pt x="25919" y="14823"/>
                    <a:pt x="25919" y="14823"/>
                  </a:cubicBezTo>
                  <a:cubicBezTo>
                    <a:pt x="25919" y="14823"/>
                    <a:pt x="25799" y="14978"/>
                    <a:pt x="25731" y="14823"/>
                  </a:cubicBezTo>
                  <a:cubicBezTo>
                    <a:pt x="25662" y="14669"/>
                    <a:pt x="25731" y="14823"/>
                    <a:pt x="25731" y="14823"/>
                  </a:cubicBezTo>
                  <a:cubicBezTo>
                    <a:pt x="25731" y="14823"/>
                    <a:pt x="25731" y="14686"/>
                    <a:pt x="25868" y="14737"/>
                  </a:cubicBezTo>
                  <a:cubicBezTo>
                    <a:pt x="26005" y="14789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lnTo>
                    <a:pt x="25868" y="14737"/>
                  </a:lnTo>
                  <a:lnTo>
                    <a:pt x="25868" y="14652"/>
                  </a:lnTo>
                  <a:cubicBezTo>
                    <a:pt x="25868" y="14652"/>
                    <a:pt x="25868" y="14652"/>
                    <a:pt x="25868" y="14652"/>
                  </a:cubicBezTo>
                  <a:cubicBezTo>
                    <a:pt x="25868" y="14652"/>
                    <a:pt x="25868" y="14566"/>
                    <a:pt x="25868" y="14514"/>
                  </a:cubicBezTo>
                  <a:lnTo>
                    <a:pt x="25868" y="14514"/>
                  </a:lnTo>
                  <a:cubicBezTo>
                    <a:pt x="25868" y="14514"/>
                    <a:pt x="25868" y="14514"/>
                    <a:pt x="25868" y="14514"/>
                  </a:cubicBezTo>
                  <a:cubicBezTo>
                    <a:pt x="25868" y="14514"/>
                    <a:pt x="25868" y="14514"/>
                    <a:pt x="25971" y="14514"/>
                  </a:cubicBezTo>
                  <a:cubicBezTo>
                    <a:pt x="25976" y="14486"/>
                    <a:pt x="25976" y="14457"/>
                    <a:pt x="25971" y="14428"/>
                  </a:cubicBezTo>
                  <a:cubicBezTo>
                    <a:pt x="25971" y="14428"/>
                    <a:pt x="26091" y="14085"/>
                    <a:pt x="26126" y="14291"/>
                  </a:cubicBezTo>
                  <a:cubicBezTo>
                    <a:pt x="26160" y="14497"/>
                    <a:pt x="26126" y="14291"/>
                    <a:pt x="26126" y="14291"/>
                  </a:cubicBezTo>
                  <a:cubicBezTo>
                    <a:pt x="26538" y="14136"/>
                    <a:pt x="26435" y="14291"/>
                    <a:pt x="26126" y="14531"/>
                  </a:cubicBezTo>
                  <a:lnTo>
                    <a:pt x="26126" y="14531"/>
                  </a:lnTo>
                  <a:cubicBezTo>
                    <a:pt x="25902" y="14737"/>
                    <a:pt x="26366" y="14531"/>
                    <a:pt x="26486" y="14531"/>
                  </a:cubicBezTo>
                  <a:cubicBezTo>
                    <a:pt x="26607" y="14531"/>
                    <a:pt x="26486" y="15029"/>
                    <a:pt x="26263" y="14995"/>
                  </a:cubicBezTo>
                  <a:cubicBezTo>
                    <a:pt x="26040" y="14961"/>
                    <a:pt x="26263" y="14995"/>
                    <a:pt x="26263" y="14995"/>
                  </a:cubicBezTo>
                  <a:cubicBezTo>
                    <a:pt x="26263" y="14995"/>
                    <a:pt x="26108" y="15133"/>
                    <a:pt x="26005" y="14995"/>
                  </a:cubicBezTo>
                  <a:cubicBezTo>
                    <a:pt x="26064" y="15057"/>
                    <a:pt x="26162" y="15059"/>
                    <a:pt x="26224" y="15000"/>
                  </a:cubicBezTo>
                  <a:cubicBezTo>
                    <a:pt x="26226" y="14998"/>
                    <a:pt x="26227" y="14997"/>
                    <a:pt x="26229" y="14995"/>
                  </a:cubicBezTo>
                  <a:cubicBezTo>
                    <a:pt x="26486" y="15098"/>
                    <a:pt x="26503" y="15373"/>
                    <a:pt x="26589" y="15579"/>
                  </a:cubicBezTo>
                  <a:cubicBezTo>
                    <a:pt x="26675" y="15785"/>
                    <a:pt x="26830" y="15545"/>
                    <a:pt x="26967" y="15613"/>
                  </a:cubicBezTo>
                  <a:close/>
                  <a:moveTo>
                    <a:pt x="18138" y="47476"/>
                  </a:moveTo>
                  <a:lnTo>
                    <a:pt x="18138" y="47476"/>
                  </a:lnTo>
                  <a:lnTo>
                    <a:pt x="18138" y="47476"/>
                  </a:lnTo>
                  <a:lnTo>
                    <a:pt x="18138" y="47476"/>
                  </a:lnTo>
                  <a:lnTo>
                    <a:pt x="18224" y="47476"/>
                  </a:lnTo>
                  <a:lnTo>
                    <a:pt x="18224" y="47476"/>
                  </a:lnTo>
                  <a:lnTo>
                    <a:pt x="17984" y="47338"/>
                  </a:lnTo>
                  <a:lnTo>
                    <a:pt x="17984" y="47338"/>
                  </a:lnTo>
                  <a:lnTo>
                    <a:pt x="17984" y="47338"/>
                  </a:lnTo>
                  <a:lnTo>
                    <a:pt x="18070" y="47338"/>
                  </a:lnTo>
                  <a:lnTo>
                    <a:pt x="18070" y="47338"/>
                  </a:lnTo>
                  <a:lnTo>
                    <a:pt x="18070" y="47338"/>
                  </a:lnTo>
                  <a:lnTo>
                    <a:pt x="17795" y="47218"/>
                  </a:lnTo>
                  <a:lnTo>
                    <a:pt x="17795" y="47218"/>
                  </a:lnTo>
                  <a:cubicBezTo>
                    <a:pt x="17795" y="47218"/>
                    <a:pt x="17795" y="47218"/>
                    <a:pt x="17795" y="47218"/>
                  </a:cubicBezTo>
                  <a:cubicBezTo>
                    <a:pt x="17762" y="47203"/>
                    <a:pt x="17725" y="47203"/>
                    <a:pt x="17692" y="47218"/>
                  </a:cubicBezTo>
                  <a:lnTo>
                    <a:pt x="17692" y="47218"/>
                  </a:lnTo>
                  <a:lnTo>
                    <a:pt x="17692" y="47218"/>
                  </a:lnTo>
                  <a:lnTo>
                    <a:pt x="17692" y="47218"/>
                  </a:lnTo>
                  <a:lnTo>
                    <a:pt x="17864" y="47218"/>
                  </a:lnTo>
                  <a:lnTo>
                    <a:pt x="17658" y="47218"/>
                  </a:lnTo>
                  <a:lnTo>
                    <a:pt x="17658" y="47218"/>
                  </a:lnTo>
                  <a:lnTo>
                    <a:pt x="17417" y="47115"/>
                  </a:lnTo>
                  <a:lnTo>
                    <a:pt x="17417" y="47115"/>
                  </a:lnTo>
                  <a:lnTo>
                    <a:pt x="17417" y="47115"/>
                  </a:lnTo>
                  <a:lnTo>
                    <a:pt x="17280" y="47115"/>
                  </a:lnTo>
                  <a:lnTo>
                    <a:pt x="17469" y="47218"/>
                  </a:lnTo>
                  <a:lnTo>
                    <a:pt x="17194" y="47081"/>
                  </a:lnTo>
                  <a:lnTo>
                    <a:pt x="17194" y="47081"/>
                  </a:lnTo>
                  <a:lnTo>
                    <a:pt x="17366" y="47081"/>
                  </a:lnTo>
                  <a:lnTo>
                    <a:pt x="17228" y="47081"/>
                  </a:lnTo>
                  <a:lnTo>
                    <a:pt x="17366" y="47081"/>
                  </a:lnTo>
                  <a:lnTo>
                    <a:pt x="17108" y="46961"/>
                  </a:lnTo>
                  <a:lnTo>
                    <a:pt x="17108" y="46961"/>
                  </a:lnTo>
                  <a:lnTo>
                    <a:pt x="17005" y="46961"/>
                  </a:lnTo>
                  <a:lnTo>
                    <a:pt x="17005" y="46961"/>
                  </a:lnTo>
                  <a:lnTo>
                    <a:pt x="16782" y="46858"/>
                  </a:lnTo>
                  <a:lnTo>
                    <a:pt x="16782" y="46858"/>
                  </a:lnTo>
                  <a:lnTo>
                    <a:pt x="16696" y="46858"/>
                  </a:lnTo>
                  <a:lnTo>
                    <a:pt x="16696" y="46858"/>
                  </a:lnTo>
                  <a:cubicBezTo>
                    <a:pt x="16557" y="46803"/>
                    <a:pt x="16425" y="46733"/>
                    <a:pt x="16301" y="46651"/>
                  </a:cubicBezTo>
                  <a:lnTo>
                    <a:pt x="16301" y="46651"/>
                  </a:lnTo>
                  <a:lnTo>
                    <a:pt x="16129" y="46548"/>
                  </a:lnTo>
                  <a:lnTo>
                    <a:pt x="16283" y="46651"/>
                  </a:lnTo>
                  <a:lnTo>
                    <a:pt x="15940" y="46462"/>
                  </a:lnTo>
                  <a:lnTo>
                    <a:pt x="15940" y="46462"/>
                  </a:lnTo>
                  <a:lnTo>
                    <a:pt x="15837" y="46462"/>
                  </a:lnTo>
                  <a:lnTo>
                    <a:pt x="15837" y="46462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510" y="46274"/>
                  </a:lnTo>
                  <a:lnTo>
                    <a:pt x="15510" y="46274"/>
                  </a:lnTo>
                  <a:lnTo>
                    <a:pt x="15339" y="46153"/>
                  </a:lnTo>
                  <a:lnTo>
                    <a:pt x="15339" y="46153"/>
                  </a:lnTo>
                  <a:lnTo>
                    <a:pt x="15201" y="46153"/>
                  </a:lnTo>
                  <a:lnTo>
                    <a:pt x="15201" y="46153"/>
                  </a:lnTo>
                  <a:cubicBezTo>
                    <a:pt x="15162" y="46164"/>
                    <a:pt x="15120" y="46164"/>
                    <a:pt x="15081" y="46153"/>
                  </a:cubicBezTo>
                  <a:lnTo>
                    <a:pt x="15081" y="46153"/>
                  </a:lnTo>
                  <a:lnTo>
                    <a:pt x="15218" y="46239"/>
                  </a:lnTo>
                  <a:lnTo>
                    <a:pt x="15081" y="46153"/>
                  </a:lnTo>
                  <a:lnTo>
                    <a:pt x="15081" y="46153"/>
                  </a:lnTo>
                  <a:lnTo>
                    <a:pt x="14961" y="46153"/>
                  </a:lnTo>
                  <a:lnTo>
                    <a:pt x="14961" y="46153"/>
                  </a:lnTo>
                  <a:lnTo>
                    <a:pt x="14823" y="46067"/>
                  </a:lnTo>
                  <a:cubicBezTo>
                    <a:pt x="14890" y="46095"/>
                    <a:pt x="14953" y="46130"/>
                    <a:pt x="15012" y="46170"/>
                  </a:cubicBezTo>
                  <a:cubicBezTo>
                    <a:pt x="15012" y="46170"/>
                    <a:pt x="15150" y="46274"/>
                    <a:pt x="15184" y="46274"/>
                  </a:cubicBezTo>
                  <a:lnTo>
                    <a:pt x="14720" y="45947"/>
                  </a:lnTo>
                  <a:lnTo>
                    <a:pt x="14720" y="45947"/>
                  </a:lnTo>
                  <a:cubicBezTo>
                    <a:pt x="14446" y="45724"/>
                    <a:pt x="14136" y="45535"/>
                    <a:pt x="13879" y="45312"/>
                  </a:cubicBezTo>
                  <a:lnTo>
                    <a:pt x="13982" y="45312"/>
                  </a:lnTo>
                  <a:lnTo>
                    <a:pt x="13827" y="45191"/>
                  </a:lnTo>
                  <a:lnTo>
                    <a:pt x="13827" y="45191"/>
                  </a:lnTo>
                  <a:cubicBezTo>
                    <a:pt x="13827" y="45191"/>
                    <a:pt x="13827" y="45191"/>
                    <a:pt x="13724" y="45191"/>
                  </a:cubicBezTo>
                  <a:lnTo>
                    <a:pt x="13724" y="45191"/>
                  </a:lnTo>
                  <a:lnTo>
                    <a:pt x="13724" y="45191"/>
                  </a:lnTo>
                  <a:lnTo>
                    <a:pt x="13724" y="45191"/>
                  </a:lnTo>
                  <a:cubicBezTo>
                    <a:pt x="13500" y="45056"/>
                    <a:pt x="13292" y="44895"/>
                    <a:pt x="13106" y="44710"/>
                  </a:cubicBezTo>
                  <a:lnTo>
                    <a:pt x="13106" y="44710"/>
                  </a:lnTo>
                  <a:cubicBezTo>
                    <a:pt x="12865" y="44453"/>
                    <a:pt x="12573" y="44264"/>
                    <a:pt x="12316" y="44023"/>
                  </a:cubicBezTo>
                  <a:cubicBezTo>
                    <a:pt x="12316" y="44023"/>
                    <a:pt x="12316" y="44023"/>
                    <a:pt x="12316" y="44023"/>
                  </a:cubicBezTo>
                  <a:cubicBezTo>
                    <a:pt x="11271" y="42931"/>
                    <a:pt x="10350" y="41727"/>
                    <a:pt x="9567" y="40434"/>
                  </a:cubicBezTo>
                  <a:lnTo>
                    <a:pt x="9567" y="40434"/>
                  </a:lnTo>
                  <a:cubicBezTo>
                    <a:pt x="9215" y="39466"/>
                    <a:pt x="8691" y="38570"/>
                    <a:pt x="8021" y="37788"/>
                  </a:cubicBezTo>
                  <a:lnTo>
                    <a:pt x="8021" y="37788"/>
                  </a:lnTo>
                  <a:cubicBezTo>
                    <a:pt x="6949" y="36560"/>
                    <a:pt x="6200" y="35084"/>
                    <a:pt x="5840" y="33494"/>
                  </a:cubicBezTo>
                  <a:cubicBezTo>
                    <a:pt x="5840" y="33494"/>
                    <a:pt x="5840" y="33494"/>
                    <a:pt x="5840" y="33580"/>
                  </a:cubicBezTo>
                  <a:cubicBezTo>
                    <a:pt x="5850" y="33546"/>
                    <a:pt x="5850" y="33511"/>
                    <a:pt x="5840" y="33477"/>
                  </a:cubicBezTo>
                  <a:cubicBezTo>
                    <a:pt x="5840" y="33477"/>
                    <a:pt x="5840" y="33580"/>
                    <a:pt x="5840" y="33614"/>
                  </a:cubicBezTo>
                  <a:cubicBezTo>
                    <a:pt x="5600" y="33202"/>
                    <a:pt x="5685" y="28461"/>
                    <a:pt x="5222" y="30299"/>
                  </a:cubicBezTo>
                  <a:cubicBezTo>
                    <a:pt x="5222" y="30299"/>
                    <a:pt x="5222" y="30093"/>
                    <a:pt x="5222" y="30042"/>
                  </a:cubicBezTo>
                  <a:cubicBezTo>
                    <a:pt x="5222" y="29990"/>
                    <a:pt x="5222" y="30042"/>
                    <a:pt x="5222" y="30128"/>
                  </a:cubicBezTo>
                  <a:cubicBezTo>
                    <a:pt x="5222" y="30213"/>
                    <a:pt x="5222" y="29887"/>
                    <a:pt x="5067" y="29784"/>
                  </a:cubicBezTo>
                  <a:cubicBezTo>
                    <a:pt x="4913" y="29681"/>
                    <a:pt x="5067" y="29784"/>
                    <a:pt x="5067" y="29784"/>
                  </a:cubicBezTo>
                  <a:lnTo>
                    <a:pt x="5067" y="29784"/>
                  </a:lnTo>
                  <a:cubicBezTo>
                    <a:pt x="5067" y="29784"/>
                    <a:pt x="5067" y="29612"/>
                    <a:pt x="5067" y="29544"/>
                  </a:cubicBezTo>
                  <a:cubicBezTo>
                    <a:pt x="5067" y="29475"/>
                    <a:pt x="5067" y="29664"/>
                    <a:pt x="5067" y="29715"/>
                  </a:cubicBezTo>
                  <a:cubicBezTo>
                    <a:pt x="5067" y="29458"/>
                    <a:pt x="4947" y="29166"/>
                    <a:pt x="4844" y="28908"/>
                  </a:cubicBezTo>
                  <a:cubicBezTo>
                    <a:pt x="4844" y="28994"/>
                    <a:pt x="4844" y="29080"/>
                    <a:pt x="4844" y="29183"/>
                  </a:cubicBezTo>
                  <a:cubicBezTo>
                    <a:pt x="4689" y="28753"/>
                    <a:pt x="4672" y="28290"/>
                    <a:pt x="4552" y="27843"/>
                  </a:cubicBezTo>
                  <a:cubicBezTo>
                    <a:pt x="4552" y="27929"/>
                    <a:pt x="4552" y="27843"/>
                    <a:pt x="4552" y="27740"/>
                  </a:cubicBezTo>
                  <a:cubicBezTo>
                    <a:pt x="4552" y="27637"/>
                    <a:pt x="4552" y="27740"/>
                    <a:pt x="4552" y="27740"/>
                  </a:cubicBezTo>
                  <a:cubicBezTo>
                    <a:pt x="4552" y="27740"/>
                    <a:pt x="4552" y="27740"/>
                    <a:pt x="4552" y="27740"/>
                  </a:cubicBezTo>
                  <a:cubicBezTo>
                    <a:pt x="4552" y="27740"/>
                    <a:pt x="4552" y="27740"/>
                    <a:pt x="4552" y="27740"/>
                  </a:cubicBezTo>
                  <a:cubicBezTo>
                    <a:pt x="4343" y="27287"/>
                    <a:pt x="4226" y="26796"/>
                    <a:pt x="4208" y="26297"/>
                  </a:cubicBezTo>
                  <a:cubicBezTo>
                    <a:pt x="4218" y="26366"/>
                    <a:pt x="4218" y="26435"/>
                    <a:pt x="4208" y="26503"/>
                  </a:cubicBezTo>
                  <a:cubicBezTo>
                    <a:pt x="4218" y="26435"/>
                    <a:pt x="4218" y="26366"/>
                    <a:pt x="4208" y="26297"/>
                  </a:cubicBezTo>
                  <a:lnTo>
                    <a:pt x="4208" y="26297"/>
                  </a:lnTo>
                  <a:cubicBezTo>
                    <a:pt x="4208" y="26297"/>
                    <a:pt x="4208" y="26297"/>
                    <a:pt x="4208" y="26297"/>
                  </a:cubicBezTo>
                  <a:lnTo>
                    <a:pt x="4208" y="26297"/>
                  </a:lnTo>
                  <a:lnTo>
                    <a:pt x="4208" y="26297"/>
                  </a:lnTo>
                  <a:cubicBezTo>
                    <a:pt x="4208" y="26297"/>
                    <a:pt x="4208" y="26297"/>
                    <a:pt x="4208" y="26400"/>
                  </a:cubicBezTo>
                  <a:cubicBezTo>
                    <a:pt x="4208" y="26503"/>
                    <a:pt x="4208" y="26400"/>
                    <a:pt x="4208" y="26400"/>
                  </a:cubicBezTo>
                  <a:lnTo>
                    <a:pt x="4208" y="26400"/>
                  </a:lnTo>
                  <a:lnTo>
                    <a:pt x="4208" y="26400"/>
                  </a:lnTo>
                  <a:cubicBezTo>
                    <a:pt x="4208" y="26314"/>
                    <a:pt x="4208" y="26194"/>
                    <a:pt x="4208" y="26091"/>
                  </a:cubicBezTo>
                  <a:lnTo>
                    <a:pt x="4208" y="26091"/>
                  </a:lnTo>
                  <a:cubicBezTo>
                    <a:pt x="4200" y="26034"/>
                    <a:pt x="4200" y="25976"/>
                    <a:pt x="4208" y="25919"/>
                  </a:cubicBezTo>
                  <a:lnTo>
                    <a:pt x="4208" y="25919"/>
                  </a:lnTo>
                  <a:cubicBezTo>
                    <a:pt x="4191" y="25679"/>
                    <a:pt x="4191" y="25438"/>
                    <a:pt x="4208" y="25198"/>
                  </a:cubicBezTo>
                  <a:lnTo>
                    <a:pt x="4208" y="25198"/>
                  </a:lnTo>
                  <a:cubicBezTo>
                    <a:pt x="4208" y="25198"/>
                    <a:pt x="4208" y="25112"/>
                    <a:pt x="4208" y="25078"/>
                  </a:cubicBezTo>
                  <a:lnTo>
                    <a:pt x="4208" y="25078"/>
                  </a:lnTo>
                  <a:cubicBezTo>
                    <a:pt x="4764" y="15747"/>
                    <a:pt x="10928" y="7687"/>
                    <a:pt x="19787" y="4706"/>
                  </a:cubicBezTo>
                  <a:lnTo>
                    <a:pt x="19787" y="4706"/>
                  </a:lnTo>
                  <a:lnTo>
                    <a:pt x="19994" y="4706"/>
                  </a:lnTo>
                  <a:lnTo>
                    <a:pt x="19994" y="4706"/>
                  </a:lnTo>
                  <a:lnTo>
                    <a:pt x="20217" y="4706"/>
                  </a:lnTo>
                  <a:lnTo>
                    <a:pt x="20062" y="4706"/>
                  </a:lnTo>
                  <a:lnTo>
                    <a:pt x="20337" y="4706"/>
                  </a:lnTo>
                  <a:lnTo>
                    <a:pt x="20234" y="4706"/>
                  </a:lnTo>
                  <a:lnTo>
                    <a:pt x="20234" y="4706"/>
                  </a:lnTo>
                  <a:lnTo>
                    <a:pt x="20423" y="4706"/>
                  </a:lnTo>
                  <a:lnTo>
                    <a:pt x="20423" y="4706"/>
                  </a:lnTo>
                  <a:lnTo>
                    <a:pt x="21711" y="4414"/>
                  </a:lnTo>
                  <a:lnTo>
                    <a:pt x="21711" y="4414"/>
                  </a:lnTo>
                  <a:lnTo>
                    <a:pt x="22038" y="4414"/>
                  </a:lnTo>
                  <a:lnTo>
                    <a:pt x="21814" y="4414"/>
                  </a:lnTo>
                  <a:lnTo>
                    <a:pt x="21814" y="4414"/>
                  </a:lnTo>
                  <a:lnTo>
                    <a:pt x="22415" y="4414"/>
                  </a:lnTo>
                  <a:lnTo>
                    <a:pt x="22415" y="4414"/>
                  </a:lnTo>
                  <a:lnTo>
                    <a:pt x="22106" y="4414"/>
                  </a:lnTo>
                  <a:lnTo>
                    <a:pt x="22398" y="4414"/>
                  </a:lnTo>
                  <a:lnTo>
                    <a:pt x="22398" y="4414"/>
                  </a:lnTo>
                  <a:lnTo>
                    <a:pt x="22690" y="4414"/>
                  </a:lnTo>
                  <a:lnTo>
                    <a:pt x="22587" y="4414"/>
                  </a:lnTo>
                  <a:lnTo>
                    <a:pt x="22484" y="4414"/>
                  </a:lnTo>
                  <a:lnTo>
                    <a:pt x="22725" y="4414"/>
                  </a:lnTo>
                  <a:lnTo>
                    <a:pt x="22347" y="4414"/>
                  </a:lnTo>
                  <a:lnTo>
                    <a:pt x="22244" y="4414"/>
                  </a:lnTo>
                  <a:lnTo>
                    <a:pt x="22055" y="4414"/>
                  </a:lnTo>
                  <a:lnTo>
                    <a:pt x="22415" y="4414"/>
                  </a:lnTo>
                  <a:lnTo>
                    <a:pt x="22020" y="4414"/>
                  </a:lnTo>
                  <a:lnTo>
                    <a:pt x="22020" y="4414"/>
                  </a:lnTo>
                  <a:lnTo>
                    <a:pt x="21608" y="4414"/>
                  </a:lnTo>
                  <a:lnTo>
                    <a:pt x="21608" y="4414"/>
                  </a:lnTo>
                  <a:lnTo>
                    <a:pt x="21213" y="4500"/>
                  </a:lnTo>
                  <a:lnTo>
                    <a:pt x="21385" y="4500"/>
                  </a:lnTo>
                  <a:lnTo>
                    <a:pt x="21385" y="4500"/>
                  </a:lnTo>
                  <a:cubicBezTo>
                    <a:pt x="21251" y="4544"/>
                    <a:pt x="21113" y="4572"/>
                    <a:pt x="20973" y="4586"/>
                  </a:cubicBezTo>
                  <a:lnTo>
                    <a:pt x="21144" y="4586"/>
                  </a:lnTo>
                  <a:lnTo>
                    <a:pt x="20955" y="4586"/>
                  </a:lnTo>
                  <a:lnTo>
                    <a:pt x="20955" y="4586"/>
                  </a:lnTo>
                  <a:lnTo>
                    <a:pt x="20835" y="4586"/>
                  </a:lnTo>
                  <a:lnTo>
                    <a:pt x="20835" y="4586"/>
                  </a:lnTo>
                  <a:lnTo>
                    <a:pt x="20835" y="4586"/>
                  </a:lnTo>
                  <a:cubicBezTo>
                    <a:pt x="20835" y="4586"/>
                    <a:pt x="20835" y="4586"/>
                    <a:pt x="20835" y="4586"/>
                  </a:cubicBezTo>
                  <a:lnTo>
                    <a:pt x="20835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560" y="4586"/>
                  </a:lnTo>
                  <a:lnTo>
                    <a:pt x="20560" y="4586"/>
                  </a:lnTo>
                  <a:lnTo>
                    <a:pt x="20114" y="4706"/>
                  </a:lnTo>
                  <a:lnTo>
                    <a:pt x="20114" y="4706"/>
                  </a:lnTo>
                  <a:lnTo>
                    <a:pt x="19787" y="4827"/>
                  </a:lnTo>
                  <a:lnTo>
                    <a:pt x="19787" y="4827"/>
                  </a:lnTo>
                  <a:lnTo>
                    <a:pt x="19392" y="4947"/>
                  </a:lnTo>
                  <a:lnTo>
                    <a:pt x="19392" y="4947"/>
                  </a:lnTo>
                  <a:lnTo>
                    <a:pt x="19100" y="5153"/>
                  </a:lnTo>
                  <a:lnTo>
                    <a:pt x="19100" y="5153"/>
                  </a:lnTo>
                  <a:lnTo>
                    <a:pt x="18997" y="5153"/>
                  </a:lnTo>
                  <a:lnTo>
                    <a:pt x="18997" y="5153"/>
                  </a:lnTo>
                  <a:lnTo>
                    <a:pt x="18430" y="5359"/>
                  </a:lnTo>
                  <a:lnTo>
                    <a:pt x="18568" y="5359"/>
                  </a:lnTo>
                  <a:lnTo>
                    <a:pt x="18568" y="5359"/>
                  </a:lnTo>
                  <a:cubicBezTo>
                    <a:pt x="18763" y="5286"/>
                    <a:pt x="18964" y="5229"/>
                    <a:pt x="19169" y="5187"/>
                  </a:cubicBezTo>
                  <a:lnTo>
                    <a:pt x="19169" y="5187"/>
                  </a:lnTo>
                  <a:lnTo>
                    <a:pt x="19341" y="5187"/>
                  </a:lnTo>
                  <a:lnTo>
                    <a:pt x="19461" y="5187"/>
                  </a:lnTo>
                  <a:lnTo>
                    <a:pt x="19186" y="5187"/>
                  </a:lnTo>
                  <a:lnTo>
                    <a:pt x="19186" y="5187"/>
                  </a:lnTo>
                  <a:lnTo>
                    <a:pt x="19032" y="5187"/>
                  </a:lnTo>
                  <a:lnTo>
                    <a:pt x="19032" y="5187"/>
                  </a:lnTo>
                  <a:lnTo>
                    <a:pt x="18911" y="5187"/>
                  </a:lnTo>
                  <a:lnTo>
                    <a:pt x="18911" y="5187"/>
                  </a:lnTo>
                  <a:lnTo>
                    <a:pt x="18740" y="5187"/>
                  </a:lnTo>
                  <a:lnTo>
                    <a:pt x="18740" y="5187"/>
                  </a:lnTo>
                  <a:lnTo>
                    <a:pt x="18894" y="5187"/>
                  </a:lnTo>
                  <a:lnTo>
                    <a:pt x="18894" y="5187"/>
                  </a:lnTo>
                  <a:lnTo>
                    <a:pt x="19049" y="5187"/>
                  </a:lnTo>
                  <a:lnTo>
                    <a:pt x="19049" y="5187"/>
                  </a:lnTo>
                  <a:lnTo>
                    <a:pt x="18860" y="5187"/>
                  </a:lnTo>
                  <a:cubicBezTo>
                    <a:pt x="18997" y="5187"/>
                    <a:pt x="19392" y="5067"/>
                    <a:pt x="19032" y="5187"/>
                  </a:cubicBezTo>
                  <a:lnTo>
                    <a:pt x="19186" y="5187"/>
                  </a:lnTo>
                  <a:lnTo>
                    <a:pt x="19289" y="5187"/>
                  </a:lnTo>
                  <a:lnTo>
                    <a:pt x="19650" y="5084"/>
                  </a:lnTo>
                  <a:cubicBezTo>
                    <a:pt x="19252" y="5196"/>
                    <a:pt x="18862" y="5334"/>
                    <a:pt x="18482" y="5497"/>
                  </a:cubicBezTo>
                  <a:lnTo>
                    <a:pt x="18654" y="5497"/>
                  </a:lnTo>
                  <a:lnTo>
                    <a:pt x="18654" y="5497"/>
                  </a:lnTo>
                  <a:cubicBezTo>
                    <a:pt x="18654" y="5497"/>
                    <a:pt x="18860" y="5497"/>
                    <a:pt x="18740" y="5497"/>
                  </a:cubicBezTo>
                  <a:lnTo>
                    <a:pt x="18894" y="5497"/>
                  </a:lnTo>
                  <a:lnTo>
                    <a:pt x="18894" y="5497"/>
                  </a:lnTo>
                  <a:lnTo>
                    <a:pt x="19032" y="5497"/>
                  </a:lnTo>
                  <a:cubicBezTo>
                    <a:pt x="18929" y="5497"/>
                    <a:pt x="18808" y="5497"/>
                    <a:pt x="18722" y="5617"/>
                  </a:cubicBezTo>
                  <a:lnTo>
                    <a:pt x="18722" y="5617"/>
                  </a:lnTo>
                  <a:lnTo>
                    <a:pt x="18585" y="5617"/>
                  </a:lnTo>
                  <a:lnTo>
                    <a:pt x="18585" y="5617"/>
                  </a:lnTo>
                  <a:lnTo>
                    <a:pt x="18413" y="5617"/>
                  </a:lnTo>
                  <a:cubicBezTo>
                    <a:pt x="18505" y="5624"/>
                    <a:pt x="18597" y="5624"/>
                    <a:pt x="18688" y="5617"/>
                  </a:cubicBezTo>
                  <a:cubicBezTo>
                    <a:pt x="18396" y="5771"/>
                    <a:pt x="18035" y="5909"/>
                    <a:pt x="17743" y="6098"/>
                  </a:cubicBezTo>
                  <a:lnTo>
                    <a:pt x="17743" y="6098"/>
                  </a:lnTo>
                  <a:lnTo>
                    <a:pt x="17554" y="6201"/>
                  </a:lnTo>
                  <a:lnTo>
                    <a:pt x="17743" y="6201"/>
                  </a:lnTo>
                  <a:lnTo>
                    <a:pt x="17743" y="6201"/>
                  </a:lnTo>
                  <a:cubicBezTo>
                    <a:pt x="17743" y="6201"/>
                    <a:pt x="17743" y="6201"/>
                    <a:pt x="17743" y="6201"/>
                  </a:cubicBezTo>
                  <a:cubicBezTo>
                    <a:pt x="17557" y="6309"/>
                    <a:pt x="17362" y="6402"/>
                    <a:pt x="17159" y="6476"/>
                  </a:cubicBezTo>
                  <a:cubicBezTo>
                    <a:pt x="17159" y="6476"/>
                    <a:pt x="17159" y="6476"/>
                    <a:pt x="17159" y="6476"/>
                  </a:cubicBezTo>
                  <a:cubicBezTo>
                    <a:pt x="17159" y="6476"/>
                    <a:pt x="17056" y="6476"/>
                    <a:pt x="17039" y="6476"/>
                  </a:cubicBezTo>
                  <a:lnTo>
                    <a:pt x="17039" y="6476"/>
                  </a:lnTo>
                  <a:cubicBezTo>
                    <a:pt x="16976" y="6499"/>
                    <a:pt x="16918" y="6534"/>
                    <a:pt x="16867" y="6579"/>
                  </a:cubicBezTo>
                  <a:lnTo>
                    <a:pt x="16867" y="6579"/>
                  </a:lnTo>
                  <a:cubicBezTo>
                    <a:pt x="16867" y="6579"/>
                    <a:pt x="16627" y="6750"/>
                    <a:pt x="16730" y="6716"/>
                  </a:cubicBezTo>
                  <a:lnTo>
                    <a:pt x="16730" y="6716"/>
                  </a:lnTo>
                  <a:lnTo>
                    <a:pt x="16730" y="6716"/>
                  </a:lnTo>
                  <a:lnTo>
                    <a:pt x="16730" y="6716"/>
                  </a:lnTo>
                  <a:cubicBezTo>
                    <a:pt x="16730" y="6716"/>
                    <a:pt x="16730" y="6716"/>
                    <a:pt x="16730" y="6716"/>
                  </a:cubicBezTo>
                  <a:lnTo>
                    <a:pt x="16885" y="6716"/>
                  </a:lnTo>
                  <a:lnTo>
                    <a:pt x="16627" y="6853"/>
                  </a:lnTo>
                  <a:lnTo>
                    <a:pt x="16627" y="6853"/>
                  </a:lnTo>
                  <a:cubicBezTo>
                    <a:pt x="16627" y="6853"/>
                    <a:pt x="16455" y="6853"/>
                    <a:pt x="16386" y="6991"/>
                  </a:cubicBezTo>
                  <a:cubicBezTo>
                    <a:pt x="16318" y="7128"/>
                    <a:pt x="16507" y="6991"/>
                    <a:pt x="16558" y="6991"/>
                  </a:cubicBezTo>
                  <a:cubicBezTo>
                    <a:pt x="16389" y="7066"/>
                    <a:pt x="16228" y="7158"/>
                    <a:pt x="16077" y="7266"/>
                  </a:cubicBezTo>
                  <a:lnTo>
                    <a:pt x="16077" y="7266"/>
                  </a:lnTo>
                  <a:lnTo>
                    <a:pt x="16077" y="7266"/>
                  </a:lnTo>
                  <a:cubicBezTo>
                    <a:pt x="16317" y="7116"/>
                    <a:pt x="16570" y="6989"/>
                    <a:pt x="16833" y="6888"/>
                  </a:cubicBezTo>
                  <a:lnTo>
                    <a:pt x="16833" y="6888"/>
                  </a:lnTo>
                  <a:cubicBezTo>
                    <a:pt x="16833" y="6888"/>
                    <a:pt x="16833" y="6888"/>
                    <a:pt x="16833" y="6888"/>
                  </a:cubicBezTo>
                  <a:lnTo>
                    <a:pt x="16833" y="6888"/>
                  </a:lnTo>
                  <a:lnTo>
                    <a:pt x="16936" y="6888"/>
                  </a:lnTo>
                  <a:lnTo>
                    <a:pt x="16833" y="6888"/>
                  </a:lnTo>
                  <a:cubicBezTo>
                    <a:pt x="16833" y="6888"/>
                    <a:pt x="16988" y="6785"/>
                    <a:pt x="17056" y="6785"/>
                  </a:cubicBezTo>
                  <a:lnTo>
                    <a:pt x="17056" y="6785"/>
                  </a:lnTo>
                  <a:cubicBezTo>
                    <a:pt x="17056" y="6785"/>
                    <a:pt x="17314" y="6682"/>
                    <a:pt x="17159" y="6785"/>
                  </a:cubicBezTo>
                  <a:lnTo>
                    <a:pt x="17039" y="6785"/>
                  </a:lnTo>
                  <a:cubicBezTo>
                    <a:pt x="17073" y="6775"/>
                    <a:pt x="17109" y="6775"/>
                    <a:pt x="17142" y="6785"/>
                  </a:cubicBezTo>
                  <a:lnTo>
                    <a:pt x="17022" y="6785"/>
                  </a:lnTo>
                  <a:lnTo>
                    <a:pt x="17022" y="6785"/>
                  </a:lnTo>
                  <a:cubicBezTo>
                    <a:pt x="17022" y="6785"/>
                    <a:pt x="17022" y="6785"/>
                    <a:pt x="16885" y="6785"/>
                  </a:cubicBezTo>
                  <a:cubicBezTo>
                    <a:pt x="16747" y="6785"/>
                    <a:pt x="17074" y="6785"/>
                    <a:pt x="17005" y="6785"/>
                  </a:cubicBezTo>
                  <a:cubicBezTo>
                    <a:pt x="17104" y="6745"/>
                    <a:pt x="17215" y="6745"/>
                    <a:pt x="17314" y="6785"/>
                  </a:cubicBezTo>
                  <a:lnTo>
                    <a:pt x="17314" y="6785"/>
                  </a:lnTo>
                  <a:cubicBezTo>
                    <a:pt x="17125" y="6922"/>
                    <a:pt x="16902" y="7025"/>
                    <a:pt x="16696" y="7145"/>
                  </a:cubicBezTo>
                  <a:lnTo>
                    <a:pt x="16696" y="7145"/>
                  </a:lnTo>
                  <a:lnTo>
                    <a:pt x="16696" y="7145"/>
                  </a:lnTo>
                  <a:lnTo>
                    <a:pt x="16696" y="7145"/>
                  </a:lnTo>
                  <a:cubicBezTo>
                    <a:pt x="16696" y="7145"/>
                    <a:pt x="16696" y="7145"/>
                    <a:pt x="16696" y="7145"/>
                  </a:cubicBezTo>
                  <a:lnTo>
                    <a:pt x="16696" y="7145"/>
                  </a:lnTo>
                  <a:lnTo>
                    <a:pt x="16696" y="7145"/>
                  </a:lnTo>
                  <a:lnTo>
                    <a:pt x="16455" y="7300"/>
                  </a:lnTo>
                  <a:lnTo>
                    <a:pt x="16455" y="7300"/>
                  </a:lnTo>
                  <a:cubicBezTo>
                    <a:pt x="16455" y="7300"/>
                    <a:pt x="16455" y="7300"/>
                    <a:pt x="16455" y="7386"/>
                  </a:cubicBezTo>
                  <a:lnTo>
                    <a:pt x="16610" y="7386"/>
                  </a:lnTo>
                  <a:lnTo>
                    <a:pt x="16610" y="7386"/>
                  </a:lnTo>
                  <a:lnTo>
                    <a:pt x="16610" y="7489"/>
                  </a:lnTo>
                  <a:cubicBezTo>
                    <a:pt x="16610" y="7489"/>
                    <a:pt x="16610" y="7489"/>
                    <a:pt x="16610" y="7489"/>
                  </a:cubicBezTo>
                  <a:lnTo>
                    <a:pt x="16610" y="7489"/>
                  </a:lnTo>
                  <a:cubicBezTo>
                    <a:pt x="16953" y="7266"/>
                    <a:pt x="16713" y="7489"/>
                    <a:pt x="16610" y="7592"/>
                  </a:cubicBezTo>
                  <a:cubicBezTo>
                    <a:pt x="16730" y="7592"/>
                    <a:pt x="16833" y="7386"/>
                    <a:pt x="16970" y="7334"/>
                  </a:cubicBezTo>
                  <a:lnTo>
                    <a:pt x="16970" y="7334"/>
                  </a:lnTo>
                  <a:cubicBezTo>
                    <a:pt x="16970" y="7334"/>
                    <a:pt x="17280" y="7145"/>
                    <a:pt x="17108" y="7334"/>
                  </a:cubicBezTo>
                  <a:lnTo>
                    <a:pt x="17245" y="7334"/>
                  </a:lnTo>
                  <a:lnTo>
                    <a:pt x="17142" y="7334"/>
                  </a:lnTo>
                  <a:cubicBezTo>
                    <a:pt x="17142" y="7334"/>
                    <a:pt x="17142" y="7334"/>
                    <a:pt x="17142" y="7334"/>
                  </a:cubicBezTo>
                  <a:cubicBezTo>
                    <a:pt x="17142" y="7334"/>
                    <a:pt x="17022" y="7334"/>
                    <a:pt x="16988" y="7437"/>
                  </a:cubicBezTo>
                  <a:lnTo>
                    <a:pt x="16988" y="7437"/>
                  </a:lnTo>
                  <a:cubicBezTo>
                    <a:pt x="16988" y="7437"/>
                    <a:pt x="16885" y="7437"/>
                    <a:pt x="16867" y="7437"/>
                  </a:cubicBezTo>
                  <a:cubicBezTo>
                    <a:pt x="17211" y="7317"/>
                    <a:pt x="16747" y="7437"/>
                    <a:pt x="16610" y="7575"/>
                  </a:cubicBezTo>
                  <a:lnTo>
                    <a:pt x="16610" y="7575"/>
                  </a:lnTo>
                  <a:lnTo>
                    <a:pt x="16421" y="7678"/>
                  </a:lnTo>
                  <a:lnTo>
                    <a:pt x="16421" y="7678"/>
                  </a:lnTo>
                  <a:lnTo>
                    <a:pt x="16283" y="7678"/>
                  </a:lnTo>
                  <a:cubicBezTo>
                    <a:pt x="16438" y="7678"/>
                    <a:pt x="16283" y="7678"/>
                    <a:pt x="16283" y="7678"/>
                  </a:cubicBezTo>
                  <a:lnTo>
                    <a:pt x="16283" y="7678"/>
                  </a:lnTo>
                  <a:lnTo>
                    <a:pt x="16129" y="7678"/>
                  </a:lnTo>
                  <a:lnTo>
                    <a:pt x="16129" y="7678"/>
                  </a:lnTo>
                  <a:lnTo>
                    <a:pt x="16129" y="7678"/>
                  </a:lnTo>
                  <a:lnTo>
                    <a:pt x="16129" y="7678"/>
                  </a:lnTo>
                  <a:cubicBezTo>
                    <a:pt x="16026" y="7678"/>
                    <a:pt x="15923" y="7833"/>
                    <a:pt x="15820" y="7867"/>
                  </a:cubicBezTo>
                  <a:cubicBezTo>
                    <a:pt x="15717" y="7901"/>
                    <a:pt x="15974" y="7764"/>
                    <a:pt x="16043" y="7747"/>
                  </a:cubicBezTo>
                  <a:cubicBezTo>
                    <a:pt x="16112" y="7729"/>
                    <a:pt x="16043" y="7747"/>
                    <a:pt x="16043" y="7747"/>
                  </a:cubicBezTo>
                  <a:cubicBezTo>
                    <a:pt x="16131" y="7705"/>
                    <a:pt x="16223" y="7670"/>
                    <a:pt x="16318" y="7644"/>
                  </a:cubicBezTo>
                  <a:lnTo>
                    <a:pt x="16198" y="7644"/>
                  </a:lnTo>
                  <a:cubicBezTo>
                    <a:pt x="16386" y="7558"/>
                    <a:pt x="16558" y="7420"/>
                    <a:pt x="16747" y="7352"/>
                  </a:cubicBezTo>
                  <a:lnTo>
                    <a:pt x="16747" y="7352"/>
                  </a:lnTo>
                  <a:lnTo>
                    <a:pt x="16747" y="7352"/>
                  </a:lnTo>
                  <a:cubicBezTo>
                    <a:pt x="16976" y="7288"/>
                    <a:pt x="17195" y="7196"/>
                    <a:pt x="17400" y="7077"/>
                  </a:cubicBezTo>
                  <a:cubicBezTo>
                    <a:pt x="17400" y="7077"/>
                    <a:pt x="17400" y="7077"/>
                    <a:pt x="17262" y="7077"/>
                  </a:cubicBezTo>
                  <a:lnTo>
                    <a:pt x="17262" y="7077"/>
                  </a:lnTo>
                  <a:cubicBezTo>
                    <a:pt x="17366" y="7077"/>
                    <a:pt x="17761" y="6836"/>
                    <a:pt x="17520" y="6991"/>
                  </a:cubicBezTo>
                  <a:cubicBezTo>
                    <a:pt x="17692" y="6991"/>
                    <a:pt x="17692" y="6819"/>
                    <a:pt x="17846" y="6768"/>
                  </a:cubicBezTo>
                  <a:cubicBezTo>
                    <a:pt x="17692" y="6768"/>
                    <a:pt x="17846" y="6768"/>
                    <a:pt x="17846" y="6768"/>
                  </a:cubicBezTo>
                  <a:lnTo>
                    <a:pt x="17846" y="6768"/>
                  </a:lnTo>
                  <a:cubicBezTo>
                    <a:pt x="18036" y="6628"/>
                    <a:pt x="18252" y="6528"/>
                    <a:pt x="18482" y="6476"/>
                  </a:cubicBezTo>
                  <a:lnTo>
                    <a:pt x="18482" y="6476"/>
                  </a:lnTo>
                  <a:cubicBezTo>
                    <a:pt x="18662" y="6364"/>
                    <a:pt x="18859" y="6282"/>
                    <a:pt x="19066" y="6235"/>
                  </a:cubicBezTo>
                  <a:lnTo>
                    <a:pt x="18911" y="6321"/>
                  </a:lnTo>
                  <a:cubicBezTo>
                    <a:pt x="19100" y="6321"/>
                    <a:pt x="19238" y="6149"/>
                    <a:pt x="19427" y="6115"/>
                  </a:cubicBezTo>
                  <a:lnTo>
                    <a:pt x="19238" y="6252"/>
                  </a:lnTo>
                  <a:cubicBezTo>
                    <a:pt x="20286" y="5617"/>
                    <a:pt x="22038" y="4998"/>
                    <a:pt x="20303" y="5909"/>
                  </a:cubicBezTo>
                  <a:cubicBezTo>
                    <a:pt x="20578" y="5823"/>
                    <a:pt x="21230" y="5411"/>
                    <a:pt x="21024" y="5651"/>
                  </a:cubicBezTo>
                  <a:cubicBezTo>
                    <a:pt x="21780" y="5393"/>
                    <a:pt x="20629" y="6012"/>
                    <a:pt x="20303" y="6149"/>
                  </a:cubicBezTo>
                  <a:cubicBezTo>
                    <a:pt x="20698" y="6012"/>
                    <a:pt x="20303" y="6149"/>
                    <a:pt x="20303" y="6149"/>
                  </a:cubicBezTo>
                  <a:cubicBezTo>
                    <a:pt x="20303" y="6149"/>
                    <a:pt x="20560" y="5977"/>
                    <a:pt x="20406" y="6149"/>
                  </a:cubicBezTo>
                  <a:cubicBezTo>
                    <a:pt x="20663" y="5857"/>
                    <a:pt x="20921" y="6149"/>
                    <a:pt x="20492" y="6235"/>
                  </a:cubicBezTo>
                  <a:cubicBezTo>
                    <a:pt x="20448" y="6218"/>
                    <a:pt x="20398" y="6218"/>
                    <a:pt x="20354" y="6235"/>
                  </a:cubicBezTo>
                  <a:cubicBezTo>
                    <a:pt x="20612" y="6235"/>
                    <a:pt x="20251" y="6321"/>
                    <a:pt x="20165" y="6355"/>
                  </a:cubicBezTo>
                  <a:cubicBezTo>
                    <a:pt x="20818" y="6149"/>
                    <a:pt x="19616" y="6647"/>
                    <a:pt x="20337" y="6355"/>
                  </a:cubicBezTo>
                  <a:cubicBezTo>
                    <a:pt x="19427" y="6750"/>
                    <a:pt x="20749" y="6355"/>
                    <a:pt x="19856" y="6716"/>
                  </a:cubicBezTo>
                  <a:cubicBezTo>
                    <a:pt x="19856" y="6819"/>
                    <a:pt x="19856" y="6716"/>
                    <a:pt x="20097" y="6716"/>
                  </a:cubicBezTo>
                  <a:cubicBezTo>
                    <a:pt x="19967" y="6814"/>
                    <a:pt x="19822" y="6889"/>
                    <a:pt x="19667" y="6939"/>
                  </a:cubicBezTo>
                  <a:cubicBezTo>
                    <a:pt x="19564" y="6939"/>
                    <a:pt x="20423" y="6939"/>
                    <a:pt x="19495" y="7145"/>
                  </a:cubicBezTo>
                  <a:cubicBezTo>
                    <a:pt x="19392" y="7145"/>
                    <a:pt x="19959" y="7145"/>
                    <a:pt x="19358" y="7266"/>
                  </a:cubicBezTo>
                  <a:cubicBezTo>
                    <a:pt x="19856" y="7094"/>
                    <a:pt x="19925" y="7266"/>
                    <a:pt x="19358" y="7352"/>
                  </a:cubicBezTo>
                  <a:cubicBezTo>
                    <a:pt x="19581" y="7541"/>
                    <a:pt x="19255" y="7592"/>
                    <a:pt x="19358" y="7523"/>
                  </a:cubicBezTo>
                  <a:cubicBezTo>
                    <a:pt x="19083" y="7523"/>
                    <a:pt x="19358" y="7747"/>
                    <a:pt x="19049" y="7626"/>
                  </a:cubicBezTo>
                  <a:cubicBezTo>
                    <a:pt x="18860" y="7953"/>
                    <a:pt x="19186" y="7764"/>
                    <a:pt x="18860" y="7918"/>
                  </a:cubicBezTo>
                  <a:cubicBezTo>
                    <a:pt x="19118" y="7833"/>
                    <a:pt x="18654" y="8193"/>
                    <a:pt x="18860" y="8039"/>
                  </a:cubicBezTo>
                  <a:cubicBezTo>
                    <a:pt x="18534" y="8365"/>
                    <a:pt x="19152" y="7850"/>
                    <a:pt x="18705" y="8399"/>
                  </a:cubicBezTo>
                  <a:cubicBezTo>
                    <a:pt x="18482" y="8520"/>
                    <a:pt x="19066" y="8399"/>
                    <a:pt x="18551" y="8588"/>
                  </a:cubicBezTo>
                  <a:cubicBezTo>
                    <a:pt x="18929" y="8434"/>
                    <a:pt x="18637" y="8966"/>
                    <a:pt x="18396" y="8829"/>
                  </a:cubicBezTo>
                  <a:cubicBezTo>
                    <a:pt x="18396" y="8966"/>
                    <a:pt x="18242" y="9069"/>
                    <a:pt x="18190" y="8966"/>
                  </a:cubicBezTo>
                  <a:cubicBezTo>
                    <a:pt x="18138" y="8863"/>
                    <a:pt x="18018" y="9155"/>
                    <a:pt x="18190" y="8966"/>
                  </a:cubicBezTo>
                  <a:cubicBezTo>
                    <a:pt x="18362" y="8777"/>
                    <a:pt x="17692" y="9447"/>
                    <a:pt x="17846" y="9155"/>
                  </a:cubicBezTo>
                  <a:cubicBezTo>
                    <a:pt x="17709" y="8966"/>
                    <a:pt x="18173" y="8709"/>
                    <a:pt x="18224" y="8605"/>
                  </a:cubicBezTo>
                  <a:cubicBezTo>
                    <a:pt x="17915" y="8777"/>
                    <a:pt x="18104" y="8605"/>
                    <a:pt x="18224" y="8434"/>
                  </a:cubicBezTo>
                  <a:cubicBezTo>
                    <a:pt x="18345" y="8262"/>
                    <a:pt x="17967" y="8640"/>
                    <a:pt x="18053" y="8434"/>
                  </a:cubicBezTo>
                  <a:cubicBezTo>
                    <a:pt x="17761" y="8709"/>
                    <a:pt x="17589" y="8743"/>
                    <a:pt x="17486" y="9155"/>
                  </a:cubicBezTo>
                  <a:cubicBezTo>
                    <a:pt x="17383" y="9567"/>
                    <a:pt x="16816" y="10065"/>
                    <a:pt x="16747" y="9842"/>
                  </a:cubicBezTo>
                  <a:cubicBezTo>
                    <a:pt x="16678" y="9619"/>
                    <a:pt x="16867" y="9722"/>
                    <a:pt x="16747" y="9396"/>
                  </a:cubicBezTo>
                  <a:cubicBezTo>
                    <a:pt x="16524" y="9791"/>
                    <a:pt x="16524" y="10306"/>
                    <a:pt x="16524" y="10306"/>
                  </a:cubicBezTo>
                  <a:cubicBezTo>
                    <a:pt x="15820" y="10461"/>
                    <a:pt x="16644" y="9104"/>
                    <a:pt x="16799" y="9069"/>
                  </a:cubicBezTo>
                  <a:cubicBezTo>
                    <a:pt x="16524" y="9172"/>
                    <a:pt x="16799" y="9069"/>
                    <a:pt x="16558" y="9069"/>
                  </a:cubicBezTo>
                  <a:cubicBezTo>
                    <a:pt x="16678" y="8897"/>
                    <a:pt x="16386" y="9155"/>
                    <a:pt x="16301" y="9069"/>
                  </a:cubicBezTo>
                  <a:cubicBezTo>
                    <a:pt x="16215" y="8983"/>
                    <a:pt x="17005" y="8382"/>
                    <a:pt x="16850" y="8794"/>
                  </a:cubicBezTo>
                  <a:cubicBezTo>
                    <a:pt x="18310" y="8485"/>
                    <a:pt x="19203" y="7077"/>
                    <a:pt x="19530" y="6733"/>
                  </a:cubicBezTo>
                  <a:cubicBezTo>
                    <a:pt x="19032" y="7145"/>
                    <a:pt x="19169" y="6733"/>
                    <a:pt x="18980" y="6733"/>
                  </a:cubicBezTo>
                  <a:cubicBezTo>
                    <a:pt x="18791" y="6733"/>
                    <a:pt x="19238" y="6579"/>
                    <a:pt x="18980" y="6561"/>
                  </a:cubicBezTo>
                  <a:cubicBezTo>
                    <a:pt x="19203" y="6321"/>
                    <a:pt x="18980" y="6561"/>
                    <a:pt x="18980" y="6373"/>
                  </a:cubicBezTo>
                  <a:lnTo>
                    <a:pt x="19083" y="6373"/>
                  </a:lnTo>
                  <a:lnTo>
                    <a:pt x="18929" y="6458"/>
                  </a:lnTo>
                  <a:cubicBezTo>
                    <a:pt x="18671" y="6579"/>
                    <a:pt x="18430" y="6733"/>
                    <a:pt x="18173" y="6871"/>
                  </a:cubicBezTo>
                  <a:lnTo>
                    <a:pt x="18173" y="6871"/>
                  </a:lnTo>
                  <a:lnTo>
                    <a:pt x="18293" y="6871"/>
                  </a:lnTo>
                  <a:lnTo>
                    <a:pt x="18242" y="6871"/>
                  </a:lnTo>
                  <a:lnTo>
                    <a:pt x="18242" y="6871"/>
                  </a:lnTo>
                  <a:cubicBezTo>
                    <a:pt x="18242" y="6957"/>
                    <a:pt x="17984" y="6871"/>
                    <a:pt x="17898" y="7025"/>
                  </a:cubicBezTo>
                  <a:lnTo>
                    <a:pt x="17898" y="7025"/>
                  </a:lnTo>
                  <a:lnTo>
                    <a:pt x="17898" y="7025"/>
                  </a:lnTo>
                  <a:lnTo>
                    <a:pt x="18001" y="7025"/>
                  </a:lnTo>
                  <a:cubicBezTo>
                    <a:pt x="18001" y="7025"/>
                    <a:pt x="18001" y="7025"/>
                    <a:pt x="18001" y="7025"/>
                  </a:cubicBezTo>
                  <a:lnTo>
                    <a:pt x="18001" y="7025"/>
                  </a:lnTo>
                  <a:cubicBezTo>
                    <a:pt x="18001" y="7025"/>
                    <a:pt x="17881" y="7025"/>
                    <a:pt x="17829" y="7025"/>
                  </a:cubicBezTo>
                  <a:lnTo>
                    <a:pt x="17829" y="7025"/>
                  </a:lnTo>
                  <a:lnTo>
                    <a:pt x="17829" y="7025"/>
                  </a:lnTo>
                  <a:cubicBezTo>
                    <a:pt x="17623" y="7180"/>
                    <a:pt x="17400" y="7300"/>
                    <a:pt x="17177" y="7437"/>
                  </a:cubicBezTo>
                  <a:lnTo>
                    <a:pt x="17434" y="7334"/>
                  </a:lnTo>
                  <a:lnTo>
                    <a:pt x="17434" y="7334"/>
                  </a:lnTo>
                  <a:lnTo>
                    <a:pt x="17864" y="7111"/>
                  </a:lnTo>
                  <a:cubicBezTo>
                    <a:pt x="17702" y="7258"/>
                    <a:pt x="17523" y="7385"/>
                    <a:pt x="17331" y="7489"/>
                  </a:cubicBezTo>
                  <a:lnTo>
                    <a:pt x="17331" y="7489"/>
                  </a:lnTo>
                  <a:cubicBezTo>
                    <a:pt x="17075" y="7607"/>
                    <a:pt x="16843" y="7770"/>
                    <a:pt x="16644" y="7970"/>
                  </a:cubicBezTo>
                  <a:cubicBezTo>
                    <a:pt x="16644" y="7970"/>
                    <a:pt x="16747" y="7884"/>
                    <a:pt x="16799" y="7884"/>
                  </a:cubicBezTo>
                  <a:lnTo>
                    <a:pt x="16799" y="7884"/>
                  </a:lnTo>
                  <a:lnTo>
                    <a:pt x="17675" y="7437"/>
                  </a:lnTo>
                  <a:lnTo>
                    <a:pt x="17675" y="7437"/>
                  </a:lnTo>
                  <a:lnTo>
                    <a:pt x="17675" y="7437"/>
                  </a:lnTo>
                  <a:cubicBezTo>
                    <a:pt x="17675" y="7437"/>
                    <a:pt x="17675" y="7334"/>
                    <a:pt x="17812" y="7352"/>
                  </a:cubicBezTo>
                  <a:lnTo>
                    <a:pt x="17812" y="7352"/>
                  </a:lnTo>
                  <a:cubicBezTo>
                    <a:pt x="17812" y="7352"/>
                    <a:pt x="17812" y="7352"/>
                    <a:pt x="17932" y="7352"/>
                  </a:cubicBezTo>
                  <a:lnTo>
                    <a:pt x="17932" y="7352"/>
                  </a:lnTo>
                  <a:lnTo>
                    <a:pt x="18362" y="7111"/>
                  </a:lnTo>
                  <a:cubicBezTo>
                    <a:pt x="18362" y="7111"/>
                    <a:pt x="18362" y="7111"/>
                    <a:pt x="18362" y="7266"/>
                  </a:cubicBezTo>
                  <a:lnTo>
                    <a:pt x="18362" y="7266"/>
                  </a:lnTo>
                  <a:cubicBezTo>
                    <a:pt x="18341" y="7321"/>
                    <a:pt x="18297" y="7365"/>
                    <a:pt x="18242" y="7386"/>
                  </a:cubicBezTo>
                  <a:cubicBezTo>
                    <a:pt x="18242" y="7300"/>
                    <a:pt x="18242" y="7472"/>
                    <a:pt x="18104" y="7489"/>
                  </a:cubicBezTo>
                  <a:cubicBezTo>
                    <a:pt x="17967" y="7506"/>
                    <a:pt x="17967" y="7626"/>
                    <a:pt x="17898" y="7626"/>
                  </a:cubicBezTo>
                  <a:cubicBezTo>
                    <a:pt x="17829" y="7626"/>
                    <a:pt x="17898" y="7626"/>
                    <a:pt x="17898" y="7626"/>
                  </a:cubicBezTo>
                  <a:lnTo>
                    <a:pt x="17898" y="7626"/>
                  </a:lnTo>
                  <a:cubicBezTo>
                    <a:pt x="17898" y="7626"/>
                    <a:pt x="17606" y="7764"/>
                    <a:pt x="17692" y="7626"/>
                  </a:cubicBezTo>
                  <a:lnTo>
                    <a:pt x="17692" y="7626"/>
                  </a:lnTo>
                  <a:cubicBezTo>
                    <a:pt x="17692" y="7626"/>
                    <a:pt x="17692" y="7712"/>
                    <a:pt x="17537" y="7729"/>
                  </a:cubicBezTo>
                  <a:lnTo>
                    <a:pt x="17537" y="7729"/>
                  </a:lnTo>
                  <a:cubicBezTo>
                    <a:pt x="17537" y="7729"/>
                    <a:pt x="17417" y="7729"/>
                    <a:pt x="17537" y="7729"/>
                  </a:cubicBezTo>
                  <a:cubicBezTo>
                    <a:pt x="17222" y="8004"/>
                    <a:pt x="16845" y="8199"/>
                    <a:pt x="16438" y="8296"/>
                  </a:cubicBezTo>
                  <a:cubicBezTo>
                    <a:pt x="16466" y="8278"/>
                    <a:pt x="16495" y="8261"/>
                    <a:pt x="16524" y="8245"/>
                  </a:cubicBezTo>
                  <a:lnTo>
                    <a:pt x="16524" y="8245"/>
                  </a:lnTo>
                  <a:lnTo>
                    <a:pt x="16661" y="8125"/>
                  </a:lnTo>
                  <a:lnTo>
                    <a:pt x="16661" y="8125"/>
                  </a:lnTo>
                  <a:cubicBezTo>
                    <a:pt x="16661" y="8125"/>
                    <a:pt x="16490" y="8210"/>
                    <a:pt x="16661" y="8125"/>
                  </a:cubicBezTo>
                  <a:cubicBezTo>
                    <a:pt x="16557" y="8250"/>
                    <a:pt x="16436" y="8360"/>
                    <a:pt x="16301" y="8451"/>
                  </a:cubicBezTo>
                  <a:lnTo>
                    <a:pt x="16404" y="8296"/>
                  </a:lnTo>
                  <a:cubicBezTo>
                    <a:pt x="16404" y="8296"/>
                    <a:pt x="16404" y="8382"/>
                    <a:pt x="16283" y="8399"/>
                  </a:cubicBezTo>
                  <a:cubicBezTo>
                    <a:pt x="16163" y="8417"/>
                    <a:pt x="16283" y="8399"/>
                    <a:pt x="16283" y="8399"/>
                  </a:cubicBezTo>
                  <a:lnTo>
                    <a:pt x="16283" y="8399"/>
                  </a:lnTo>
                  <a:lnTo>
                    <a:pt x="16438" y="8279"/>
                  </a:lnTo>
                  <a:cubicBezTo>
                    <a:pt x="16438" y="8279"/>
                    <a:pt x="16335" y="8279"/>
                    <a:pt x="16438" y="8279"/>
                  </a:cubicBezTo>
                  <a:lnTo>
                    <a:pt x="16438" y="8279"/>
                  </a:lnTo>
                  <a:lnTo>
                    <a:pt x="16438" y="8279"/>
                  </a:lnTo>
                  <a:cubicBezTo>
                    <a:pt x="16260" y="8438"/>
                    <a:pt x="16057" y="8566"/>
                    <a:pt x="15837" y="8657"/>
                  </a:cubicBezTo>
                  <a:lnTo>
                    <a:pt x="15837" y="8657"/>
                  </a:lnTo>
                  <a:cubicBezTo>
                    <a:pt x="15510" y="8846"/>
                    <a:pt x="15837" y="8520"/>
                    <a:pt x="15837" y="8365"/>
                  </a:cubicBezTo>
                  <a:cubicBezTo>
                    <a:pt x="15545" y="8537"/>
                    <a:pt x="15614" y="8846"/>
                    <a:pt x="15287" y="8932"/>
                  </a:cubicBezTo>
                  <a:lnTo>
                    <a:pt x="15287" y="8932"/>
                  </a:lnTo>
                  <a:lnTo>
                    <a:pt x="14841" y="9138"/>
                  </a:lnTo>
                  <a:cubicBezTo>
                    <a:pt x="14841" y="9138"/>
                    <a:pt x="14841" y="9138"/>
                    <a:pt x="14841" y="9138"/>
                  </a:cubicBezTo>
                  <a:lnTo>
                    <a:pt x="14841" y="9138"/>
                  </a:lnTo>
                  <a:lnTo>
                    <a:pt x="14841" y="9138"/>
                  </a:lnTo>
                  <a:cubicBezTo>
                    <a:pt x="14841" y="9138"/>
                    <a:pt x="14841" y="9138"/>
                    <a:pt x="14961" y="9035"/>
                  </a:cubicBezTo>
                  <a:cubicBezTo>
                    <a:pt x="15081" y="8932"/>
                    <a:pt x="14841" y="9035"/>
                    <a:pt x="14806" y="9121"/>
                  </a:cubicBezTo>
                  <a:cubicBezTo>
                    <a:pt x="14849" y="9096"/>
                    <a:pt x="14884" y="9060"/>
                    <a:pt x="14909" y="9018"/>
                  </a:cubicBezTo>
                  <a:cubicBezTo>
                    <a:pt x="14909" y="9018"/>
                    <a:pt x="14514" y="9344"/>
                    <a:pt x="14686" y="9138"/>
                  </a:cubicBezTo>
                  <a:lnTo>
                    <a:pt x="14531" y="9258"/>
                  </a:lnTo>
                  <a:cubicBezTo>
                    <a:pt x="14601" y="9111"/>
                    <a:pt x="14687" y="8973"/>
                    <a:pt x="14789" y="8846"/>
                  </a:cubicBezTo>
                  <a:lnTo>
                    <a:pt x="14789" y="8846"/>
                  </a:lnTo>
                  <a:lnTo>
                    <a:pt x="14789" y="8846"/>
                  </a:lnTo>
                  <a:lnTo>
                    <a:pt x="14703" y="8949"/>
                  </a:lnTo>
                  <a:cubicBezTo>
                    <a:pt x="14909" y="8794"/>
                    <a:pt x="14600" y="9138"/>
                    <a:pt x="14549" y="9121"/>
                  </a:cubicBezTo>
                  <a:lnTo>
                    <a:pt x="14686" y="9121"/>
                  </a:lnTo>
                  <a:cubicBezTo>
                    <a:pt x="14549" y="9361"/>
                    <a:pt x="13999" y="9653"/>
                    <a:pt x="14411" y="9121"/>
                  </a:cubicBezTo>
                  <a:cubicBezTo>
                    <a:pt x="14274" y="9207"/>
                    <a:pt x="14205" y="9361"/>
                    <a:pt x="14085" y="9447"/>
                  </a:cubicBezTo>
                  <a:lnTo>
                    <a:pt x="14085" y="9447"/>
                  </a:lnTo>
                  <a:lnTo>
                    <a:pt x="14085" y="9447"/>
                  </a:lnTo>
                  <a:lnTo>
                    <a:pt x="14085" y="9447"/>
                  </a:lnTo>
                  <a:lnTo>
                    <a:pt x="13930" y="9585"/>
                  </a:lnTo>
                  <a:cubicBezTo>
                    <a:pt x="13930" y="9585"/>
                    <a:pt x="13930" y="9585"/>
                    <a:pt x="13930" y="9585"/>
                  </a:cubicBezTo>
                  <a:cubicBezTo>
                    <a:pt x="13930" y="9585"/>
                    <a:pt x="13810" y="9585"/>
                    <a:pt x="13776" y="9585"/>
                  </a:cubicBezTo>
                  <a:cubicBezTo>
                    <a:pt x="13741" y="9585"/>
                    <a:pt x="13260" y="9911"/>
                    <a:pt x="13123" y="9945"/>
                  </a:cubicBezTo>
                  <a:lnTo>
                    <a:pt x="13123" y="9945"/>
                  </a:lnTo>
                  <a:cubicBezTo>
                    <a:pt x="12737" y="10291"/>
                    <a:pt x="12330" y="10612"/>
                    <a:pt x="11903" y="10907"/>
                  </a:cubicBezTo>
                  <a:cubicBezTo>
                    <a:pt x="12900" y="10254"/>
                    <a:pt x="11749" y="11405"/>
                    <a:pt x="11525" y="11405"/>
                  </a:cubicBezTo>
                  <a:cubicBezTo>
                    <a:pt x="11972" y="11405"/>
                    <a:pt x="11732" y="11783"/>
                    <a:pt x="11525" y="12092"/>
                  </a:cubicBezTo>
                  <a:lnTo>
                    <a:pt x="11525" y="12092"/>
                  </a:lnTo>
                  <a:cubicBezTo>
                    <a:pt x="11512" y="12253"/>
                    <a:pt x="11471" y="12409"/>
                    <a:pt x="11405" y="12556"/>
                  </a:cubicBezTo>
                  <a:cubicBezTo>
                    <a:pt x="11525" y="12556"/>
                    <a:pt x="11508" y="12693"/>
                    <a:pt x="11629" y="12693"/>
                  </a:cubicBezTo>
                  <a:lnTo>
                    <a:pt x="11629" y="12693"/>
                  </a:lnTo>
                  <a:cubicBezTo>
                    <a:pt x="11143" y="13178"/>
                    <a:pt x="10727" y="13727"/>
                    <a:pt x="10392" y="14325"/>
                  </a:cubicBezTo>
                  <a:cubicBezTo>
                    <a:pt x="10598" y="14325"/>
                    <a:pt x="10546" y="14325"/>
                    <a:pt x="10753" y="14188"/>
                  </a:cubicBezTo>
                  <a:cubicBezTo>
                    <a:pt x="10753" y="14274"/>
                    <a:pt x="10546" y="14445"/>
                    <a:pt x="10649" y="14514"/>
                  </a:cubicBezTo>
                  <a:cubicBezTo>
                    <a:pt x="11067" y="13670"/>
                    <a:pt x="11757" y="12992"/>
                    <a:pt x="12608" y="12590"/>
                  </a:cubicBezTo>
                  <a:cubicBezTo>
                    <a:pt x="13106" y="12024"/>
                    <a:pt x="13484" y="11337"/>
                    <a:pt x="13999" y="11148"/>
                  </a:cubicBezTo>
                  <a:lnTo>
                    <a:pt x="13999" y="11148"/>
                  </a:lnTo>
                  <a:cubicBezTo>
                    <a:pt x="14085" y="11148"/>
                    <a:pt x="14119" y="10976"/>
                    <a:pt x="14205" y="10976"/>
                  </a:cubicBezTo>
                  <a:cubicBezTo>
                    <a:pt x="14291" y="10976"/>
                    <a:pt x="14205" y="10873"/>
                    <a:pt x="14325" y="10856"/>
                  </a:cubicBezTo>
                  <a:cubicBezTo>
                    <a:pt x="14446" y="10838"/>
                    <a:pt x="15493" y="9808"/>
                    <a:pt x="15081" y="10409"/>
                  </a:cubicBezTo>
                  <a:cubicBezTo>
                    <a:pt x="15081" y="10409"/>
                    <a:pt x="15253" y="10409"/>
                    <a:pt x="15201" y="10409"/>
                  </a:cubicBezTo>
                  <a:lnTo>
                    <a:pt x="15201" y="10409"/>
                  </a:lnTo>
                  <a:cubicBezTo>
                    <a:pt x="15510" y="10409"/>
                    <a:pt x="15201" y="10409"/>
                    <a:pt x="15304" y="10564"/>
                  </a:cubicBezTo>
                  <a:cubicBezTo>
                    <a:pt x="15407" y="10718"/>
                    <a:pt x="15201" y="10649"/>
                    <a:pt x="15167" y="10701"/>
                  </a:cubicBezTo>
                  <a:lnTo>
                    <a:pt x="15167" y="10701"/>
                  </a:lnTo>
                  <a:cubicBezTo>
                    <a:pt x="15167" y="10701"/>
                    <a:pt x="15167" y="10804"/>
                    <a:pt x="15167" y="10856"/>
                  </a:cubicBezTo>
                  <a:lnTo>
                    <a:pt x="15167" y="10856"/>
                  </a:lnTo>
                  <a:cubicBezTo>
                    <a:pt x="15167" y="10856"/>
                    <a:pt x="15167" y="10941"/>
                    <a:pt x="15167" y="10941"/>
                  </a:cubicBezTo>
                  <a:lnTo>
                    <a:pt x="15167" y="10941"/>
                  </a:lnTo>
                  <a:cubicBezTo>
                    <a:pt x="15167" y="10941"/>
                    <a:pt x="15167" y="11027"/>
                    <a:pt x="15047" y="11079"/>
                  </a:cubicBez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cubicBezTo>
                    <a:pt x="15201" y="11079"/>
                    <a:pt x="15047" y="11165"/>
                    <a:pt x="15047" y="11216"/>
                  </a:cubicBezTo>
                  <a:cubicBezTo>
                    <a:pt x="15047" y="11268"/>
                    <a:pt x="15150" y="11113"/>
                    <a:pt x="15201" y="11130"/>
                  </a:cubicBezTo>
                  <a:cubicBezTo>
                    <a:pt x="15253" y="11148"/>
                    <a:pt x="14909" y="11337"/>
                    <a:pt x="14789" y="11508"/>
                  </a:cubicBezTo>
                  <a:lnTo>
                    <a:pt x="14789" y="11508"/>
                  </a:lnTo>
                  <a:cubicBezTo>
                    <a:pt x="14789" y="11508"/>
                    <a:pt x="14652" y="11629"/>
                    <a:pt x="14583" y="11508"/>
                  </a:cubicBezTo>
                  <a:cubicBezTo>
                    <a:pt x="14772" y="11680"/>
                    <a:pt x="14308" y="12041"/>
                    <a:pt x="14325" y="11989"/>
                  </a:cubicBezTo>
                  <a:cubicBezTo>
                    <a:pt x="14342" y="11938"/>
                    <a:pt x="14325" y="12144"/>
                    <a:pt x="14325" y="11989"/>
                  </a:cubicBezTo>
                  <a:cubicBezTo>
                    <a:pt x="14325" y="11835"/>
                    <a:pt x="14119" y="12264"/>
                    <a:pt x="14016" y="12367"/>
                  </a:cubicBezTo>
                  <a:cubicBezTo>
                    <a:pt x="14291" y="12178"/>
                    <a:pt x="14360" y="12144"/>
                    <a:pt x="14016" y="12367"/>
                  </a:cubicBezTo>
                  <a:cubicBezTo>
                    <a:pt x="14016" y="12367"/>
                    <a:pt x="14308" y="12127"/>
                    <a:pt x="14308" y="12230"/>
                  </a:cubicBezTo>
                  <a:cubicBezTo>
                    <a:pt x="14308" y="12333"/>
                    <a:pt x="14463" y="12109"/>
                    <a:pt x="14549" y="12075"/>
                  </a:cubicBezTo>
                  <a:cubicBezTo>
                    <a:pt x="14564" y="12131"/>
                    <a:pt x="14564" y="12191"/>
                    <a:pt x="14549" y="12247"/>
                  </a:cubicBezTo>
                  <a:cubicBezTo>
                    <a:pt x="14549" y="12161"/>
                    <a:pt x="14961" y="11800"/>
                    <a:pt x="14995" y="11921"/>
                  </a:cubicBezTo>
                  <a:cubicBezTo>
                    <a:pt x="15030" y="12041"/>
                    <a:pt x="14995" y="11921"/>
                    <a:pt x="14995" y="11921"/>
                  </a:cubicBezTo>
                  <a:cubicBezTo>
                    <a:pt x="14995" y="11921"/>
                    <a:pt x="14995" y="11817"/>
                    <a:pt x="15133" y="11817"/>
                  </a:cubicBezTo>
                  <a:lnTo>
                    <a:pt x="15133" y="11817"/>
                  </a:lnTo>
                  <a:cubicBezTo>
                    <a:pt x="15133" y="11732"/>
                    <a:pt x="15579" y="11457"/>
                    <a:pt x="15442" y="11577"/>
                  </a:cubicBezTo>
                  <a:lnTo>
                    <a:pt x="15442" y="11577"/>
                  </a:lnTo>
                  <a:cubicBezTo>
                    <a:pt x="15442" y="11577"/>
                    <a:pt x="15442" y="11697"/>
                    <a:pt x="15322" y="11697"/>
                  </a:cubicBezTo>
                  <a:cubicBezTo>
                    <a:pt x="15201" y="11697"/>
                    <a:pt x="15322" y="11697"/>
                    <a:pt x="15322" y="11783"/>
                  </a:cubicBezTo>
                  <a:lnTo>
                    <a:pt x="15322" y="11783"/>
                  </a:lnTo>
                  <a:cubicBezTo>
                    <a:pt x="15218" y="11783"/>
                    <a:pt x="15322" y="11955"/>
                    <a:pt x="15150" y="12006"/>
                  </a:cubicBezTo>
                  <a:cubicBezTo>
                    <a:pt x="14978" y="12058"/>
                    <a:pt x="15150" y="12127"/>
                    <a:pt x="15150" y="12006"/>
                  </a:cubicBezTo>
                  <a:cubicBezTo>
                    <a:pt x="15150" y="11886"/>
                    <a:pt x="14789" y="12161"/>
                    <a:pt x="15150" y="12144"/>
                  </a:cubicBezTo>
                  <a:cubicBezTo>
                    <a:pt x="15510" y="12127"/>
                    <a:pt x="14961" y="12298"/>
                    <a:pt x="15150" y="12247"/>
                  </a:cubicBezTo>
                  <a:cubicBezTo>
                    <a:pt x="15339" y="12195"/>
                    <a:pt x="14995" y="12419"/>
                    <a:pt x="14978" y="12247"/>
                  </a:cubicBezTo>
                  <a:cubicBezTo>
                    <a:pt x="14961" y="12075"/>
                    <a:pt x="14978" y="12333"/>
                    <a:pt x="14978" y="12350"/>
                  </a:cubicBezTo>
                  <a:cubicBezTo>
                    <a:pt x="14978" y="12367"/>
                    <a:pt x="15098" y="12350"/>
                    <a:pt x="15150" y="12350"/>
                  </a:cubicBezTo>
                  <a:cubicBezTo>
                    <a:pt x="15201" y="12350"/>
                    <a:pt x="14961" y="12350"/>
                    <a:pt x="14892" y="12505"/>
                  </a:cubicBezTo>
                  <a:cubicBezTo>
                    <a:pt x="15133" y="12505"/>
                    <a:pt x="15047" y="12505"/>
                    <a:pt x="14892" y="12608"/>
                  </a:cubicBezTo>
                  <a:cubicBezTo>
                    <a:pt x="14738" y="12711"/>
                    <a:pt x="14892" y="12608"/>
                    <a:pt x="14995" y="12608"/>
                  </a:cubicBezTo>
                  <a:cubicBezTo>
                    <a:pt x="15011" y="12682"/>
                    <a:pt x="14963" y="12755"/>
                    <a:pt x="14889" y="12770"/>
                  </a:cubicBezTo>
                  <a:cubicBezTo>
                    <a:pt x="14861" y="12776"/>
                    <a:pt x="14832" y="12773"/>
                    <a:pt x="14806" y="12762"/>
                  </a:cubicBezTo>
                  <a:cubicBezTo>
                    <a:pt x="14806" y="12762"/>
                    <a:pt x="14961" y="12848"/>
                    <a:pt x="14806" y="12917"/>
                  </a:cubicBezTo>
                  <a:cubicBezTo>
                    <a:pt x="14995" y="13020"/>
                    <a:pt x="14600" y="13157"/>
                    <a:pt x="14566" y="13089"/>
                  </a:cubicBezTo>
                  <a:cubicBezTo>
                    <a:pt x="14531" y="13020"/>
                    <a:pt x="14566" y="13363"/>
                    <a:pt x="14411" y="13312"/>
                  </a:cubicBezTo>
                  <a:cubicBezTo>
                    <a:pt x="14257" y="13260"/>
                    <a:pt x="14669" y="13312"/>
                    <a:pt x="14531" y="13415"/>
                  </a:cubicBezTo>
                  <a:cubicBezTo>
                    <a:pt x="14394" y="13518"/>
                    <a:pt x="14531" y="13415"/>
                    <a:pt x="14531" y="13501"/>
                  </a:cubicBezTo>
                  <a:cubicBezTo>
                    <a:pt x="14531" y="13587"/>
                    <a:pt x="14531" y="13501"/>
                    <a:pt x="14531" y="13621"/>
                  </a:cubicBezTo>
                  <a:lnTo>
                    <a:pt x="14634" y="13621"/>
                  </a:lnTo>
                  <a:cubicBezTo>
                    <a:pt x="14634" y="13707"/>
                    <a:pt x="14428" y="13879"/>
                    <a:pt x="14325" y="13844"/>
                  </a:cubicBezTo>
                  <a:cubicBezTo>
                    <a:pt x="14222" y="13810"/>
                    <a:pt x="14480" y="13844"/>
                    <a:pt x="14549" y="13844"/>
                  </a:cubicBezTo>
                  <a:cubicBezTo>
                    <a:pt x="14325" y="14050"/>
                    <a:pt x="14549" y="13844"/>
                    <a:pt x="14549" y="13844"/>
                  </a:cubicBezTo>
                  <a:cubicBezTo>
                    <a:pt x="14549" y="13844"/>
                    <a:pt x="14549" y="13844"/>
                    <a:pt x="14394" y="13999"/>
                  </a:cubicBezTo>
                  <a:cubicBezTo>
                    <a:pt x="14394" y="13999"/>
                    <a:pt x="14686" y="13810"/>
                    <a:pt x="14549" y="13999"/>
                  </a:cubicBezTo>
                  <a:lnTo>
                    <a:pt x="14549" y="13999"/>
                  </a:lnTo>
                  <a:cubicBezTo>
                    <a:pt x="14549" y="13999"/>
                    <a:pt x="14463" y="14102"/>
                    <a:pt x="14446" y="14153"/>
                  </a:cubicBezTo>
                  <a:cubicBezTo>
                    <a:pt x="14428" y="14205"/>
                    <a:pt x="14755" y="14153"/>
                    <a:pt x="14549" y="14153"/>
                  </a:cubicBezTo>
                  <a:cubicBezTo>
                    <a:pt x="14806" y="14342"/>
                    <a:pt x="14205" y="14239"/>
                    <a:pt x="14119" y="14360"/>
                  </a:cubicBezTo>
                  <a:cubicBezTo>
                    <a:pt x="14566" y="14360"/>
                    <a:pt x="13982" y="14360"/>
                    <a:pt x="13896" y="14497"/>
                  </a:cubicBezTo>
                  <a:cubicBezTo>
                    <a:pt x="13870" y="14437"/>
                    <a:pt x="13870" y="14368"/>
                    <a:pt x="13896" y="14308"/>
                  </a:cubicBezTo>
                  <a:cubicBezTo>
                    <a:pt x="13896" y="14445"/>
                    <a:pt x="13896" y="14531"/>
                    <a:pt x="13793" y="14634"/>
                  </a:cubicBezTo>
                  <a:cubicBezTo>
                    <a:pt x="13982" y="14634"/>
                    <a:pt x="14188" y="14342"/>
                    <a:pt x="14428" y="14411"/>
                  </a:cubicBezTo>
                  <a:cubicBezTo>
                    <a:pt x="14308" y="14257"/>
                    <a:pt x="14806" y="14411"/>
                    <a:pt x="14428" y="14617"/>
                  </a:cubicBezTo>
                  <a:cubicBezTo>
                    <a:pt x="14428" y="14617"/>
                    <a:pt x="14428" y="14617"/>
                    <a:pt x="14428" y="14617"/>
                  </a:cubicBezTo>
                  <a:cubicBezTo>
                    <a:pt x="14428" y="14617"/>
                    <a:pt x="14703" y="14463"/>
                    <a:pt x="14566" y="14617"/>
                  </a:cubicBezTo>
                  <a:cubicBezTo>
                    <a:pt x="14428" y="14772"/>
                    <a:pt x="14669" y="14617"/>
                    <a:pt x="14652" y="14617"/>
                  </a:cubicBezTo>
                  <a:cubicBezTo>
                    <a:pt x="14634" y="14617"/>
                    <a:pt x="14652" y="14789"/>
                    <a:pt x="14497" y="14772"/>
                  </a:cubicBezTo>
                  <a:cubicBezTo>
                    <a:pt x="14600" y="14772"/>
                    <a:pt x="14360" y="14995"/>
                    <a:pt x="14360" y="14875"/>
                  </a:cubicBezTo>
                  <a:cubicBezTo>
                    <a:pt x="14360" y="14755"/>
                    <a:pt x="14549" y="15047"/>
                    <a:pt x="14360" y="15012"/>
                  </a:cubicBezTo>
                  <a:cubicBezTo>
                    <a:pt x="14583" y="15115"/>
                    <a:pt x="13879" y="15407"/>
                    <a:pt x="13844" y="15287"/>
                  </a:cubicBezTo>
                  <a:cubicBezTo>
                    <a:pt x="13810" y="15167"/>
                    <a:pt x="13724" y="15287"/>
                    <a:pt x="13844" y="15287"/>
                  </a:cubicBezTo>
                  <a:cubicBezTo>
                    <a:pt x="13381" y="15682"/>
                    <a:pt x="13003" y="15734"/>
                    <a:pt x="12590" y="15407"/>
                  </a:cubicBezTo>
                  <a:cubicBezTo>
                    <a:pt x="12590" y="15407"/>
                    <a:pt x="12213" y="15407"/>
                    <a:pt x="12247" y="15253"/>
                  </a:cubicBezTo>
                  <a:cubicBezTo>
                    <a:pt x="11629" y="15631"/>
                    <a:pt x="11062" y="16026"/>
                    <a:pt x="10426" y="16369"/>
                  </a:cubicBezTo>
                  <a:cubicBezTo>
                    <a:pt x="10849" y="16193"/>
                    <a:pt x="11326" y="16193"/>
                    <a:pt x="11749" y="16369"/>
                  </a:cubicBezTo>
                  <a:cubicBezTo>
                    <a:pt x="11704" y="16429"/>
                    <a:pt x="11645" y="16477"/>
                    <a:pt x="11577" y="16507"/>
                  </a:cubicBezTo>
                  <a:cubicBezTo>
                    <a:pt x="11749" y="16507"/>
                    <a:pt x="11354" y="16885"/>
                    <a:pt x="11577" y="16936"/>
                  </a:cubicBezTo>
                  <a:cubicBezTo>
                    <a:pt x="11405" y="17022"/>
                    <a:pt x="11732" y="17262"/>
                    <a:pt x="11835" y="17125"/>
                  </a:cubicBezTo>
                  <a:cubicBezTo>
                    <a:pt x="11835" y="17125"/>
                    <a:pt x="11972" y="17262"/>
                    <a:pt x="11835" y="17245"/>
                  </a:cubicBezTo>
                  <a:cubicBezTo>
                    <a:pt x="12075" y="17245"/>
                    <a:pt x="11182" y="17520"/>
                    <a:pt x="11251" y="17365"/>
                  </a:cubicBezTo>
                  <a:cubicBezTo>
                    <a:pt x="11101" y="17505"/>
                    <a:pt x="10940" y="17631"/>
                    <a:pt x="10770" y="17743"/>
                  </a:cubicBezTo>
                  <a:lnTo>
                    <a:pt x="10770" y="17743"/>
                  </a:lnTo>
                  <a:cubicBezTo>
                    <a:pt x="10667" y="17743"/>
                    <a:pt x="10770" y="17589"/>
                    <a:pt x="10770" y="17640"/>
                  </a:cubicBezTo>
                  <a:cubicBezTo>
                    <a:pt x="10770" y="17417"/>
                    <a:pt x="11371" y="16988"/>
                    <a:pt x="11371" y="17280"/>
                  </a:cubicBezTo>
                  <a:cubicBezTo>
                    <a:pt x="11371" y="17177"/>
                    <a:pt x="11491" y="17280"/>
                    <a:pt x="11543" y="17194"/>
                  </a:cubicBezTo>
                  <a:cubicBezTo>
                    <a:pt x="11233" y="17073"/>
                    <a:pt x="11233" y="17194"/>
                    <a:pt x="11543" y="16970"/>
                  </a:cubicBezTo>
                  <a:lnTo>
                    <a:pt x="11543" y="16970"/>
                  </a:lnTo>
                  <a:lnTo>
                    <a:pt x="11543" y="16970"/>
                  </a:lnTo>
                  <a:cubicBezTo>
                    <a:pt x="11543" y="17073"/>
                    <a:pt x="11045" y="17245"/>
                    <a:pt x="11233" y="16970"/>
                  </a:cubicBezTo>
                  <a:cubicBezTo>
                    <a:pt x="11096" y="17125"/>
                    <a:pt x="11045" y="17073"/>
                    <a:pt x="10924" y="16970"/>
                  </a:cubicBezTo>
                  <a:cubicBezTo>
                    <a:pt x="10804" y="16867"/>
                    <a:pt x="10924" y="17091"/>
                    <a:pt x="10924" y="17159"/>
                  </a:cubicBezTo>
                  <a:cubicBezTo>
                    <a:pt x="10924" y="17228"/>
                    <a:pt x="10924" y="17331"/>
                    <a:pt x="10924" y="17159"/>
                  </a:cubicBezTo>
                  <a:cubicBezTo>
                    <a:pt x="10924" y="16988"/>
                    <a:pt x="10598" y="17314"/>
                    <a:pt x="10667" y="17159"/>
                  </a:cubicBezTo>
                  <a:cubicBezTo>
                    <a:pt x="10735" y="17005"/>
                    <a:pt x="10478" y="17245"/>
                    <a:pt x="10667" y="17159"/>
                  </a:cubicBezTo>
                  <a:cubicBezTo>
                    <a:pt x="10856" y="17073"/>
                    <a:pt x="10546" y="17297"/>
                    <a:pt x="10478" y="17331"/>
                  </a:cubicBezTo>
                  <a:lnTo>
                    <a:pt x="10478" y="17331"/>
                  </a:lnTo>
                  <a:cubicBezTo>
                    <a:pt x="10478" y="17331"/>
                    <a:pt x="10478" y="17417"/>
                    <a:pt x="10478" y="17331"/>
                  </a:cubicBezTo>
                  <a:cubicBezTo>
                    <a:pt x="10478" y="17245"/>
                    <a:pt x="10357" y="17469"/>
                    <a:pt x="10478" y="17331"/>
                  </a:cubicBezTo>
                  <a:cubicBezTo>
                    <a:pt x="10254" y="17331"/>
                    <a:pt x="9722" y="18345"/>
                    <a:pt x="10083" y="18001"/>
                  </a:cubicBezTo>
                  <a:cubicBezTo>
                    <a:pt x="10083" y="18138"/>
                    <a:pt x="9842" y="18327"/>
                    <a:pt x="9911" y="18087"/>
                  </a:cubicBezTo>
                  <a:cubicBezTo>
                    <a:pt x="9773" y="18259"/>
                    <a:pt x="9791" y="18241"/>
                    <a:pt x="9808" y="18087"/>
                  </a:cubicBezTo>
                  <a:cubicBezTo>
                    <a:pt x="9360" y="18252"/>
                    <a:pt x="8984" y="18568"/>
                    <a:pt x="8743" y="18980"/>
                  </a:cubicBezTo>
                  <a:lnTo>
                    <a:pt x="8743" y="18980"/>
                  </a:lnTo>
                  <a:lnTo>
                    <a:pt x="8743" y="18980"/>
                  </a:lnTo>
                  <a:cubicBezTo>
                    <a:pt x="8743" y="18980"/>
                    <a:pt x="8743" y="18825"/>
                    <a:pt x="8743" y="18740"/>
                  </a:cubicBezTo>
                  <a:cubicBezTo>
                    <a:pt x="8605" y="18980"/>
                    <a:pt x="8588" y="19289"/>
                    <a:pt x="8365" y="19495"/>
                  </a:cubicBezTo>
                  <a:lnTo>
                    <a:pt x="8365" y="19495"/>
                  </a:lnTo>
                  <a:lnTo>
                    <a:pt x="8262" y="19650"/>
                  </a:lnTo>
                  <a:cubicBezTo>
                    <a:pt x="8298" y="19536"/>
                    <a:pt x="8356" y="19431"/>
                    <a:pt x="8434" y="19341"/>
                  </a:cubicBezTo>
                  <a:cubicBezTo>
                    <a:pt x="8434" y="19341"/>
                    <a:pt x="8434" y="19255"/>
                    <a:pt x="8434" y="19221"/>
                  </a:cubicBezTo>
                  <a:lnTo>
                    <a:pt x="8434" y="19221"/>
                  </a:lnTo>
                  <a:cubicBezTo>
                    <a:pt x="8434" y="19014"/>
                    <a:pt x="8605" y="18860"/>
                    <a:pt x="8674" y="18671"/>
                  </a:cubicBezTo>
                  <a:cubicBezTo>
                    <a:pt x="8545" y="18838"/>
                    <a:pt x="8441" y="19023"/>
                    <a:pt x="8365" y="19221"/>
                  </a:cubicBezTo>
                  <a:cubicBezTo>
                    <a:pt x="8365" y="19117"/>
                    <a:pt x="8365" y="19032"/>
                    <a:pt x="8365" y="18929"/>
                  </a:cubicBezTo>
                  <a:cubicBezTo>
                    <a:pt x="8365" y="18825"/>
                    <a:pt x="8365" y="19581"/>
                    <a:pt x="8365" y="19324"/>
                  </a:cubicBezTo>
                  <a:cubicBezTo>
                    <a:pt x="8365" y="19324"/>
                    <a:pt x="8365" y="19598"/>
                    <a:pt x="8365" y="19530"/>
                  </a:cubicBezTo>
                  <a:cubicBezTo>
                    <a:pt x="8365" y="19461"/>
                    <a:pt x="8365" y="19616"/>
                    <a:pt x="8365" y="19650"/>
                  </a:cubicBezTo>
                  <a:cubicBezTo>
                    <a:pt x="8374" y="19605"/>
                    <a:pt x="8374" y="19558"/>
                    <a:pt x="8365" y="19513"/>
                  </a:cubicBezTo>
                  <a:cubicBezTo>
                    <a:pt x="8365" y="19650"/>
                    <a:pt x="8502" y="19719"/>
                    <a:pt x="8365" y="19856"/>
                  </a:cubicBezTo>
                  <a:lnTo>
                    <a:pt x="8365" y="19856"/>
                  </a:lnTo>
                  <a:cubicBezTo>
                    <a:pt x="8365" y="19993"/>
                    <a:pt x="8176" y="20148"/>
                    <a:pt x="8210" y="19976"/>
                  </a:cubicBezTo>
                  <a:cubicBezTo>
                    <a:pt x="8245" y="19805"/>
                    <a:pt x="8210" y="20079"/>
                    <a:pt x="8210" y="20097"/>
                  </a:cubicBezTo>
                  <a:cubicBezTo>
                    <a:pt x="8210" y="20114"/>
                    <a:pt x="8296" y="20097"/>
                    <a:pt x="8313" y="20234"/>
                  </a:cubicBezTo>
                  <a:cubicBezTo>
                    <a:pt x="8304" y="20200"/>
                    <a:pt x="8304" y="20165"/>
                    <a:pt x="8313" y="20131"/>
                  </a:cubicBezTo>
                  <a:cubicBezTo>
                    <a:pt x="8313" y="20234"/>
                    <a:pt x="8313" y="20285"/>
                    <a:pt x="8176" y="20354"/>
                  </a:cubicBezTo>
                  <a:cubicBezTo>
                    <a:pt x="8039" y="20423"/>
                    <a:pt x="8176" y="20354"/>
                    <a:pt x="8176" y="20251"/>
                  </a:cubicBezTo>
                  <a:cubicBezTo>
                    <a:pt x="8176" y="20148"/>
                    <a:pt x="8176" y="20251"/>
                    <a:pt x="8176" y="20251"/>
                  </a:cubicBezTo>
                  <a:cubicBezTo>
                    <a:pt x="8176" y="20251"/>
                    <a:pt x="8176" y="20474"/>
                    <a:pt x="8176" y="20389"/>
                  </a:cubicBezTo>
                  <a:lnTo>
                    <a:pt x="8176" y="20389"/>
                  </a:lnTo>
                  <a:lnTo>
                    <a:pt x="8176" y="20389"/>
                  </a:lnTo>
                  <a:lnTo>
                    <a:pt x="8176" y="20389"/>
                  </a:lnTo>
                  <a:cubicBezTo>
                    <a:pt x="6991" y="20389"/>
                    <a:pt x="6458" y="24992"/>
                    <a:pt x="6579" y="22982"/>
                  </a:cubicBezTo>
                  <a:cubicBezTo>
                    <a:pt x="6579" y="22982"/>
                    <a:pt x="6579" y="22982"/>
                    <a:pt x="6579" y="22982"/>
                  </a:cubicBezTo>
                  <a:cubicBezTo>
                    <a:pt x="6579" y="22982"/>
                    <a:pt x="6579" y="22982"/>
                    <a:pt x="6579" y="22982"/>
                  </a:cubicBezTo>
                  <a:lnTo>
                    <a:pt x="6579" y="22982"/>
                  </a:lnTo>
                  <a:cubicBezTo>
                    <a:pt x="6579" y="22879"/>
                    <a:pt x="6579" y="22707"/>
                    <a:pt x="6579" y="22604"/>
                  </a:cubicBezTo>
                  <a:cubicBezTo>
                    <a:pt x="6579" y="22501"/>
                    <a:pt x="6579" y="22604"/>
                    <a:pt x="6579" y="22707"/>
                  </a:cubicBezTo>
                  <a:cubicBezTo>
                    <a:pt x="6579" y="22810"/>
                    <a:pt x="6853" y="21780"/>
                    <a:pt x="6579" y="21745"/>
                  </a:cubicBezTo>
                  <a:cubicBezTo>
                    <a:pt x="6304" y="21711"/>
                    <a:pt x="6476" y="21849"/>
                    <a:pt x="6579" y="21745"/>
                  </a:cubicBezTo>
                  <a:lnTo>
                    <a:pt x="6579" y="21745"/>
                  </a:lnTo>
                  <a:lnTo>
                    <a:pt x="6579" y="21745"/>
                  </a:lnTo>
                  <a:cubicBezTo>
                    <a:pt x="6579" y="21745"/>
                    <a:pt x="6579" y="21574"/>
                    <a:pt x="6579" y="21642"/>
                  </a:cubicBezTo>
                  <a:cubicBezTo>
                    <a:pt x="6587" y="21603"/>
                    <a:pt x="6587" y="21562"/>
                    <a:pt x="6579" y="21522"/>
                  </a:cubicBezTo>
                  <a:lnTo>
                    <a:pt x="6579" y="21522"/>
                  </a:lnTo>
                  <a:cubicBezTo>
                    <a:pt x="6579" y="21522"/>
                    <a:pt x="6579" y="21436"/>
                    <a:pt x="6579" y="21385"/>
                  </a:cubicBezTo>
                  <a:lnTo>
                    <a:pt x="6579" y="21385"/>
                  </a:lnTo>
                  <a:cubicBezTo>
                    <a:pt x="6579" y="21385"/>
                    <a:pt x="6579" y="21385"/>
                    <a:pt x="6579" y="21385"/>
                  </a:cubicBezTo>
                  <a:cubicBezTo>
                    <a:pt x="6579" y="21385"/>
                    <a:pt x="6579" y="21385"/>
                    <a:pt x="6579" y="21385"/>
                  </a:cubicBezTo>
                  <a:cubicBezTo>
                    <a:pt x="6579" y="21385"/>
                    <a:pt x="6579" y="21282"/>
                    <a:pt x="6579" y="21230"/>
                  </a:cubicBezTo>
                  <a:lnTo>
                    <a:pt x="6579" y="21333"/>
                  </a:lnTo>
                  <a:cubicBezTo>
                    <a:pt x="6579" y="21230"/>
                    <a:pt x="6390" y="21333"/>
                    <a:pt x="6373" y="21453"/>
                  </a:cubicBezTo>
                  <a:lnTo>
                    <a:pt x="6373" y="21453"/>
                  </a:lnTo>
                  <a:cubicBezTo>
                    <a:pt x="6373" y="21642"/>
                    <a:pt x="6373" y="21763"/>
                    <a:pt x="6373" y="21849"/>
                  </a:cubicBezTo>
                  <a:cubicBezTo>
                    <a:pt x="6373" y="21934"/>
                    <a:pt x="6373" y="21471"/>
                    <a:pt x="6373" y="21763"/>
                  </a:cubicBezTo>
                  <a:lnTo>
                    <a:pt x="6373" y="21660"/>
                  </a:lnTo>
                  <a:cubicBezTo>
                    <a:pt x="6373" y="21539"/>
                    <a:pt x="6373" y="21471"/>
                    <a:pt x="6373" y="21350"/>
                  </a:cubicBezTo>
                  <a:cubicBezTo>
                    <a:pt x="6373" y="21230"/>
                    <a:pt x="6373" y="21350"/>
                    <a:pt x="6373" y="21350"/>
                  </a:cubicBezTo>
                  <a:cubicBezTo>
                    <a:pt x="6373" y="21591"/>
                    <a:pt x="6373" y="21076"/>
                    <a:pt x="6184" y="21350"/>
                  </a:cubicBezTo>
                  <a:cubicBezTo>
                    <a:pt x="6184" y="21350"/>
                    <a:pt x="6184" y="21196"/>
                    <a:pt x="6184" y="21127"/>
                  </a:cubicBezTo>
                  <a:cubicBezTo>
                    <a:pt x="6184" y="21058"/>
                    <a:pt x="6184" y="21247"/>
                    <a:pt x="6184" y="21127"/>
                  </a:cubicBezTo>
                  <a:cubicBezTo>
                    <a:pt x="6193" y="21213"/>
                    <a:pt x="6193" y="21299"/>
                    <a:pt x="6184" y="21385"/>
                  </a:cubicBezTo>
                  <a:lnTo>
                    <a:pt x="6184" y="21385"/>
                  </a:lnTo>
                  <a:lnTo>
                    <a:pt x="6184" y="21505"/>
                  </a:lnTo>
                  <a:lnTo>
                    <a:pt x="6184" y="21505"/>
                  </a:lnTo>
                  <a:cubicBezTo>
                    <a:pt x="6184" y="21591"/>
                    <a:pt x="6184" y="21505"/>
                    <a:pt x="6184" y="21505"/>
                  </a:cubicBezTo>
                  <a:lnTo>
                    <a:pt x="6184" y="21505"/>
                  </a:lnTo>
                  <a:cubicBezTo>
                    <a:pt x="6184" y="21505"/>
                    <a:pt x="6184" y="21505"/>
                    <a:pt x="6184" y="21505"/>
                  </a:cubicBezTo>
                  <a:lnTo>
                    <a:pt x="6184" y="21505"/>
                  </a:lnTo>
                  <a:cubicBezTo>
                    <a:pt x="6184" y="21505"/>
                    <a:pt x="6184" y="21608"/>
                    <a:pt x="6184" y="21608"/>
                  </a:cubicBezTo>
                  <a:lnTo>
                    <a:pt x="6184" y="21608"/>
                  </a:lnTo>
                  <a:cubicBezTo>
                    <a:pt x="6085" y="21918"/>
                    <a:pt x="6005" y="22233"/>
                    <a:pt x="5943" y="22553"/>
                  </a:cubicBezTo>
                  <a:cubicBezTo>
                    <a:pt x="5943" y="22553"/>
                    <a:pt x="5943" y="22433"/>
                    <a:pt x="5943" y="22398"/>
                  </a:cubicBezTo>
                  <a:cubicBezTo>
                    <a:pt x="5943" y="22364"/>
                    <a:pt x="5840" y="22862"/>
                    <a:pt x="5943" y="22621"/>
                  </a:cubicBezTo>
                  <a:cubicBezTo>
                    <a:pt x="5838" y="23115"/>
                    <a:pt x="5758" y="23614"/>
                    <a:pt x="5703" y="24116"/>
                  </a:cubicBezTo>
                  <a:cubicBezTo>
                    <a:pt x="5668" y="24579"/>
                    <a:pt x="5668" y="25044"/>
                    <a:pt x="5703" y="25507"/>
                  </a:cubicBezTo>
                  <a:cubicBezTo>
                    <a:pt x="5703" y="25507"/>
                    <a:pt x="5703" y="25507"/>
                    <a:pt x="5703" y="25507"/>
                  </a:cubicBezTo>
                  <a:cubicBezTo>
                    <a:pt x="5709" y="25479"/>
                    <a:pt x="5709" y="25449"/>
                    <a:pt x="5703" y="25421"/>
                  </a:cubicBezTo>
                  <a:lnTo>
                    <a:pt x="5703" y="25421"/>
                  </a:lnTo>
                  <a:cubicBezTo>
                    <a:pt x="5703" y="25421"/>
                    <a:pt x="5703" y="25421"/>
                    <a:pt x="5703" y="25421"/>
                  </a:cubicBezTo>
                  <a:lnTo>
                    <a:pt x="5703" y="25421"/>
                  </a:lnTo>
                  <a:cubicBezTo>
                    <a:pt x="5703" y="25421"/>
                    <a:pt x="5703" y="25559"/>
                    <a:pt x="5703" y="25627"/>
                  </a:cubicBezTo>
                  <a:lnTo>
                    <a:pt x="5703" y="25627"/>
                  </a:lnTo>
                  <a:lnTo>
                    <a:pt x="5703" y="25627"/>
                  </a:lnTo>
                  <a:cubicBezTo>
                    <a:pt x="5711" y="25553"/>
                    <a:pt x="5711" y="25478"/>
                    <a:pt x="5703" y="25404"/>
                  </a:cubicBezTo>
                  <a:lnTo>
                    <a:pt x="5703" y="25404"/>
                  </a:lnTo>
                  <a:cubicBezTo>
                    <a:pt x="5857" y="25249"/>
                    <a:pt x="5703" y="24511"/>
                    <a:pt x="5995" y="24665"/>
                  </a:cubicBezTo>
                  <a:cubicBezTo>
                    <a:pt x="5995" y="24665"/>
                    <a:pt x="5995" y="24562"/>
                    <a:pt x="5995" y="24665"/>
                  </a:cubicBezTo>
                  <a:cubicBezTo>
                    <a:pt x="5995" y="24769"/>
                    <a:pt x="5995" y="24665"/>
                    <a:pt x="5995" y="24665"/>
                  </a:cubicBezTo>
                  <a:cubicBezTo>
                    <a:pt x="5995" y="24665"/>
                    <a:pt x="5995" y="24820"/>
                    <a:pt x="5995" y="24665"/>
                  </a:cubicBezTo>
                  <a:cubicBezTo>
                    <a:pt x="6098" y="24957"/>
                    <a:pt x="5806" y="25284"/>
                    <a:pt x="5857" y="25593"/>
                  </a:cubicBezTo>
                  <a:cubicBezTo>
                    <a:pt x="5857" y="25593"/>
                    <a:pt x="5857" y="25868"/>
                    <a:pt x="5857" y="25919"/>
                  </a:cubicBezTo>
                  <a:cubicBezTo>
                    <a:pt x="5814" y="26294"/>
                    <a:pt x="5476" y="26563"/>
                    <a:pt x="5101" y="26521"/>
                  </a:cubicBezTo>
                  <a:cubicBezTo>
                    <a:pt x="4727" y="26478"/>
                    <a:pt x="4457" y="26140"/>
                    <a:pt x="4500" y="25765"/>
                  </a:cubicBezTo>
                  <a:cubicBezTo>
                    <a:pt x="4500" y="25954"/>
                    <a:pt x="4500" y="26349"/>
                    <a:pt x="4397" y="26658"/>
                  </a:cubicBezTo>
                  <a:lnTo>
                    <a:pt x="4397" y="26658"/>
                  </a:lnTo>
                  <a:cubicBezTo>
                    <a:pt x="4380" y="26726"/>
                    <a:pt x="4380" y="26796"/>
                    <a:pt x="4397" y="26864"/>
                  </a:cubicBezTo>
                  <a:lnTo>
                    <a:pt x="4397" y="26864"/>
                  </a:lnTo>
                  <a:cubicBezTo>
                    <a:pt x="4397" y="26864"/>
                    <a:pt x="4397" y="26864"/>
                    <a:pt x="4397" y="26950"/>
                  </a:cubicBezTo>
                  <a:cubicBezTo>
                    <a:pt x="4397" y="27036"/>
                    <a:pt x="4603" y="27139"/>
                    <a:pt x="4586" y="26950"/>
                  </a:cubicBezTo>
                  <a:cubicBezTo>
                    <a:pt x="4586" y="27053"/>
                    <a:pt x="4586" y="27105"/>
                    <a:pt x="4724" y="27190"/>
                  </a:cubicBezTo>
                  <a:lnTo>
                    <a:pt x="4724" y="27190"/>
                  </a:lnTo>
                  <a:cubicBezTo>
                    <a:pt x="4738" y="27241"/>
                    <a:pt x="4738" y="27295"/>
                    <a:pt x="4724" y="27345"/>
                  </a:cubicBezTo>
                  <a:cubicBezTo>
                    <a:pt x="4724" y="27208"/>
                    <a:pt x="4724" y="27345"/>
                    <a:pt x="4724" y="27448"/>
                  </a:cubicBezTo>
                  <a:lnTo>
                    <a:pt x="4724" y="27448"/>
                  </a:lnTo>
                  <a:cubicBezTo>
                    <a:pt x="4767" y="27681"/>
                    <a:pt x="4767" y="27920"/>
                    <a:pt x="4724" y="28152"/>
                  </a:cubicBezTo>
                  <a:lnTo>
                    <a:pt x="4724" y="28152"/>
                  </a:lnTo>
                  <a:cubicBezTo>
                    <a:pt x="4732" y="28307"/>
                    <a:pt x="4732" y="28462"/>
                    <a:pt x="4724" y="28616"/>
                  </a:cubicBezTo>
                  <a:cubicBezTo>
                    <a:pt x="4724" y="28616"/>
                    <a:pt x="4724" y="28513"/>
                    <a:pt x="4724" y="28444"/>
                  </a:cubicBezTo>
                  <a:cubicBezTo>
                    <a:pt x="4715" y="28564"/>
                    <a:pt x="4715" y="28685"/>
                    <a:pt x="4724" y="28805"/>
                  </a:cubicBezTo>
                  <a:cubicBezTo>
                    <a:pt x="4734" y="28777"/>
                    <a:pt x="4734" y="28747"/>
                    <a:pt x="4724" y="28719"/>
                  </a:cubicBezTo>
                  <a:cubicBezTo>
                    <a:pt x="4697" y="28861"/>
                    <a:pt x="4697" y="29007"/>
                    <a:pt x="4724" y="29149"/>
                  </a:cubicBezTo>
                  <a:cubicBezTo>
                    <a:pt x="4724" y="29063"/>
                    <a:pt x="4947" y="30042"/>
                    <a:pt x="4930" y="29733"/>
                  </a:cubicBezTo>
                  <a:cubicBezTo>
                    <a:pt x="5136" y="30265"/>
                    <a:pt x="5170" y="29131"/>
                    <a:pt x="5634" y="30471"/>
                  </a:cubicBezTo>
                  <a:cubicBezTo>
                    <a:pt x="5634" y="30368"/>
                    <a:pt x="5634" y="29337"/>
                    <a:pt x="5960" y="29595"/>
                  </a:cubicBezTo>
                  <a:cubicBezTo>
                    <a:pt x="5960" y="29818"/>
                    <a:pt x="5960" y="29595"/>
                    <a:pt x="5960" y="29475"/>
                  </a:cubicBezTo>
                  <a:cubicBezTo>
                    <a:pt x="5960" y="29355"/>
                    <a:pt x="6252" y="29303"/>
                    <a:pt x="6355" y="29234"/>
                  </a:cubicBezTo>
                  <a:cubicBezTo>
                    <a:pt x="6476" y="29458"/>
                    <a:pt x="6355" y="29836"/>
                    <a:pt x="6355" y="30145"/>
                  </a:cubicBezTo>
                  <a:cubicBezTo>
                    <a:pt x="6630" y="30901"/>
                    <a:pt x="6355" y="29681"/>
                    <a:pt x="6665" y="29664"/>
                  </a:cubicBezTo>
                  <a:cubicBezTo>
                    <a:pt x="6974" y="29647"/>
                    <a:pt x="6527" y="29544"/>
                    <a:pt x="6665" y="29441"/>
                  </a:cubicBezTo>
                  <a:cubicBezTo>
                    <a:pt x="6802" y="29337"/>
                    <a:pt x="6665" y="29664"/>
                    <a:pt x="6785" y="29733"/>
                  </a:cubicBezTo>
                  <a:cubicBezTo>
                    <a:pt x="6933" y="29741"/>
                    <a:pt x="7051" y="29859"/>
                    <a:pt x="7060" y="30007"/>
                  </a:cubicBezTo>
                  <a:cubicBezTo>
                    <a:pt x="6939" y="30213"/>
                    <a:pt x="7352" y="30145"/>
                    <a:pt x="7472" y="30196"/>
                  </a:cubicBezTo>
                  <a:cubicBezTo>
                    <a:pt x="7558" y="30660"/>
                    <a:pt x="8090" y="30042"/>
                    <a:pt x="8262" y="30402"/>
                  </a:cubicBezTo>
                  <a:cubicBezTo>
                    <a:pt x="8004" y="30402"/>
                    <a:pt x="8073" y="30402"/>
                    <a:pt x="8262" y="30643"/>
                  </a:cubicBezTo>
                  <a:cubicBezTo>
                    <a:pt x="8262" y="30471"/>
                    <a:pt x="8863" y="31107"/>
                    <a:pt x="8434" y="31107"/>
                  </a:cubicBezTo>
                  <a:cubicBezTo>
                    <a:pt x="8885" y="31152"/>
                    <a:pt x="9220" y="31547"/>
                    <a:pt x="9189" y="32000"/>
                  </a:cubicBezTo>
                  <a:cubicBezTo>
                    <a:pt x="9189" y="31673"/>
                    <a:pt x="9550" y="32154"/>
                    <a:pt x="9550" y="32309"/>
                  </a:cubicBezTo>
                  <a:cubicBezTo>
                    <a:pt x="9464" y="32103"/>
                    <a:pt x="10461" y="32309"/>
                    <a:pt x="10220" y="32532"/>
                  </a:cubicBezTo>
                  <a:cubicBezTo>
                    <a:pt x="10443" y="32361"/>
                    <a:pt x="10976" y="33030"/>
                    <a:pt x="10856" y="33151"/>
                  </a:cubicBezTo>
                  <a:cubicBezTo>
                    <a:pt x="11010" y="32893"/>
                    <a:pt x="11130" y="33735"/>
                    <a:pt x="11302" y="33924"/>
                  </a:cubicBezTo>
                  <a:cubicBezTo>
                    <a:pt x="11474" y="34113"/>
                    <a:pt x="10976" y="34559"/>
                    <a:pt x="11045" y="34868"/>
                  </a:cubicBezTo>
                  <a:cubicBezTo>
                    <a:pt x="11045" y="34611"/>
                    <a:pt x="11233" y="34628"/>
                    <a:pt x="11148" y="34868"/>
                  </a:cubicBezTo>
                  <a:cubicBezTo>
                    <a:pt x="11148" y="34868"/>
                    <a:pt x="11268" y="34559"/>
                    <a:pt x="11337" y="34731"/>
                  </a:cubicBezTo>
                  <a:cubicBezTo>
                    <a:pt x="11405" y="34903"/>
                    <a:pt x="11337" y="34731"/>
                    <a:pt x="11337" y="34731"/>
                  </a:cubicBezTo>
                  <a:cubicBezTo>
                    <a:pt x="11337" y="34216"/>
                    <a:pt x="12401" y="35143"/>
                    <a:pt x="11337" y="35092"/>
                  </a:cubicBezTo>
                  <a:cubicBezTo>
                    <a:pt x="11749" y="35092"/>
                    <a:pt x="11543" y="35315"/>
                    <a:pt x="11680" y="35624"/>
                  </a:cubicBezTo>
                  <a:cubicBezTo>
                    <a:pt x="11543" y="35074"/>
                    <a:pt x="12075" y="34576"/>
                    <a:pt x="12419" y="35074"/>
                  </a:cubicBezTo>
                  <a:cubicBezTo>
                    <a:pt x="12419" y="35074"/>
                    <a:pt x="12608" y="35177"/>
                    <a:pt x="12642" y="35263"/>
                  </a:cubicBezTo>
                  <a:cubicBezTo>
                    <a:pt x="12676" y="35349"/>
                    <a:pt x="12986" y="35366"/>
                    <a:pt x="12882" y="35469"/>
                  </a:cubicBezTo>
                  <a:cubicBezTo>
                    <a:pt x="12779" y="35573"/>
                    <a:pt x="12882" y="35727"/>
                    <a:pt x="12968" y="35830"/>
                  </a:cubicBezTo>
                  <a:cubicBezTo>
                    <a:pt x="13054" y="35933"/>
                    <a:pt x="12968" y="35487"/>
                    <a:pt x="12968" y="35710"/>
                  </a:cubicBezTo>
                  <a:cubicBezTo>
                    <a:pt x="12968" y="35555"/>
                    <a:pt x="13106" y="35607"/>
                    <a:pt x="12968" y="35504"/>
                  </a:cubicBezTo>
                  <a:cubicBezTo>
                    <a:pt x="12831" y="35401"/>
                    <a:pt x="13363" y="35761"/>
                    <a:pt x="13363" y="35641"/>
                  </a:cubicBezTo>
                  <a:cubicBezTo>
                    <a:pt x="13363" y="35521"/>
                    <a:pt x="13363" y="35641"/>
                    <a:pt x="13466" y="35744"/>
                  </a:cubicBezTo>
                  <a:cubicBezTo>
                    <a:pt x="13569" y="35847"/>
                    <a:pt x="13466" y="35744"/>
                    <a:pt x="13466" y="35744"/>
                  </a:cubicBezTo>
                  <a:lnTo>
                    <a:pt x="13466" y="35744"/>
                  </a:lnTo>
                  <a:lnTo>
                    <a:pt x="13466" y="35744"/>
                  </a:lnTo>
                  <a:cubicBezTo>
                    <a:pt x="14841" y="36157"/>
                    <a:pt x="16438" y="37462"/>
                    <a:pt x="14926" y="38922"/>
                  </a:cubicBezTo>
                  <a:cubicBezTo>
                    <a:pt x="14926" y="38836"/>
                    <a:pt x="14926" y="38682"/>
                    <a:pt x="14926" y="38819"/>
                  </a:cubicBezTo>
                  <a:cubicBezTo>
                    <a:pt x="14926" y="38956"/>
                    <a:pt x="14823" y="38819"/>
                    <a:pt x="14806" y="38819"/>
                  </a:cubicBezTo>
                  <a:lnTo>
                    <a:pt x="14806" y="38819"/>
                  </a:lnTo>
                  <a:cubicBezTo>
                    <a:pt x="15133" y="39386"/>
                    <a:pt x="15717" y="41619"/>
                    <a:pt x="14806" y="41447"/>
                  </a:cubicBezTo>
                  <a:cubicBezTo>
                    <a:pt x="14806" y="41447"/>
                    <a:pt x="14514" y="41447"/>
                    <a:pt x="14806" y="41447"/>
                  </a:cubicBezTo>
                  <a:cubicBezTo>
                    <a:pt x="15098" y="41447"/>
                    <a:pt x="14652" y="41447"/>
                    <a:pt x="14600" y="41447"/>
                  </a:cubicBezTo>
                  <a:cubicBezTo>
                    <a:pt x="14549" y="41447"/>
                    <a:pt x="14600" y="41533"/>
                    <a:pt x="14600" y="41687"/>
                  </a:cubicBezTo>
                  <a:cubicBezTo>
                    <a:pt x="14360" y="41498"/>
                    <a:pt x="14257" y="41997"/>
                    <a:pt x="14154" y="41962"/>
                  </a:cubicBezTo>
                  <a:cubicBezTo>
                    <a:pt x="14050" y="41928"/>
                    <a:pt x="14154" y="41962"/>
                    <a:pt x="14154" y="41962"/>
                  </a:cubicBezTo>
                  <a:cubicBezTo>
                    <a:pt x="14154" y="41962"/>
                    <a:pt x="14291" y="42048"/>
                    <a:pt x="14154" y="42048"/>
                  </a:cubicBezTo>
                  <a:cubicBezTo>
                    <a:pt x="14016" y="42048"/>
                    <a:pt x="14154" y="42048"/>
                    <a:pt x="14154" y="42048"/>
                  </a:cubicBezTo>
                  <a:cubicBezTo>
                    <a:pt x="14154" y="42048"/>
                    <a:pt x="14446" y="42426"/>
                    <a:pt x="14411" y="42529"/>
                  </a:cubicBezTo>
                  <a:cubicBezTo>
                    <a:pt x="14377" y="42632"/>
                    <a:pt x="14411" y="43697"/>
                    <a:pt x="14411" y="43336"/>
                  </a:cubicBezTo>
                  <a:cubicBezTo>
                    <a:pt x="14411" y="43336"/>
                    <a:pt x="14411" y="43336"/>
                    <a:pt x="14411" y="43250"/>
                  </a:cubicBezTo>
                  <a:cubicBezTo>
                    <a:pt x="14411" y="43165"/>
                    <a:pt x="14411" y="43113"/>
                    <a:pt x="14411" y="43113"/>
                  </a:cubicBezTo>
                  <a:cubicBezTo>
                    <a:pt x="14338" y="43042"/>
                    <a:pt x="14257" y="42979"/>
                    <a:pt x="14171" y="42924"/>
                  </a:cubicBezTo>
                  <a:cubicBezTo>
                    <a:pt x="14231" y="42979"/>
                    <a:pt x="14283" y="43043"/>
                    <a:pt x="14325" y="43113"/>
                  </a:cubicBezTo>
                  <a:cubicBezTo>
                    <a:pt x="14325" y="43113"/>
                    <a:pt x="14446" y="43354"/>
                    <a:pt x="14325" y="43250"/>
                  </a:cubicBezTo>
                  <a:cubicBezTo>
                    <a:pt x="14858" y="44041"/>
                    <a:pt x="14325" y="44264"/>
                    <a:pt x="13844" y="43817"/>
                  </a:cubicBezTo>
                  <a:lnTo>
                    <a:pt x="14549" y="44418"/>
                  </a:lnTo>
                  <a:lnTo>
                    <a:pt x="14549" y="44418"/>
                  </a:lnTo>
                  <a:cubicBezTo>
                    <a:pt x="14637" y="44494"/>
                    <a:pt x="14707" y="44587"/>
                    <a:pt x="14755" y="44693"/>
                  </a:cubicBezTo>
                  <a:lnTo>
                    <a:pt x="14755" y="44693"/>
                  </a:lnTo>
                  <a:cubicBezTo>
                    <a:pt x="14755" y="44693"/>
                    <a:pt x="14944" y="44951"/>
                    <a:pt x="14755" y="44882"/>
                  </a:cubicBezTo>
                  <a:cubicBezTo>
                    <a:pt x="14566" y="44814"/>
                    <a:pt x="14394" y="44882"/>
                    <a:pt x="14291" y="44882"/>
                  </a:cubicBezTo>
                  <a:cubicBezTo>
                    <a:pt x="14188" y="44882"/>
                    <a:pt x="14480" y="45037"/>
                    <a:pt x="14566" y="45123"/>
                  </a:cubicBezTo>
                  <a:lnTo>
                    <a:pt x="14566" y="45123"/>
                  </a:lnTo>
                  <a:cubicBezTo>
                    <a:pt x="14909" y="45466"/>
                    <a:pt x="14995" y="45569"/>
                    <a:pt x="14463" y="45294"/>
                  </a:cubicBezTo>
                  <a:cubicBezTo>
                    <a:pt x="14621" y="45462"/>
                    <a:pt x="14807" y="45602"/>
                    <a:pt x="15012" y="45707"/>
                  </a:cubicBezTo>
                  <a:cubicBezTo>
                    <a:pt x="15012" y="45707"/>
                    <a:pt x="15012" y="45707"/>
                    <a:pt x="15012" y="45707"/>
                  </a:cubicBezTo>
                  <a:lnTo>
                    <a:pt x="15012" y="45707"/>
                  </a:lnTo>
                  <a:cubicBezTo>
                    <a:pt x="15304" y="45930"/>
                    <a:pt x="15133" y="45947"/>
                    <a:pt x="15717" y="46359"/>
                  </a:cubicBezTo>
                  <a:lnTo>
                    <a:pt x="15717" y="46359"/>
                  </a:lnTo>
                  <a:lnTo>
                    <a:pt x="15717" y="46359"/>
                  </a:lnTo>
                  <a:lnTo>
                    <a:pt x="15717" y="46359"/>
                  </a:lnTo>
                  <a:cubicBezTo>
                    <a:pt x="15991" y="46669"/>
                    <a:pt x="16438" y="46737"/>
                    <a:pt x="16730" y="47012"/>
                  </a:cubicBezTo>
                  <a:lnTo>
                    <a:pt x="16730" y="47012"/>
                  </a:lnTo>
                  <a:lnTo>
                    <a:pt x="16730" y="47012"/>
                  </a:lnTo>
                  <a:lnTo>
                    <a:pt x="16730" y="47012"/>
                  </a:lnTo>
                  <a:lnTo>
                    <a:pt x="16885" y="47132"/>
                  </a:lnTo>
                  <a:lnTo>
                    <a:pt x="16885" y="47132"/>
                  </a:lnTo>
                  <a:lnTo>
                    <a:pt x="17091" y="47270"/>
                  </a:lnTo>
                  <a:cubicBezTo>
                    <a:pt x="17091" y="47270"/>
                    <a:pt x="17091" y="47270"/>
                    <a:pt x="16988" y="47270"/>
                  </a:cubicBezTo>
                  <a:cubicBezTo>
                    <a:pt x="17278" y="47454"/>
                    <a:pt x="17582" y="47614"/>
                    <a:pt x="17898" y="47751"/>
                  </a:cubicBezTo>
                  <a:lnTo>
                    <a:pt x="17898" y="47751"/>
                  </a:lnTo>
                  <a:cubicBezTo>
                    <a:pt x="17795" y="47751"/>
                    <a:pt x="17898" y="47751"/>
                    <a:pt x="17898" y="47751"/>
                  </a:cubicBezTo>
                  <a:lnTo>
                    <a:pt x="17898" y="47751"/>
                  </a:lnTo>
                  <a:cubicBezTo>
                    <a:pt x="18059" y="47847"/>
                    <a:pt x="18225" y="47933"/>
                    <a:pt x="18396" y="48008"/>
                  </a:cubicBezTo>
                  <a:lnTo>
                    <a:pt x="18173" y="48008"/>
                  </a:lnTo>
                  <a:close/>
                  <a:moveTo>
                    <a:pt x="20560" y="10117"/>
                  </a:moveTo>
                  <a:cubicBezTo>
                    <a:pt x="20286" y="10409"/>
                    <a:pt x="20560" y="10014"/>
                    <a:pt x="20560" y="9980"/>
                  </a:cubicBezTo>
                  <a:cubicBezTo>
                    <a:pt x="20560" y="9945"/>
                    <a:pt x="20423" y="10134"/>
                    <a:pt x="20286" y="10323"/>
                  </a:cubicBezTo>
                  <a:cubicBezTo>
                    <a:pt x="19822" y="10083"/>
                    <a:pt x="19581" y="10976"/>
                    <a:pt x="19289" y="10907"/>
                  </a:cubicBezTo>
                  <a:cubicBezTo>
                    <a:pt x="19530" y="11165"/>
                    <a:pt x="19100" y="10907"/>
                    <a:pt x="19152" y="11165"/>
                  </a:cubicBezTo>
                  <a:cubicBezTo>
                    <a:pt x="19014" y="10959"/>
                    <a:pt x="19152" y="11165"/>
                    <a:pt x="19152" y="11165"/>
                  </a:cubicBezTo>
                  <a:cubicBezTo>
                    <a:pt x="19152" y="10907"/>
                    <a:pt x="19152" y="11457"/>
                    <a:pt x="18997" y="11165"/>
                  </a:cubicBezTo>
                  <a:cubicBezTo>
                    <a:pt x="18688" y="11165"/>
                    <a:pt x="18997" y="11577"/>
                    <a:pt x="18585" y="11577"/>
                  </a:cubicBezTo>
                  <a:cubicBezTo>
                    <a:pt x="18585" y="11577"/>
                    <a:pt x="18327" y="12024"/>
                    <a:pt x="18259" y="11903"/>
                  </a:cubicBezTo>
                  <a:cubicBezTo>
                    <a:pt x="18190" y="11783"/>
                    <a:pt x="17846" y="12453"/>
                    <a:pt x="18001" y="12109"/>
                  </a:cubicBezTo>
                  <a:cubicBezTo>
                    <a:pt x="17537" y="12401"/>
                    <a:pt x="18104" y="11938"/>
                    <a:pt x="17743" y="12006"/>
                  </a:cubicBezTo>
                  <a:cubicBezTo>
                    <a:pt x="18173" y="11680"/>
                    <a:pt x="18070" y="11749"/>
                    <a:pt x="17503" y="11783"/>
                  </a:cubicBezTo>
                  <a:cubicBezTo>
                    <a:pt x="17588" y="11313"/>
                    <a:pt x="17763" y="10864"/>
                    <a:pt x="18018" y="10461"/>
                  </a:cubicBezTo>
                  <a:cubicBezTo>
                    <a:pt x="18018" y="10220"/>
                    <a:pt x="18224" y="10461"/>
                    <a:pt x="18448" y="10134"/>
                  </a:cubicBezTo>
                  <a:cubicBezTo>
                    <a:pt x="17984" y="10306"/>
                    <a:pt x="17984" y="10134"/>
                    <a:pt x="18448" y="9739"/>
                  </a:cubicBezTo>
                  <a:cubicBezTo>
                    <a:pt x="18345" y="9739"/>
                    <a:pt x="18207" y="9739"/>
                    <a:pt x="18345" y="9739"/>
                  </a:cubicBezTo>
                  <a:cubicBezTo>
                    <a:pt x="18482" y="9739"/>
                    <a:pt x="18345" y="9636"/>
                    <a:pt x="18963" y="9344"/>
                  </a:cubicBezTo>
                  <a:cubicBezTo>
                    <a:pt x="17709" y="9808"/>
                    <a:pt x="19392" y="8966"/>
                    <a:pt x="18774" y="9104"/>
                  </a:cubicBezTo>
                  <a:cubicBezTo>
                    <a:pt x="19272" y="8657"/>
                    <a:pt x="19152" y="9293"/>
                    <a:pt x="19324" y="9104"/>
                  </a:cubicBezTo>
                  <a:cubicBezTo>
                    <a:pt x="18997" y="9104"/>
                    <a:pt x="19667" y="8863"/>
                    <a:pt x="19324" y="8966"/>
                  </a:cubicBezTo>
                  <a:cubicBezTo>
                    <a:pt x="19444" y="8846"/>
                    <a:pt x="19169" y="8966"/>
                    <a:pt x="18946" y="8966"/>
                  </a:cubicBezTo>
                  <a:cubicBezTo>
                    <a:pt x="19427" y="8537"/>
                    <a:pt x="19238" y="9086"/>
                    <a:pt x="19598" y="8674"/>
                  </a:cubicBezTo>
                  <a:cubicBezTo>
                    <a:pt x="19289" y="8846"/>
                    <a:pt x="19341" y="8554"/>
                    <a:pt x="19598" y="8674"/>
                  </a:cubicBezTo>
                  <a:cubicBezTo>
                    <a:pt x="19808" y="8533"/>
                    <a:pt x="20004" y="8372"/>
                    <a:pt x="20182" y="8193"/>
                  </a:cubicBezTo>
                  <a:cubicBezTo>
                    <a:pt x="19994" y="8193"/>
                    <a:pt x="20182" y="7266"/>
                    <a:pt x="20354" y="7953"/>
                  </a:cubicBezTo>
                  <a:cubicBezTo>
                    <a:pt x="20354" y="7953"/>
                    <a:pt x="20509" y="7712"/>
                    <a:pt x="20560" y="7764"/>
                  </a:cubicBezTo>
                  <a:cubicBezTo>
                    <a:pt x="20612" y="7815"/>
                    <a:pt x="21144" y="6991"/>
                    <a:pt x="20681" y="7386"/>
                  </a:cubicBezTo>
                  <a:cubicBezTo>
                    <a:pt x="20217" y="7781"/>
                    <a:pt x="21162" y="6922"/>
                    <a:pt x="21746" y="6338"/>
                  </a:cubicBezTo>
                  <a:cubicBezTo>
                    <a:pt x="23154" y="5256"/>
                    <a:pt x="21746" y="5497"/>
                    <a:pt x="22914" y="4981"/>
                  </a:cubicBezTo>
                  <a:cubicBezTo>
                    <a:pt x="23085" y="4981"/>
                    <a:pt x="23206" y="5067"/>
                    <a:pt x="23326" y="4844"/>
                  </a:cubicBezTo>
                  <a:cubicBezTo>
                    <a:pt x="26332" y="3556"/>
                    <a:pt x="25576" y="4260"/>
                    <a:pt x="26761" y="3693"/>
                  </a:cubicBezTo>
                  <a:cubicBezTo>
                    <a:pt x="26418" y="3882"/>
                    <a:pt x="26761" y="3693"/>
                    <a:pt x="26881" y="3693"/>
                  </a:cubicBezTo>
                  <a:cubicBezTo>
                    <a:pt x="26503" y="3951"/>
                    <a:pt x="26710" y="3693"/>
                    <a:pt x="26607" y="3951"/>
                  </a:cubicBezTo>
                  <a:cubicBezTo>
                    <a:pt x="26761" y="4140"/>
                    <a:pt x="25765" y="4243"/>
                    <a:pt x="26211" y="4208"/>
                  </a:cubicBezTo>
                  <a:cubicBezTo>
                    <a:pt x="26658" y="4174"/>
                    <a:pt x="26057" y="4346"/>
                    <a:pt x="26211" y="4329"/>
                  </a:cubicBezTo>
                  <a:cubicBezTo>
                    <a:pt x="26555" y="4054"/>
                    <a:pt x="26211" y="4483"/>
                    <a:pt x="26074" y="4500"/>
                  </a:cubicBezTo>
                  <a:cubicBezTo>
                    <a:pt x="25284" y="5119"/>
                    <a:pt x="27036" y="3744"/>
                    <a:pt x="26383" y="4621"/>
                  </a:cubicBezTo>
                  <a:cubicBezTo>
                    <a:pt x="26108" y="4844"/>
                    <a:pt x="25816" y="4861"/>
                    <a:pt x="26057" y="4947"/>
                  </a:cubicBezTo>
                  <a:cubicBezTo>
                    <a:pt x="25672" y="5283"/>
                    <a:pt x="25406" y="5735"/>
                    <a:pt x="25301" y="6235"/>
                  </a:cubicBezTo>
                  <a:cubicBezTo>
                    <a:pt x="25198" y="5874"/>
                    <a:pt x="24751" y="6424"/>
                    <a:pt x="25112" y="6373"/>
                  </a:cubicBezTo>
                  <a:cubicBezTo>
                    <a:pt x="24837" y="6596"/>
                    <a:pt x="25112" y="6373"/>
                    <a:pt x="25009" y="6596"/>
                  </a:cubicBezTo>
                  <a:cubicBezTo>
                    <a:pt x="24906" y="6819"/>
                    <a:pt x="24837" y="6596"/>
                    <a:pt x="24751" y="6596"/>
                  </a:cubicBezTo>
                  <a:cubicBezTo>
                    <a:pt x="24666" y="6596"/>
                    <a:pt x="24751" y="6957"/>
                    <a:pt x="24751" y="6768"/>
                  </a:cubicBezTo>
                  <a:cubicBezTo>
                    <a:pt x="24751" y="6871"/>
                    <a:pt x="25061" y="7128"/>
                    <a:pt x="24751" y="7180"/>
                  </a:cubicBezTo>
                  <a:cubicBezTo>
                    <a:pt x="24271" y="6750"/>
                    <a:pt x="24751" y="7575"/>
                    <a:pt x="24442" y="7489"/>
                  </a:cubicBezTo>
                  <a:cubicBezTo>
                    <a:pt x="23961" y="7729"/>
                    <a:pt x="24442" y="7060"/>
                    <a:pt x="24133" y="7489"/>
                  </a:cubicBezTo>
                  <a:cubicBezTo>
                    <a:pt x="24133" y="7283"/>
                    <a:pt x="23807" y="7609"/>
                    <a:pt x="23738" y="7626"/>
                  </a:cubicBezTo>
                  <a:cubicBezTo>
                    <a:pt x="24150" y="7626"/>
                    <a:pt x="23738" y="7764"/>
                    <a:pt x="23738" y="7781"/>
                  </a:cubicBezTo>
                  <a:cubicBezTo>
                    <a:pt x="24236" y="7781"/>
                    <a:pt x="23738" y="7918"/>
                    <a:pt x="23824" y="7987"/>
                  </a:cubicBezTo>
                  <a:cubicBezTo>
                    <a:pt x="24442" y="8090"/>
                    <a:pt x="23515" y="9705"/>
                    <a:pt x="23583" y="8262"/>
                  </a:cubicBezTo>
                  <a:cubicBezTo>
                    <a:pt x="23034" y="7901"/>
                    <a:pt x="23978" y="8657"/>
                    <a:pt x="23137" y="8520"/>
                  </a:cubicBezTo>
                  <a:cubicBezTo>
                    <a:pt x="23291" y="8640"/>
                    <a:pt x="22673" y="8777"/>
                    <a:pt x="22931" y="8726"/>
                  </a:cubicBezTo>
                  <a:cubicBezTo>
                    <a:pt x="23188" y="8674"/>
                    <a:pt x="23326" y="8915"/>
                    <a:pt x="22931" y="8846"/>
                  </a:cubicBezTo>
                  <a:cubicBezTo>
                    <a:pt x="22536" y="8777"/>
                    <a:pt x="24082" y="8846"/>
                    <a:pt x="23446" y="9121"/>
                  </a:cubicBezTo>
                  <a:cubicBezTo>
                    <a:pt x="23446" y="9121"/>
                    <a:pt x="23171" y="9327"/>
                    <a:pt x="23137" y="9275"/>
                  </a:cubicBezTo>
                  <a:cubicBezTo>
                    <a:pt x="23103" y="9224"/>
                    <a:pt x="21866" y="9859"/>
                    <a:pt x="21952" y="9396"/>
                  </a:cubicBezTo>
                  <a:cubicBezTo>
                    <a:pt x="22038" y="8932"/>
                    <a:pt x="21952" y="9636"/>
                    <a:pt x="21831" y="9653"/>
                  </a:cubicBezTo>
                  <a:cubicBezTo>
                    <a:pt x="21385" y="9688"/>
                    <a:pt x="20612" y="10529"/>
                    <a:pt x="20560" y="10117"/>
                  </a:cubicBezTo>
                  <a:close/>
                  <a:moveTo>
                    <a:pt x="23669" y="11440"/>
                  </a:moveTo>
                  <a:cubicBezTo>
                    <a:pt x="23669" y="11577"/>
                    <a:pt x="23463" y="11543"/>
                    <a:pt x="23412" y="11440"/>
                  </a:cubicBezTo>
                  <a:cubicBezTo>
                    <a:pt x="23360" y="11337"/>
                    <a:pt x="23223" y="11440"/>
                    <a:pt x="23274" y="11319"/>
                  </a:cubicBezTo>
                  <a:cubicBezTo>
                    <a:pt x="23326" y="11199"/>
                    <a:pt x="23188" y="11319"/>
                    <a:pt x="23274" y="11319"/>
                  </a:cubicBezTo>
                  <a:cubicBezTo>
                    <a:pt x="23173" y="11345"/>
                    <a:pt x="23067" y="11345"/>
                    <a:pt x="22965" y="11319"/>
                  </a:cubicBezTo>
                  <a:cubicBezTo>
                    <a:pt x="22965" y="11319"/>
                    <a:pt x="22965" y="11319"/>
                    <a:pt x="22965" y="11319"/>
                  </a:cubicBezTo>
                  <a:cubicBezTo>
                    <a:pt x="22965" y="11319"/>
                    <a:pt x="22965" y="11319"/>
                    <a:pt x="22965" y="11233"/>
                  </a:cubicBezTo>
                  <a:cubicBezTo>
                    <a:pt x="22965" y="11148"/>
                    <a:pt x="22965" y="11233"/>
                    <a:pt x="22965" y="11233"/>
                  </a:cubicBezTo>
                  <a:cubicBezTo>
                    <a:pt x="22965" y="11233"/>
                    <a:pt x="23120" y="11096"/>
                    <a:pt x="23206" y="11148"/>
                  </a:cubicBezTo>
                  <a:cubicBezTo>
                    <a:pt x="23291" y="11199"/>
                    <a:pt x="22948" y="11251"/>
                    <a:pt x="23206" y="11027"/>
                  </a:cubicBezTo>
                  <a:cubicBezTo>
                    <a:pt x="23206" y="11113"/>
                    <a:pt x="23051" y="11027"/>
                    <a:pt x="23206" y="10941"/>
                  </a:cubicBezTo>
                  <a:cubicBezTo>
                    <a:pt x="23360" y="10856"/>
                    <a:pt x="22948" y="10941"/>
                    <a:pt x="22948" y="10821"/>
                  </a:cubicBezTo>
                  <a:cubicBezTo>
                    <a:pt x="22948" y="10701"/>
                    <a:pt x="23206" y="10735"/>
                    <a:pt x="23223" y="10821"/>
                  </a:cubicBezTo>
                  <a:cubicBezTo>
                    <a:pt x="23240" y="10907"/>
                    <a:pt x="23395" y="10821"/>
                    <a:pt x="23412" y="10718"/>
                  </a:cubicBezTo>
                  <a:cubicBezTo>
                    <a:pt x="23429" y="10615"/>
                    <a:pt x="23291" y="10718"/>
                    <a:pt x="23412" y="10718"/>
                  </a:cubicBezTo>
                  <a:cubicBezTo>
                    <a:pt x="23532" y="10718"/>
                    <a:pt x="23291" y="10718"/>
                    <a:pt x="23412" y="10632"/>
                  </a:cubicBezTo>
                  <a:cubicBezTo>
                    <a:pt x="23532" y="10546"/>
                    <a:pt x="23412" y="10632"/>
                    <a:pt x="23412" y="10632"/>
                  </a:cubicBezTo>
                  <a:cubicBezTo>
                    <a:pt x="23412" y="10632"/>
                    <a:pt x="23412" y="10718"/>
                    <a:pt x="23412" y="10632"/>
                  </a:cubicBezTo>
                  <a:cubicBezTo>
                    <a:pt x="23412" y="10546"/>
                    <a:pt x="23412" y="10632"/>
                    <a:pt x="23412" y="10632"/>
                  </a:cubicBezTo>
                  <a:cubicBezTo>
                    <a:pt x="23223" y="10873"/>
                    <a:pt x="23120" y="10478"/>
                    <a:pt x="23291" y="10632"/>
                  </a:cubicBezTo>
                  <a:cubicBezTo>
                    <a:pt x="23463" y="10787"/>
                    <a:pt x="23291" y="10478"/>
                    <a:pt x="23291" y="10632"/>
                  </a:cubicBezTo>
                  <a:cubicBezTo>
                    <a:pt x="23291" y="10787"/>
                    <a:pt x="23291" y="10632"/>
                    <a:pt x="23291" y="10632"/>
                  </a:cubicBezTo>
                  <a:cubicBezTo>
                    <a:pt x="23291" y="10632"/>
                    <a:pt x="23291" y="10529"/>
                    <a:pt x="23291" y="10632"/>
                  </a:cubicBezTo>
                  <a:cubicBezTo>
                    <a:pt x="23291" y="10735"/>
                    <a:pt x="23291" y="10478"/>
                    <a:pt x="23291" y="10632"/>
                  </a:cubicBezTo>
                  <a:cubicBezTo>
                    <a:pt x="23291" y="10787"/>
                    <a:pt x="23412" y="10632"/>
                    <a:pt x="23291" y="10632"/>
                  </a:cubicBezTo>
                  <a:cubicBezTo>
                    <a:pt x="23171" y="10632"/>
                    <a:pt x="23395" y="10632"/>
                    <a:pt x="23291" y="10632"/>
                  </a:cubicBezTo>
                  <a:cubicBezTo>
                    <a:pt x="23188" y="10632"/>
                    <a:pt x="23120" y="10478"/>
                    <a:pt x="23291" y="10478"/>
                  </a:cubicBezTo>
                  <a:cubicBezTo>
                    <a:pt x="22999" y="10375"/>
                    <a:pt x="23395" y="10375"/>
                    <a:pt x="23291" y="10581"/>
                  </a:cubicBezTo>
                  <a:cubicBezTo>
                    <a:pt x="23291" y="10581"/>
                    <a:pt x="23291" y="10581"/>
                    <a:pt x="23291" y="10581"/>
                  </a:cubicBezTo>
                  <a:cubicBezTo>
                    <a:pt x="23291" y="10581"/>
                    <a:pt x="23291" y="10701"/>
                    <a:pt x="23291" y="10581"/>
                  </a:cubicBezTo>
                  <a:cubicBezTo>
                    <a:pt x="23302" y="10608"/>
                    <a:pt x="23302" y="10639"/>
                    <a:pt x="23291" y="10667"/>
                  </a:cubicBezTo>
                  <a:cubicBezTo>
                    <a:pt x="23291" y="10667"/>
                    <a:pt x="23291" y="10753"/>
                    <a:pt x="23291" y="10787"/>
                  </a:cubicBezTo>
                  <a:cubicBezTo>
                    <a:pt x="23291" y="10821"/>
                    <a:pt x="23291" y="10787"/>
                    <a:pt x="23291" y="10873"/>
                  </a:cubicBezTo>
                  <a:cubicBezTo>
                    <a:pt x="23311" y="10799"/>
                    <a:pt x="23361" y="10737"/>
                    <a:pt x="23429" y="10701"/>
                  </a:cubicBezTo>
                  <a:cubicBezTo>
                    <a:pt x="23429" y="10907"/>
                    <a:pt x="23429" y="10478"/>
                    <a:pt x="23601" y="10461"/>
                  </a:cubicBezTo>
                  <a:cubicBezTo>
                    <a:pt x="23772" y="10443"/>
                    <a:pt x="23601" y="10581"/>
                    <a:pt x="23601" y="10598"/>
                  </a:cubicBezTo>
                  <a:cubicBezTo>
                    <a:pt x="23601" y="10615"/>
                    <a:pt x="23687" y="10461"/>
                    <a:pt x="23790" y="10478"/>
                  </a:cubicBezTo>
                  <a:cubicBezTo>
                    <a:pt x="23832" y="10576"/>
                    <a:pt x="23832" y="10688"/>
                    <a:pt x="23790" y="10787"/>
                  </a:cubicBezTo>
                  <a:cubicBezTo>
                    <a:pt x="23893" y="10701"/>
                    <a:pt x="23790" y="10461"/>
                    <a:pt x="23961" y="10512"/>
                  </a:cubicBezTo>
                  <a:cubicBezTo>
                    <a:pt x="24133" y="10564"/>
                    <a:pt x="24116" y="10375"/>
                    <a:pt x="24099" y="10512"/>
                  </a:cubicBezTo>
                  <a:cubicBezTo>
                    <a:pt x="24082" y="10649"/>
                    <a:pt x="24356" y="10220"/>
                    <a:pt x="24322" y="10512"/>
                  </a:cubicBezTo>
                  <a:cubicBezTo>
                    <a:pt x="24288" y="10804"/>
                    <a:pt x="24442" y="10357"/>
                    <a:pt x="24528" y="10512"/>
                  </a:cubicBezTo>
                  <a:cubicBezTo>
                    <a:pt x="24614" y="10667"/>
                    <a:pt x="24356" y="10667"/>
                    <a:pt x="24528" y="10632"/>
                  </a:cubicBezTo>
                  <a:cubicBezTo>
                    <a:pt x="24700" y="10598"/>
                    <a:pt x="24425" y="10632"/>
                    <a:pt x="24528" y="10804"/>
                  </a:cubicBezTo>
                  <a:cubicBezTo>
                    <a:pt x="24631" y="10976"/>
                    <a:pt x="24528" y="10804"/>
                    <a:pt x="24528" y="10804"/>
                  </a:cubicBezTo>
                  <a:cubicBezTo>
                    <a:pt x="24751" y="10804"/>
                    <a:pt x="24614" y="10804"/>
                    <a:pt x="24528" y="10924"/>
                  </a:cubicBezTo>
                  <a:cubicBezTo>
                    <a:pt x="24442" y="11045"/>
                    <a:pt x="24528" y="11079"/>
                    <a:pt x="24528" y="11148"/>
                  </a:cubicBezTo>
                  <a:cubicBezTo>
                    <a:pt x="24374" y="10924"/>
                    <a:pt x="24528" y="11440"/>
                    <a:pt x="24288" y="11148"/>
                  </a:cubicBezTo>
                  <a:cubicBezTo>
                    <a:pt x="24288" y="11268"/>
                    <a:pt x="24064" y="11268"/>
                    <a:pt x="23978" y="11388"/>
                  </a:cubicBezTo>
                  <a:lnTo>
                    <a:pt x="23978" y="11388"/>
                  </a:lnTo>
                  <a:cubicBezTo>
                    <a:pt x="23978" y="11388"/>
                    <a:pt x="23841" y="11388"/>
                    <a:pt x="23790" y="11388"/>
                  </a:cubicBezTo>
                  <a:cubicBezTo>
                    <a:pt x="23738" y="11388"/>
                    <a:pt x="23790" y="11388"/>
                    <a:pt x="23790" y="11388"/>
                  </a:cubicBezTo>
                  <a:cubicBezTo>
                    <a:pt x="23790" y="11388"/>
                    <a:pt x="23738" y="11594"/>
                    <a:pt x="23669" y="11440"/>
                  </a:cubicBezTo>
                  <a:close/>
                  <a:moveTo>
                    <a:pt x="38184" y="41533"/>
                  </a:moveTo>
                  <a:cubicBezTo>
                    <a:pt x="38063" y="41224"/>
                    <a:pt x="38579" y="40880"/>
                    <a:pt x="38802" y="40640"/>
                  </a:cubicBezTo>
                  <a:cubicBezTo>
                    <a:pt x="39025" y="40399"/>
                    <a:pt x="39025" y="39729"/>
                    <a:pt x="39540" y="39523"/>
                  </a:cubicBezTo>
                  <a:lnTo>
                    <a:pt x="39540" y="39523"/>
                  </a:lnTo>
                  <a:cubicBezTo>
                    <a:pt x="39540" y="39523"/>
                    <a:pt x="39540" y="39523"/>
                    <a:pt x="39540" y="39523"/>
                  </a:cubicBezTo>
                  <a:cubicBezTo>
                    <a:pt x="39540" y="39523"/>
                    <a:pt x="39644" y="39523"/>
                    <a:pt x="39781" y="39386"/>
                  </a:cubicBezTo>
                  <a:cubicBezTo>
                    <a:pt x="39661" y="39678"/>
                    <a:pt x="40073" y="39077"/>
                    <a:pt x="39953" y="39386"/>
                  </a:cubicBezTo>
                  <a:cubicBezTo>
                    <a:pt x="39832" y="39695"/>
                    <a:pt x="39953" y="39386"/>
                    <a:pt x="39953" y="39386"/>
                  </a:cubicBezTo>
                  <a:cubicBezTo>
                    <a:pt x="39953" y="39386"/>
                    <a:pt x="39953" y="39386"/>
                    <a:pt x="39953" y="39248"/>
                  </a:cubicBezTo>
                  <a:cubicBezTo>
                    <a:pt x="39953" y="39111"/>
                    <a:pt x="40073" y="39248"/>
                    <a:pt x="39953" y="39248"/>
                  </a:cubicBezTo>
                  <a:lnTo>
                    <a:pt x="39953" y="39248"/>
                  </a:lnTo>
                  <a:cubicBezTo>
                    <a:pt x="39953" y="39248"/>
                    <a:pt x="39953" y="39248"/>
                    <a:pt x="39953" y="39369"/>
                  </a:cubicBezTo>
                  <a:cubicBezTo>
                    <a:pt x="39953" y="39489"/>
                    <a:pt x="40090" y="39197"/>
                    <a:pt x="40107" y="39266"/>
                  </a:cubicBezTo>
                  <a:cubicBezTo>
                    <a:pt x="40124" y="39334"/>
                    <a:pt x="40107" y="39266"/>
                    <a:pt x="40107" y="39145"/>
                  </a:cubicBezTo>
                  <a:cubicBezTo>
                    <a:pt x="40107" y="39025"/>
                    <a:pt x="40262" y="39145"/>
                    <a:pt x="40107" y="39042"/>
                  </a:cubicBezTo>
                  <a:cubicBezTo>
                    <a:pt x="39953" y="38939"/>
                    <a:pt x="40107" y="39145"/>
                    <a:pt x="40262" y="38939"/>
                  </a:cubicBezTo>
                  <a:cubicBezTo>
                    <a:pt x="40416" y="38733"/>
                    <a:pt x="40537" y="38733"/>
                    <a:pt x="40485" y="38561"/>
                  </a:cubicBezTo>
                  <a:cubicBezTo>
                    <a:pt x="40434" y="38389"/>
                    <a:pt x="40588" y="38561"/>
                    <a:pt x="40674" y="38441"/>
                  </a:cubicBezTo>
                  <a:cubicBezTo>
                    <a:pt x="40760" y="38321"/>
                    <a:pt x="40674" y="38664"/>
                    <a:pt x="40674" y="38664"/>
                  </a:cubicBezTo>
                  <a:cubicBezTo>
                    <a:pt x="41344" y="38922"/>
                    <a:pt x="37514" y="43560"/>
                    <a:pt x="38184" y="41533"/>
                  </a:cubicBezTo>
                  <a:close/>
                  <a:moveTo>
                    <a:pt x="49159" y="26589"/>
                  </a:moveTo>
                  <a:cubicBezTo>
                    <a:pt x="49159" y="26589"/>
                    <a:pt x="49159" y="26589"/>
                    <a:pt x="49159" y="26589"/>
                  </a:cubicBezTo>
                  <a:cubicBezTo>
                    <a:pt x="48810" y="27921"/>
                    <a:pt x="48552" y="29276"/>
                    <a:pt x="48386" y="30643"/>
                  </a:cubicBezTo>
                  <a:cubicBezTo>
                    <a:pt x="48386" y="30540"/>
                    <a:pt x="48215" y="30780"/>
                    <a:pt x="48215" y="30849"/>
                  </a:cubicBezTo>
                  <a:cubicBezTo>
                    <a:pt x="48026" y="31570"/>
                    <a:pt x="47579" y="26864"/>
                    <a:pt x="47613" y="26452"/>
                  </a:cubicBezTo>
                  <a:cubicBezTo>
                    <a:pt x="47459" y="26452"/>
                    <a:pt x="47613" y="26263"/>
                    <a:pt x="47613" y="26160"/>
                  </a:cubicBezTo>
                  <a:cubicBezTo>
                    <a:pt x="47613" y="26057"/>
                    <a:pt x="47528" y="26160"/>
                    <a:pt x="47528" y="26160"/>
                  </a:cubicBezTo>
                  <a:cubicBezTo>
                    <a:pt x="47528" y="26555"/>
                    <a:pt x="47373" y="27362"/>
                    <a:pt x="47098" y="26606"/>
                  </a:cubicBezTo>
                  <a:cubicBezTo>
                    <a:pt x="47098" y="26606"/>
                    <a:pt x="46909" y="26332"/>
                    <a:pt x="46995" y="26383"/>
                  </a:cubicBezTo>
                  <a:lnTo>
                    <a:pt x="46995" y="26383"/>
                  </a:lnTo>
                  <a:cubicBezTo>
                    <a:pt x="46995" y="26538"/>
                    <a:pt x="46995" y="26383"/>
                    <a:pt x="46995" y="26383"/>
                  </a:cubicBezTo>
                  <a:cubicBezTo>
                    <a:pt x="46995" y="26383"/>
                    <a:pt x="47201" y="26074"/>
                    <a:pt x="47081" y="26040"/>
                  </a:cubicBezTo>
                  <a:cubicBezTo>
                    <a:pt x="47081" y="26383"/>
                    <a:pt x="46583" y="26040"/>
                    <a:pt x="46806" y="25833"/>
                  </a:cubicBezTo>
                  <a:cubicBezTo>
                    <a:pt x="46806" y="25833"/>
                    <a:pt x="46806" y="25937"/>
                    <a:pt x="46686" y="25971"/>
                  </a:cubicBezTo>
                  <a:cubicBezTo>
                    <a:pt x="46566" y="26005"/>
                    <a:pt x="46686" y="25885"/>
                    <a:pt x="46549" y="25971"/>
                  </a:cubicBezTo>
                  <a:cubicBezTo>
                    <a:pt x="46411" y="26057"/>
                    <a:pt x="46549" y="25696"/>
                    <a:pt x="46428" y="25559"/>
                  </a:cubicBezTo>
                  <a:cubicBezTo>
                    <a:pt x="46239" y="25730"/>
                    <a:pt x="46428" y="25318"/>
                    <a:pt x="46119" y="25438"/>
                  </a:cubicBezTo>
                  <a:cubicBezTo>
                    <a:pt x="46119" y="25438"/>
                    <a:pt x="45965" y="25524"/>
                    <a:pt x="45913" y="25610"/>
                  </a:cubicBezTo>
                  <a:cubicBezTo>
                    <a:pt x="45861" y="25696"/>
                    <a:pt x="45810" y="25610"/>
                    <a:pt x="45741" y="25610"/>
                  </a:cubicBezTo>
                  <a:cubicBezTo>
                    <a:pt x="45673" y="25610"/>
                    <a:pt x="45604" y="25610"/>
                    <a:pt x="45552" y="25765"/>
                  </a:cubicBezTo>
                  <a:cubicBezTo>
                    <a:pt x="45501" y="25919"/>
                    <a:pt x="45552" y="25765"/>
                    <a:pt x="45432" y="25765"/>
                  </a:cubicBezTo>
                  <a:cubicBezTo>
                    <a:pt x="45312" y="25765"/>
                    <a:pt x="45260" y="25885"/>
                    <a:pt x="45209" y="25679"/>
                  </a:cubicBezTo>
                  <a:cubicBezTo>
                    <a:pt x="45209" y="25782"/>
                    <a:pt x="44814" y="25679"/>
                    <a:pt x="44728" y="25679"/>
                  </a:cubicBezTo>
                  <a:cubicBezTo>
                    <a:pt x="44642" y="25679"/>
                    <a:pt x="44573" y="25679"/>
                    <a:pt x="44453" y="25679"/>
                  </a:cubicBezTo>
                  <a:cubicBezTo>
                    <a:pt x="44178" y="24683"/>
                    <a:pt x="44144" y="25541"/>
                    <a:pt x="43663" y="25404"/>
                  </a:cubicBezTo>
                  <a:cubicBezTo>
                    <a:pt x="43560" y="25404"/>
                    <a:pt x="43251" y="25284"/>
                    <a:pt x="43285" y="25146"/>
                  </a:cubicBezTo>
                  <a:cubicBezTo>
                    <a:pt x="43319" y="25009"/>
                    <a:pt x="42838" y="25146"/>
                    <a:pt x="42804" y="24803"/>
                  </a:cubicBezTo>
                  <a:cubicBezTo>
                    <a:pt x="42804" y="24803"/>
                    <a:pt x="42684" y="24803"/>
                    <a:pt x="42804" y="24803"/>
                  </a:cubicBezTo>
                  <a:cubicBezTo>
                    <a:pt x="42632" y="24803"/>
                    <a:pt x="42564" y="24185"/>
                    <a:pt x="42375" y="24425"/>
                  </a:cubicBezTo>
                  <a:cubicBezTo>
                    <a:pt x="42375" y="24339"/>
                    <a:pt x="42220" y="24425"/>
                    <a:pt x="42272" y="24270"/>
                  </a:cubicBezTo>
                  <a:cubicBezTo>
                    <a:pt x="42323" y="24116"/>
                    <a:pt x="42272" y="24270"/>
                    <a:pt x="42272" y="24270"/>
                  </a:cubicBezTo>
                  <a:cubicBezTo>
                    <a:pt x="42272" y="24270"/>
                    <a:pt x="42272" y="24494"/>
                    <a:pt x="42272" y="24270"/>
                  </a:cubicBezTo>
                  <a:cubicBezTo>
                    <a:pt x="42272" y="24047"/>
                    <a:pt x="42272" y="24580"/>
                    <a:pt x="42100" y="24597"/>
                  </a:cubicBezTo>
                  <a:lnTo>
                    <a:pt x="42220" y="24597"/>
                  </a:lnTo>
                  <a:lnTo>
                    <a:pt x="42220" y="24597"/>
                  </a:lnTo>
                  <a:cubicBezTo>
                    <a:pt x="42220" y="24597"/>
                    <a:pt x="42220" y="24700"/>
                    <a:pt x="42220" y="24734"/>
                  </a:cubicBezTo>
                  <a:cubicBezTo>
                    <a:pt x="42220" y="24769"/>
                    <a:pt x="42220" y="24837"/>
                    <a:pt x="42220" y="24734"/>
                  </a:cubicBezTo>
                  <a:cubicBezTo>
                    <a:pt x="42259" y="24896"/>
                    <a:pt x="42365" y="25033"/>
                    <a:pt x="42512" y="25112"/>
                  </a:cubicBezTo>
                  <a:cubicBezTo>
                    <a:pt x="42512" y="25112"/>
                    <a:pt x="42821" y="25438"/>
                    <a:pt x="42770" y="25610"/>
                  </a:cubicBezTo>
                  <a:lnTo>
                    <a:pt x="42770" y="25610"/>
                  </a:lnTo>
                  <a:cubicBezTo>
                    <a:pt x="42993" y="25851"/>
                    <a:pt x="43027" y="26314"/>
                    <a:pt x="43045" y="25782"/>
                  </a:cubicBezTo>
                  <a:cubicBezTo>
                    <a:pt x="43045" y="25645"/>
                    <a:pt x="43045" y="25438"/>
                    <a:pt x="43165" y="25627"/>
                  </a:cubicBezTo>
                  <a:cubicBezTo>
                    <a:pt x="43133" y="25786"/>
                    <a:pt x="43133" y="25950"/>
                    <a:pt x="43165" y="26108"/>
                  </a:cubicBezTo>
                  <a:cubicBezTo>
                    <a:pt x="43165" y="26108"/>
                    <a:pt x="43165" y="26297"/>
                    <a:pt x="43165" y="26211"/>
                  </a:cubicBezTo>
                  <a:lnTo>
                    <a:pt x="43165" y="26366"/>
                  </a:lnTo>
                  <a:cubicBezTo>
                    <a:pt x="43371" y="26177"/>
                    <a:pt x="43646" y="26366"/>
                    <a:pt x="43766" y="26091"/>
                  </a:cubicBezTo>
                  <a:lnTo>
                    <a:pt x="43766" y="26091"/>
                  </a:lnTo>
                  <a:cubicBezTo>
                    <a:pt x="43766" y="25833"/>
                    <a:pt x="44024" y="25593"/>
                    <a:pt x="44058" y="25318"/>
                  </a:cubicBezTo>
                  <a:lnTo>
                    <a:pt x="44058" y="25318"/>
                  </a:lnTo>
                  <a:cubicBezTo>
                    <a:pt x="44058" y="25318"/>
                    <a:pt x="44058" y="25146"/>
                    <a:pt x="44058" y="25215"/>
                  </a:cubicBezTo>
                  <a:cubicBezTo>
                    <a:pt x="44058" y="25284"/>
                    <a:pt x="44058" y="25559"/>
                    <a:pt x="44058" y="25507"/>
                  </a:cubicBezTo>
                  <a:cubicBezTo>
                    <a:pt x="44058" y="25851"/>
                    <a:pt x="44247" y="26280"/>
                    <a:pt x="44642" y="26091"/>
                  </a:cubicBezTo>
                  <a:cubicBezTo>
                    <a:pt x="44947" y="26440"/>
                    <a:pt x="44947" y="26961"/>
                    <a:pt x="44642" y="27311"/>
                  </a:cubicBezTo>
                  <a:cubicBezTo>
                    <a:pt x="44642" y="27105"/>
                    <a:pt x="44487" y="27757"/>
                    <a:pt x="44642" y="27877"/>
                  </a:cubicBezTo>
                  <a:cubicBezTo>
                    <a:pt x="44230" y="27877"/>
                    <a:pt x="44505" y="28290"/>
                    <a:pt x="44109" y="28376"/>
                  </a:cubicBezTo>
                  <a:cubicBezTo>
                    <a:pt x="44109" y="28496"/>
                    <a:pt x="44109" y="28599"/>
                    <a:pt x="44109" y="28719"/>
                  </a:cubicBezTo>
                  <a:cubicBezTo>
                    <a:pt x="43847" y="28757"/>
                    <a:pt x="43612" y="28900"/>
                    <a:pt x="43457" y="29114"/>
                  </a:cubicBezTo>
                  <a:cubicBezTo>
                    <a:pt x="43457" y="29475"/>
                    <a:pt x="42924" y="29595"/>
                    <a:pt x="42684" y="29767"/>
                  </a:cubicBezTo>
                  <a:cubicBezTo>
                    <a:pt x="42443" y="29939"/>
                    <a:pt x="42495" y="30042"/>
                    <a:pt x="42357" y="29990"/>
                  </a:cubicBezTo>
                  <a:cubicBezTo>
                    <a:pt x="42248" y="30193"/>
                    <a:pt x="42016" y="30299"/>
                    <a:pt x="41791" y="30248"/>
                  </a:cubicBezTo>
                  <a:cubicBezTo>
                    <a:pt x="41649" y="30457"/>
                    <a:pt x="41423" y="30595"/>
                    <a:pt x="41172" y="30626"/>
                  </a:cubicBezTo>
                  <a:cubicBezTo>
                    <a:pt x="41035" y="30317"/>
                    <a:pt x="41172" y="29904"/>
                    <a:pt x="40897" y="29629"/>
                  </a:cubicBezTo>
                  <a:cubicBezTo>
                    <a:pt x="41155" y="29011"/>
                    <a:pt x="40262" y="28204"/>
                    <a:pt x="39850" y="27706"/>
                  </a:cubicBezTo>
                  <a:cubicBezTo>
                    <a:pt x="39850" y="27293"/>
                    <a:pt x="39747" y="26589"/>
                    <a:pt x="39283" y="26606"/>
                  </a:cubicBezTo>
                  <a:cubicBezTo>
                    <a:pt x="39111" y="25799"/>
                    <a:pt x="38166" y="25370"/>
                    <a:pt x="38338" y="24751"/>
                  </a:cubicBezTo>
                  <a:cubicBezTo>
                    <a:pt x="38218" y="24975"/>
                    <a:pt x="38338" y="25249"/>
                    <a:pt x="38201" y="25438"/>
                  </a:cubicBezTo>
                  <a:cubicBezTo>
                    <a:pt x="37948" y="25233"/>
                    <a:pt x="37727" y="24989"/>
                    <a:pt x="37548" y="24717"/>
                  </a:cubicBezTo>
                  <a:cubicBezTo>
                    <a:pt x="37840" y="25370"/>
                    <a:pt x="38304" y="26022"/>
                    <a:pt x="38682" y="26692"/>
                  </a:cubicBezTo>
                  <a:lnTo>
                    <a:pt x="38682" y="26692"/>
                  </a:lnTo>
                  <a:cubicBezTo>
                    <a:pt x="38718" y="26746"/>
                    <a:pt x="38765" y="26793"/>
                    <a:pt x="38819" y="26830"/>
                  </a:cubicBezTo>
                  <a:cubicBezTo>
                    <a:pt x="38819" y="26830"/>
                    <a:pt x="38716" y="26830"/>
                    <a:pt x="38699" y="26830"/>
                  </a:cubicBezTo>
                  <a:cubicBezTo>
                    <a:pt x="38699" y="27328"/>
                    <a:pt x="39231" y="27311"/>
                    <a:pt x="39317" y="27826"/>
                  </a:cubicBezTo>
                  <a:cubicBezTo>
                    <a:pt x="39180" y="27826"/>
                    <a:pt x="39420" y="28187"/>
                    <a:pt x="39317" y="28376"/>
                  </a:cubicBezTo>
                  <a:cubicBezTo>
                    <a:pt x="39214" y="28565"/>
                    <a:pt x="39644" y="28719"/>
                    <a:pt x="39712" y="28891"/>
                  </a:cubicBezTo>
                  <a:cubicBezTo>
                    <a:pt x="39781" y="29063"/>
                    <a:pt x="39884" y="29561"/>
                    <a:pt x="40021" y="29715"/>
                  </a:cubicBezTo>
                  <a:cubicBezTo>
                    <a:pt x="40159" y="29870"/>
                    <a:pt x="40142" y="30007"/>
                    <a:pt x="40021" y="29801"/>
                  </a:cubicBezTo>
                  <a:cubicBezTo>
                    <a:pt x="39901" y="29595"/>
                    <a:pt x="40021" y="30042"/>
                    <a:pt x="40193" y="29939"/>
                  </a:cubicBezTo>
                  <a:cubicBezTo>
                    <a:pt x="40571" y="29939"/>
                    <a:pt x="40708" y="30591"/>
                    <a:pt x="40932" y="30626"/>
                  </a:cubicBezTo>
                  <a:cubicBezTo>
                    <a:pt x="41155" y="30660"/>
                    <a:pt x="40932" y="30746"/>
                    <a:pt x="41035" y="30746"/>
                  </a:cubicBezTo>
                  <a:cubicBezTo>
                    <a:pt x="41037" y="30889"/>
                    <a:pt x="40935" y="31013"/>
                    <a:pt x="40794" y="31038"/>
                  </a:cubicBezTo>
                  <a:cubicBezTo>
                    <a:pt x="41035" y="31038"/>
                    <a:pt x="41086" y="31364"/>
                    <a:pt x="41327" y="31450"/>
                  </a:cubicBezTo>
                  <a:cubicBezTo>
                    <a:pt x="41782" y="31205"/>
                    <a:pt x="42267" y="31020"/>
                    <a:pt x="42770" y="30901"/>
                  </a:cubicBezTo>
                  <a:cubicBezTo>
                    <a:pt x="42857" y="30834"/>
                    <a:pt x="42933" y="30752"/>
                    <a:pt x="42993" y="30660"/>
                  </a:cubicBezTo>
                  <a:cubicBezTo>
                    <a:pt x="43165" y="30660"/>
                    <a:pt x="42993" y="31021"/>
                    <a:pt x="42993" y="31210"/>
                  </a:cubicBezTo>
                  <a:cubicBezTo>
                    <a:pt x="42993" y="31399"/>
                    <a:pt x="42993" y="31210"/>
                    <a:pt x="42993" y="31210"/>
                  </a:cubicBezTo>
                  <a:cubicBezTo>
                    <a:pt x="42684" y="33580"/>
                    <a:pt x="39163" y="34989"/>
                    <a:pt x="38922" y="37033"/>
                  </a:cubicBezTo>
                  <a:cubicBezTo>
                    <a:pt x="38922" y="37033"/>
                    <a:pt x="38716" y="37204"/>
                    <a:pt x="38802" y="37307"/>
                  </a:cubicBezTo>
                  <a:cubicBezTo>
                    <a:pt x="38888" y="37410"/>
                    <a:pt x="38596" y="37874"/>
                    <a:pt x="38802" y="38012"/>
                  </a:cubicBezTo>
                  <a:cubicBezTo>
                    <a:pt x="38630" y="38407"/>
                    <a:pt x="38493" y="38991"/>
                    <a:pt x="38355" y="39248"/>
                  </a:cubicBezTo>
                  <a:cubicBezTo>
                    <a:pt x="38218" y="39506"/>
                    <a:pt x="38149" y="39369"/>
                    <a:pt x="38355" y="39351"/>
                  </a:cubicBezTo>
                  <a:cubicBezTo>
                    <a:pt x="38063" y="39781"/>
                    <a:pt x="37514" y="39901"/>
                    <a:pt x="37119" y="40193"/>
                  </a:cubicBezTo>
                  <a:lnTo>
                    <a:pt x="37119" y="40193"/>
                  </a:lnTo>
                  <a:cubicBezTo>
                    <a:pt x="36902" y="40432"/>
                    <a:pt x="36622" y="40604"/>
                    <a:pt x="36311" y="40691"/>
                  </a:cubicBezTo>
                  <a:cubicBezTo>
                    <a:pt x="36339" y="40751"/>
                    <a:pt x="36339" y="40820"/>
                    <a:pt x="36311" y="40880"/>
                  </a:cubicBezTo>
                  <a:cubicBezTo>
                    <a:pt x="36311" y="40880"/>
                    <a:pt x="36311" y="41000"/>
                    <a:pt x="36311" y="41035"/>
                  </a:cubicBezTo>
                  <a:cubicBezTo>
                    <a:pt x="36311" y="41069"/>
                    <a:pt x="36311" y="41292"/>
                    <a:pt x="36311" y="41395"/>
                  </a:cubicBezTo>
                  <a:cubicBezTo>
                    <a:pt x="36311" y="41498"/>
                    <a:pt x="36311" y="41310"/>
                    <a:pt x="36311" y="41292"/>
                  </a:cubicBezTo>
                  <a:lnTo>
                    <a:pt x="36311" y="41292"/>
                  </a:lnTo>
                  <a:lnTo>
                    <a:pt x="36311" y="41292"/>
                  </a:lnTo>
                  <a:cubicBezTo>
                    <a:pt x="36311" y="41447"/>
                    <a:pt x="36122" y="41567"/>
                    <a:pt x="36054" y="41705"/>
                  </a:cubicBezTo>
                  <a:lnTo>
                    <a:pt x="36054" y="41705"/>
                  </a:lnTo>
                  <a:cubicBezTo>
                    <a:pt x="35865" y="42117"/>
                    <a:pt x="35126" y="41997"/>
                    <a:pt x="35006" y="42392"/>
                  </a:cubicBezTo>
                  <a:lnTo>
                    <a:pt x="35126" y="42392"/>
                  </a:lnTo>
                  <a:cubicBezTo>
                    <a:pt x="35084" y="42471"/>
                    <a:pt x="35025" y="42542"/>
                    <a:pt x="34954" y="42598"/>
                  </a:cubicBezTo>
                  <a:lnTo>
                    <a:pt x="34954" y="42598"/>
                  </a:lnTo>
                  <a:cubicBezTo>
                    <a:pt x="34162" y="43425"/>
                    <a:pt x="33158" y="44019"/>
                    <a:pt x="32051" y="44315"/>
                  </a:cubicBezTo>
                  <a:cubicBezTo>
                    <a:pt x="31588" y="44161"/>
                    <a:pt x="31124" y="44453"/>
                    <a:pt x="30660" y="44418"/>
                  </a:cubicBezTo>
                  <a:cubicBezTo>
                    <a:pt x="30660" y="44333"/>
                    <a:pt x="30660" y="44418"/>
                    <a:pt x="30660" y="44418"/>
                  </a:cubicBezTo>
                  <a:cubicBezTo>
                    <a:pt x="30660" y="44418"/>
                    <a:pt x="30557" y="44333"/>
                    <a:pt x="30660" y="44418"/>
                  </a:cubicBezTo>
                  <a:cubicBezTo>
                    <a:pt x="30763" y="44504"/>
                    <a:pt x="30798" y="44230"/>
                    <a:pt x="30660" y="44092"/>
                  </a:cubicBezTo>
                  <a:cubicBezTo>
                    <a:pt x="30987" y="43938"/>
                    <a:pt x="30660" y="43508"/>
                    <a:pt x="30660" y="43199"/>
                  </a:cubicBezTo>
                  <a:cubicBezTo>
                    <a:pt x="30128" y="42392"/>
                    <a:pt x="30437" y="41189"/>
                    <a:pt x="29836" y="40296"/>
                  </a:cubicBezTo>
                  <a:cubicBezTo>
                    <a:pt x="29836" y="39369"/>
                    <a:pt x="31210" y="38956"/>
                    <a:pt x="30591" y="38046"/>
                  </a:cubicBezTo>
                  <a:cubicBezTo>
                    <a:pt x="30866" y="37840"/>
                    <a:pt x="30591" y="37428"/>
                    <a:pt x="30471" y="37204"/>
                  </a:cubicBezTo>
                  <a:lnTo>
                    <a:pt x="30574" y="37204"/>
                  </a:lnTo>
                  <a:cubicBezTo>
                    <a:pt x="30574" y="37204"/>
                    <a:pt x="30334" y="37204"/>
                    <a:pt x="30454" y="37050"/>
                  </a:cubicBezTo>
                  <a:cubicBezTo>
                    <a:pt x="30248" y="36449"/>
                    <a:pt x="29561" y="36242"/>
                    <a:pt x="29423" y="35607"/>
                  </a:cubicBezTo>
                  <a:cubicBezTo>
                    <a:pt x="29578" y="35607"/>
                    <a:pt x="29612" y="35487"/>
                    <a:pt x="29630" y="35298"/>
                  </a:cubicBezTo>
                  <a:cubicBezTo>
                    <a:pt x="29647" y="35109"/>
                    <a:pt x="29767" y="35298"/>
                    <a:pt x="29819" y="35298"/>
                  </a:cubicBezTo>
                  <a:cubicBezTo>
                    <a:pt x="29741" y="35301"/>
                    <a:pt x="29670" y="35252"/>
                    <a:pt x="29647" y="35177"/>
                  </a:cubicBezTo>
                  <a:cubicBezTo>
                    <a:pt x="29767" y="35177"/>
                    <a:pt x="29750" y="35057"/>
                    <a:pt x="29647" y="35040"/>
                  </a:cubicBezTo>
                  <a:cubicBezTo>
                    <a:pt x="29897" y="34793"/>
                    <a:pt x="29972" y="34419"/>
                    <a:pt x="29836" y="34095"/>
                  </a:cubicBezTo>
                  <a:cubicBezTo>
                    <a:pt x="29681" y="34198"/>
                    <a:pt x="29612" y="34095"/>
                    <a:pt x="29612" y="33906"/>
                  </a:cubicBezTo>
                  <a:cubicBezTo>
                    <a:pt x="29559" y="33957"/>
                    <a:pt x="29477" y="33957"/>
                    <a:pt x="29423" y="33906"/>
                  </a:cubicBezTo>
                  <a:cubicBezTo>
                    <a:pt x="29269" y="34095"/>
                    <a:pt x="28771" y="34078"/>
                    <a:pt x="28496" y="34044"/>
                  </a:cubicBezTo>
                  <a:cubicBezTo>
                    <a:pt x="28118" y="32807"/>
                    <a:pt x="26778" y="33529"/>
                    <a:pt x="25937" y="33821"/>
                  </a:cubicBezTo>
                  <a:cubicBezTo>
                    <a:pt x="24219" y="33305"/>
                    <a:pt x="23961" y="34490"/>
                    <a:pt x="22501" y="32687"/>
                  </a:cubicBezTo>
                  <a:cubicBezTo>
                    <a:pt x="22330" y="32687"/>
                    <a:pt x="22364" y="32429"/>
                    <a:pt x="22226" y="32361"/>
                  </a:cubicBezTo>
                  <a:cubicBezTo>
                    <a:pt x="22089" y="32292"/>
                    <a:pt x="22226" y="32240"/>
                    <a:pt x="22226" y="32137"/>
                  </a:cubicBezTo>
                  <a:cubicBezTo>
                    <a:pt x="22226" y="32034"/>
                    <a:pt x="21883" y="31897"/>
                    <a:pt x="21986" y="31828"/>
                  </a:cubicBezTo>
                  <a:cubicBezTo>
                    <a:pt x="21608" y="31828"/>
                    <a:pt x="21814" y="31485"/>
                    <a:pt x="21591" y="31536"/>
                  </a:cubicBezTo>
                  <a:cubicBezTo>
                    <a:pt x="21368" y="31588"/>
                    <a:pt x="21591" y="31450"/>
                    <a:pt x="21436" y="31450"/>
                  </a:cubicBezTo>
                  <a:lnTo>
                    <a:pt x="21436" y="31450"/>
                  </a:lnTo>
                  <a:lnTo>
                    <a:pt x="21436" y="31450"/>
                  </a:lnTo>
                  <a:cubicBezTo>
                    <a:pt x="21436" y="31450"/>
                    <a:pt x="21436" y="31450"/>
                    <a:pt x="21436" y="31347"/>
                  </a:cubicBezTo>
                  <a:cubicBezTo>
                    <a:pt x="21436" y="31244"/>
                    <a:pt x="21625" y="31347"/>
                    <a:pt x="21642" y="31347"/>
                  </a:cubicBezTo>
                  <a:cubicBezTo>
                    <a:pt x="21660" y="31347"/>
                    <a:pt x="21076" y="31347"/>
                    <a:pt x="21247" y="31158"/>
                  </a:cubicBezTo>
                  <a:cubicBezTo>
                    <a:pt x="21110" y="31158"/>
                    <a:pt x="21076" y="31158"/>
                    <a:pt x="21041" y="30986"/>
                  </a:cubicBezTo>
                  <a:cubicBezTo>
                    <a:pt x="21007" y="30815"/>
                    <a:pt x="21162" y="30986"/>
                    <a:pt x="21213" y="30986"/>
                  </a:cubicBezTo>
                  <a:cubicBezTo>
                    <a:pt x="21265" y="30986"/>
                    <a:pt x="21076" y="30986"/>
                    <a:pt x="21024" y="30986"/>
                  </a:cubicBezTo>
                  <a:cubicBezTo>
                    <a:pt x="20973" y="30986"/>
                    <a:pt x="21024" y="30849"/>
                    <a:pt x="21024" y="30780"/>
                  </a:cubicBezTo>
                  <a:cubicBezTo>
                    <a:pt x="21024" y="30712"/>
                    <a:pt x="21179" y="30935"/>
                    <a:pt x="21299" y="30780"/>
                  </a:cubicBezTo>
                  <a:cubicBezTo>
                    <a:pt x="21419" y="30626"/>
                    <a:pt x="21024" y="30694"/>
                    <a:pt x="21144" y="30626"/>
                  </a:cubicBezTo>
                  <a:lnTo>
                    <a:pt x="21144" y="30626"/>
                  </a:lnTo>
                  <a:cubicBezTo>
                    <a:pt x="21144" y="30626"/>
                    <a:pt x="20990" y="30368"/>
                    <a:pt x="20921" y="30299"/>
                  </a:cubicBezTo>
                  <a:cubicBezTo>
                    <a:pt x="21365" y="29847"/>
                    <a:pt x="21523" y="29187"/>
                    <a:pt x="21333" y="28582"/>
                  </a:cubicBezTo>
                  <a:cubicBezTo>
                    <a:pt x="21471" y="28582"/>
                    <a:pt x="21333" y="28393"/>
                    <a:pt x="21436" y="28358"/>
                  </a:cubicBezTo>
                  <a:cubicBezTo>
                    <a:pt x="21539" y="28324"/>
                    <a:pt x="21265" y="28255"/>
                    <a:pt x="21247" y="28135"/>
                  </a:cubicBezTo>
                  <a:lnTo>
                    <a:pt x="21247" y="28221"/>
                  </a:lnTo>
                  <a:cubicBezTo>
                    <a:pt x="21228" y="27927"/>
                    <a:pt x="21357" y="27644"/>
                    <a:pt x="21591" y="27465"/>
                  </a:cubicBezTo>
                  <a:cubicBezTo>
                    <a:pt x="21952" y="26297"/>
                    <a:pt x="23103" y="25833"/>
                    <a:pt x="23927" y="25043"/>
                  </a:cubicBezTo>
                  <a:cubicBezTo>
                    <a:pt x="23935" y="24883"/>
                    <a:pt x="23935" y="24723"/>
                    <a:pt x="23927" y="24562"/>
                  </a:cubicBezTo>
                  <a:cubicBezTo>
                    <a:pt x="23927" y="24373"/>
                    <a:pt x="24288" y="24288"/>
                    <a:pt x="24133" y="24081"/>
                  </a:cubicBezTo>
                  <a:cubicBezTo>
                    <a:pt x="24677" y="23812"/>
                    <a:pt x="25139" y="23403"/>
                    <a:pt x="25473" y="22896"/>
                  </a:cubicBezTo>
                  <a:cubicBezTo>
                    <a:pt x="25473" y="23240"/>
                    <a:pt x="26005" y="23223"/>
                    <a:pt x="26194" y="23102"/>
                  </a:cubicBezTo>
                  <a:cubicBezTo>
                    <a:pt x="26521" y="23497"/>
                    <a:pt x="27225" y="22828"/>
                    <a:pt x="27586" y="22725"/>
                  </a:cubicBezTo>
                  <a:cubicBezTo>
                    <a:pt x="27946" y="22621"/>
                    <a:pt x="28771" y="22725"/>
                    <a:pt x="29063" y="22587"/>
                  </a:cubicBezTo>
                  <a:cubicBezTo>
                    <a:pt x="29355" y="22450"/>
                    <a:pt x="29286" y="22828"/>
                    <a:pt x="29372" y="22587"/>
                  </a:cubicBezTo>
                  <a:cubicBezTo>
                    <a:pt x="29647" y="22828"/>
                    <a:pt x="29939" y="22450"/>
                    <a:pt x="30162" y="22587"/>
                  </a:cubicBezTo>
                  <a:cubicBezTo>
                    <a:pt x="30162" y="22398"/>
                    <a:pt x="30299" y="22725"/>
                    <a:pt x="30385" y="22776"/>
                  </a:cubicBezTo>
                  <a:cubicBezTo>
                    <a:pt x="30746" y="22415"/>
                    <a:pt x="30488" y="22862"/>
                    <a:pt x="30385" y="23017"/>
                  </a:cubicBezTo>
                  <a:cubicBezTo>
                    <a:pt x="31021" y="23446"/>
                    <a:pt x="29956" y="23618"/>
                    <a:pt x="30385" y="23910"/>
                  </a:cubicBezTo>
                  <a:cubicBezTo>
                    <a:pt x="30385" y="23910"/>
                    <a:pt x="30385" y="23910"/>
                    <a:pt x="30506" y="23910"/>
                  </a:cubicBezTo>
                  <a:cubicBezTo>
                    <a:pt x="30626" y="23910"/>
                    <a:pt x="30506" y="23824"/>
                    <a:pt x="30506" y="23910"/>
                  </a:cubicBezTo>
                  <a:cubicBezTo>
                    <a:pt x="30677" y="24322"/>
                    <a:pt x="31313" y="24013"/>
                    <a:pt x="31622" y="24236"/>
                  </a:cubicBezTo>
                  <a:cubicBezTo>
                    <a:pt x="34851" y="26469"/>
                    <a:pt x="32343" y="23566"/>
                    <a:pt x="34473" y="24236"/>
                  </a:cubicBezTo>
                  <a:cubicBezTo>
                    <a:pt x="34834" y="24580"/>
                    <a:pt x="35641" y="24477"/>
                    <a:pt x="36191" y="24700"/>
                  </a:cubicBezTo>
                  <a:cubicBezTo>
                    <a:pt x="36741" y="24923"/>
                    <a:pt x="36724" y="24597"/>
                    <a:pt x="37084" y="24494"/>
                  </a:cubicBezTo>
                  <a:cubicBezTo>
                    <a:pt x="36844" y="24580"/>
                    <a:pt x="37084" y="24494"/>
                    <a:pt x="37187" y="24494"/>
                  </a:cubicBezTo>
                  <a:cubicBezTo>
                    <a:pt x="37290" y="24494"/>
                    <a:pt x="37187" y="24494"/>
                    <a:pt x="37187" y="24494"/>
                  </a:cubicBezTo>
                  <a:cubicBezTo>
                    <a:pt x="37187" y="24494"/>
                    <a:pt x="37411" y="24494"/>
                    <a:pt x="37462" y="24494"/>
                  </a:cubicBezTo>
                  <a:cubicBezTo>
                    <a:pt x="37514" y="24494"/>
                    <a:pt x="37565" y="24614"/>
                    <a:pt x="37565" y="24665"/>
                  </a:cubicBezTo>
                  <a:cubicBezTo>
                    <a:pt x="37565" y="24717"/>
                    <a:pt x="37565" y="24562"/>
                    <a:pt x="37565" y="24494"/>
                  </a:cubicBezTo>
                  <a:cubicBezTo>
                    <a:pt x="38733" y="24889"/>
                    <a:pt x="38338" y="22776"/>
                    <a:pt x="38407" y="22381"/>
                  </a:cubicBezTo>
                  <a:cubicBezTo>
                    <a:pt x="38218" y="22536"/>
                    <a:pt x="37892" y="22381"/>
                    <a:pt x="37840" y="22656"/>
                  </a:cubicBezTo>
                  <a:cubicBezTo>
                    <a:pt x="37496" y="23051"/>
                    <a:pt x="36775" y="22106"/>
                    <a:pt x="36775" y="22656"/>
                  </a:cubicBezTo>
                  <a:cubicBezTo>
                    <a:pt x="36620" y="22656"/>
                    <a:pt x="36225" y="22828"/>
                    <a:pt x="36277" y="22536"/>
                  </a:cubicBezTo>
                  <a:cubicBezTo>
                    <a:pt x="36277" y="22536"/>
                    <a:pt x="36277" y="22536"/>
                    <a:pt x="36140" y="22536"/>
                  </a:cubicBezTo>
                  <a:cubicBezTo>
                    <a:pt x="36002" y="22536"/>
                    <a:pt x="35951" y="22690"/>
                    <a:pt x="35933" y="22536"/>
                  </a:cubicBezTo>
                  <a:lnTo>
                    <a:pt x="35727" y="22536"/>
                  </a:lnTo>
                  <a:cubicBezTo>
                    <a:pt x="35727" y="22450"/>
                    <a:pt x="35951" y="22536"/>
                    <a:pt x="35951" y="22398"/>
                  </a:cubicBezTo>
                  <a:cubicBezTo>
                    <a:pt x="35951" y="22261"/>
                    <a:pt x="35556" y="22501"/>
                    <a:pt x="35762" y="22398"/>
                  </a:cubicBezTo>
                  <a:cubicBezTo>
                    <a:pt x="35521" y="22244"/>
                    <a:pt x="35762" y="22106"/>
                    <a:pt x="35401" y="22020"/>
                  </a:cubicBezTo>
                  <a:cubicBezTo>
                    <a:pt x="35040" y="21934"/>
                    <a:pt x="35401" y="21883"/>
                    <a:pt x="35401" y="21831"/>
                  </a:cubicBezTo>
                  <a:cubicBezTo>
                    <a:pt x="35401" y="21780"/>
                    <a:pt x="35401" y="21952"/>
                    <a:pt x="35573" y="21831"/>
                  </a:cubicBezTo>
                  <a:lnTo>
                    <a:pt x="35573" y="21831"/>
                  </a:lnTo>
                  <a:cubicBezTo>
                    <a:pt x="35573" y="21831"/>
                    <a:pt x="35710" y="21831"/>
                    <a:pt x="35676" y="21694"/>
                  </a:cubicBezTo>
                  <a:cubicBezTo>
                    <a:pt x="35641" y="21557"/>
                    <a:pt x="35504" y="21522"/>
                    <a:pt x="35676" y="21488"/>
                  </a:cubicBezTo>
                  <a:cubicBezTo>
                    <a:pt x="35195" y="21660"/>
                    <a:pt x="35435" y="20938"/>
                    <a:pt x="35779" y="21179"/>
                  </a:cubicBezTo>
                  <a:cubicBezTo>
                    <a:pt x="35779" y="21041"/>
                    <a:pt x="36071" y="21179"/>
                    <a:pt x="36225" y="21179"/>
                  </a:cubicBezTo>
                  <a:cubicBezTo>
                    <a:pt x="35916" y="21058"/>
                    <a:pt x="36363" y="21076"/>
                    <a:pt x="36397" y="20990"/>
                  </a:cubicBezTo>
                  <a:cubicBezTo>
                    <a:pt x="35676" y="20766"/>
                    <a:pt x="36775" y="20869"/>
                    <a:pt x="36827" y="20784"/>
                  </a:cubicBezTo>
                  <a:cubicBezTo>
                    <a:pt x="36964" y="20406"/>
                    <a:pt x="37479" y="20457"/>
                    <a:pt x="37788" y="20371"/>
                  </a:cubicBezTo>
                  <a:cubicBezTo>
                    <a:pt x="37788" y="20543"/>
                    <a:pt x="37960" y="20560"/>
                    <a:pt x="38063" y="20371"/>
                  </a:cubicBezTo>
                  <a:cubicBezTo>
                    <a:pt x="38166" y="20182"/>
                    <a:pt x="38201" y="20663"/>
                    <a:pt x="38287" y="20526"/>
                  </a:cubicBezTo>
                  <a:cubicBezTo>
                    <a:pt x="40760" y="21024"/>
                    <a:pt x="38991" y="19324"/>
                    <a:pt x="37857" y="19049"/>
                  </a:cubicBezTo>
                  <a:cubicBezTo>
                    <a:pt x="37857" y="19049"/>
                    <a:pt x="37857" y="19049"/>
                    <a:pt x="37857" y="18911"/>
                  </a:cubicBezTo>
                  <a:cubicBezTo>
                    <a:pt x="37857" y="18774"/>
                    <a:pt x="38063" y="18911"/>
                    <a:pt x="37977" y="18791"/>
                  </a:cubicBezTo>
                  <a:cubicBezTo>
                    <a:pt x="37892" y="18671"/>
                    <a:pt x="38201" y="18637"/>
                    <a:pt x="37977" y="18551"/>
                  </a:cubicBezTo>
                  <a:cubicBezTo>
                    <a:pt x="37754" y="18465"/>
                    <a:pt x="37874" y="18551"/>
                    <a:pt x="37857" y="18448"/>
                  </a:cubicBezTo>
                  <a:cubicBezTo>
                    <a:pt x="37840" y="18345"/>
                    <a:pt x="38029" y="18448"/>
                    <a:pt x="38029" y="18448"/>
                  </a:cubicBezTo>
                  <a:cubicBezTo>
                    <a:pt x="38029" y="18448"/>
                    <a:pt x="38166" y="18310"/>
                    <a:pt x="38132" y="18224"/>
                  </a:cubicBezTo>
                  <a:cubicBezTo>
                    <a:pt x="38098" y="18138"/>
                    <a:pt x="37651" y="18224"/>
                    <a:pt x="37548" y="18499"/>
                  </a:cubicBezTo>
                  <a:cubicBezTo>
                    <a:pt x="37548" y="18499"/>
                    <a:pt x="37445" y="18585"/>
                    <a:pt x="37359" y="18499"/>
                  </a:cubicBezTo>
                  <a:cubicBezTo>
                    <a:pt x="37273" y="18413"/>
                    <a:pt x="37256" y="18499"/>
                    <a:pt x="37204" y="18499"/>
                  </a:cubicBezTo>
                  <a:cubicBezTo>
                    <a:pt x="37153" y="18499"/>
                    <a:pt x="37204" y="18774"/>
                    <a:pt x="37204" y="18705"/>
                  </a:cubicBezTo>
                  <a:cubicBezTo>
                    <a:pt x="37204" y="18637"/>
                    <a:pt x="37204" y="18585"/>
                    <a:pt x="37204" y="18568"/>
                  </a:cubicBezTo>
                  <a:cubicBezTo>
                    <a:pt x="37204" y="18551"/>
                    <a:pt x="36964" y="18722"/>
                    <a:pt x="36878" y="18791"/>
                  </a:cubicBezTo>
                  <a:cubicBezTo>
                    <a:pt x="36792" y="18860"/>
                    <a:pt x="37170" y="18791"/>
                    <a:pt x="37136" y="18946"/>
                  </a:cubicBezTo>
                  <a:cubicBezTo>
                    <a:pt x="37101" y="19100"/>
                    <a:pt x="37136" y="18946"/>
                    <a:pt x="37136" y="18946"/>
                  </a:cubicBezTo>
                  <a:cubicBezTo>
                    <a:pt x="37136" y="18946"/>
                    <a:pt x="37136" y="19066"/>
                    <a:pt x="37325" y="19049"/>
                  </a:cubicBezTo>
                  <a:cubicBezTo>
                    <a:pt x="37514" y="19032"/>
                    <a:pt x="37016" y="18825"/>
                    <a:pt x="37084" y="18705"/>
                  </a:cubicBezTo>
                  <a:cubicBezTo>
                    <a:pt x="37153" y="18585"/>
                    <a:pt x="37273" y="18980"/>
                    <a:pt x="37393" y="19014"/>
                  </a:cubicBezTo>
                  <a:cubicBezTo>
                    <a:pt x="37514" y="19049"/>
                    <a:pt x="37393" y="19014"/>
                    <a:pt x="37514" y="19014"/>
                  </a:cubicBezTo>
                  <a:cubicBezTo>
                    <a:pt x="37634" y="19014"/>
                    <a:pt x="37617" y="18929"/>
                    <a:pt x="37685" y="18929"/>
                  </a:cubicBezTo>
                  <a:cubicBezTo>
                    <a:pt x="37754" y="18929"/>
                    <a:pt x="37685" y="19152"/>
                    <a:pt x="37462" y="19100"/>
                  </a:cubicBezTo>
                  <a:cubicBezTo>
                    <a:pt x="37239" y="19049"/>
                    <a:pt x="36861" y="19650"/>
                    <a:pt x="36912" y="19100"/>
                  </a:cubicBezTo>
                  <a:cubicBezTo>
                    <a:pt x="36775" y="18980"/>
                    <a:pt x="36466" y="19100"/>
                    <a:pt x="36758" y="18860"/>
                  </a:cubicBezTo>
                  <a:cubicBezTo>
                    <a:pt x="37050" y="18619"/>
                    <a:pt x="36620" y="18602"/>
                    <a:pt x="36500" y="18740"/>
                  </a:cubicBezTo>
                  <a:cubicBezTo>
                    <a:pt x="36380" y="18877"/>
                    <a:pt x="36311" y="18740"/>
                    <a:pt x="36380" y="18619"/>
                  </a:cubicBezTo>
                  <a:cubicBezTo>
                    <a:pt x="36449" y="18499"/>
                    <a:pt x="36191" y="18619"/>
                    <a:pt x="36157" y="18619"/>
                  </a:cubicBezTo>
                  <a:cubicBezTo>
                    <a:pt x="36122" y="18619"/>
                    <a:pt x="36380" y="18619"/>
                    <a:pt x="36449" y="18619"/>
                  </a:cubicBezTo>
                  <a:cubicBezTo>
                    <a:pt x="36396" y="18670"/>
                    <a:pt x="36313" y="18670"/>
                    <a:pt x="36260" y="18619"/>
                  </a:cubicBezTo>
                  <a:cubicBezTo>
                    <a:pt x="36260" y="18791"/>
                    <a:pt x="36122" y="18619"/>
                    <a:pt x="36088" y="18740"/>
                  </a:cubicBezTo>
                  <a:cubicBezTo>
                    <a:pt x="36054" y="18860"/>
                    <a:pt x="36088" y="18929"/>
                    <a:pt x="35916" y="18946"/>
                  </a:cubicBezTo>
                  <a:cubicBezTo>
                    <a:pt x="35744" y="18963"/>
                    <a:pt x="35916" y="19221"/>
                    <a:pt x="35796" y="19083"/>
                  </a:cubicBezTo>
                  <a:cubicBezTo>
                    <a:pt x="35916" y="19392"/>
                    <a:pt x="35796" y="19409"/>
                    <a:pt x="35607" y="19598"/>
                  </a:cubicBezTo>
                  <a:cubicBezTo>
                    <a:pt x="35418" y="19787"/>
                    <a:pt x="35607" y="19856"/>
                    <a:pt x="35607" y="19993"/>
                  </a:cubicBezTo>
                  <a:cubicBezTo>
                    <a:pt x="35607" y="20131"/>
                    <a:pt x="35401" y="20097"/>
                    <a:pt x="35470" y="20251"/>
                  </a:cubicBezTo>
                  <a:cubicBezTo>
                    <a:pt x="35538" y="20406"/>
                    <a:pt x="35607" y="20440"/>
                    <a:pt x="35607" y="20698"/>
                  </a:cubicBezTo>
                  <a:cubicBezTo>
                    <a:pt x="35607" y="20955"/>
                    <a:pt x="36054" y="20835"/>
                    <a:pt x="35899" y="20990"/>
                  </a:cubicBezTo>
                  <a:cubicBezTo>
                    <a:pt x="35744" y="21144"/>
                    <a:pt x="35435" y="21144"/>
                    <a:pt x="35212" y="21333"/>
                  </a:cubicBezTo>
                  <a:cubicBezTo>
                    <a:pt x="35212" y="21230"/>
                    <a:pt x="35212" y="21179"/>
                    <a:pt x="35315" y="21144"/>
                  </a:cubicBezTo>
                  <a:cubicBezTo>
                    <a:pt x="35109" y="21144"/>
                    <a:pt x="34851" y="20887"/>
                    <a:pt x="34731" y="21144"/>
                  </a:cubicBezTo>
                  <a:cubicBezTo>
                    <a:pt x="34559" y="21144"/>
                    <a:pt x="34611" y="21144"/>
                    <a:pt x="34491" y="21230"/>
                  </a:cubicBezTo>
                  <a:cubicBezTo>
                    <a:pt x="34370" y="21316"/>
                    <a:pt x="34491" y="21333"/>
                    <a:pt x="34611" y="21385"/>
                  </a:cubicBezTo>
                  <a:cubicBezTo>
                    <a:pt x="34731" y="21436"/>
                    <a:pt x="34422" y="21299"/>
                    <a:pt x="34439" y="21385"/>
                  </a:cubicBezTo>
                  <a:cubicBezTo>
                    <a:pt x="34456" y="21471"/>
                    <a:pt x="34559" y="21385"/>
                    <a:pt x="34439" y="21471"/>
                  </a:cubicBezTo>
                  <a:cubicBezTo>
                    <a:pt x="34319" y="21557"/>
                    <a:pt x="34164" y="21350"/>
                    <a:pt x="34439" y="21471"/>
                  </a:cubicBezTo>
                  <a:cubicBezTo>
                    <a:pt x="34302" y="21471"/>
                    <a:pt x="34250" y="21333"/>
                    <a:pt x="34164" y="21282"/>
                  </a:cubicBezTo>
                  <a:cubicBezTo>
                    <a:pt x="34078" y="21230"/>
                    <a:pt x="33924" y="21402"/>
                    <a:pt x="34164" y="21522"/>
                  </a:cubicBezTo>
                  <a:cubicBezTo>
                    <a:pt x="34405" y="21642"/>
                    <a:pt x="34542" y="21986"/>
                    <a:pt x="34164" y="21728"/>
                  </a:cubicBezTo>
                  <a:cubicBezTo>
                    <a:pt x="34164" y="21728"/>
                    <a:pt x="34164" y="21728"/>
                    <a:pt x="34164" y="21728"/>
                  </a:cubicBezTo>
                  <a:cubicBezTo>
                    <a:pt x="34164" y="21728"/>
                    <a:pt x="34164" y="21849"/>
                    <a:pt x="34164" y="21831"/>
                  </a:cubicBezTo>
                  <a:cubicBezTo>
                    <a:pt x="34353" y="21969"/>
                    <a:pt x="34680" y="22020"/>
                    <a:pt x="34662" y="22295"/>
                  </a:cubicBezTo>
                  <a:cubicBezTo>
                    <a:pt x="34542" y="22295"/>
                    <a:pt x="34473" y="22175"/>
                    <a:pt x="34336" y="22295"/>
                  </a:cubicBezTo>
                  <a:cubicBezTo>
                    <a:pt x="34199" y="22415"/>
                    <a:pt x="34645" y="22536"/>
                    <a:pt x="34456" y="22467"/>
                  </a:cubicBezTo>
                  <a:cubicBezTo>
                    <a:pt x="34267" y="22398"/>
                    <a:pt x="34456" y="22467"/>
                    <a:pt x="34456" y="22467"/>
                  </a:cubicBezTo>
                  <a:cubicBezTo>
                    <a:pt x="34456" y="22467"/>
                    <a:pt x="34456" y="22707"/>
                    <a:pt x="34456" y="22776"/>
                  </a:cubicBezTo>
                  <a:cubicBezTo>
                    <a:pt x="34456" y="22845"/>
                    <a:pt x="34216" y="22587"/>
                    <a:pt x="34250" y="22776"/>
                  </a:cubicBezTo>
                  <a:cubicBezTo>
                    <a:pt x="34250" y="22621"/>
                    <a:pt x="34147" y="22639"/>
                    <a:pt x="34078" y="22518"/>
                  </a:cubicBezTo>
                  <a:cubicBezTo>
                    <a:pt x="34010" y="22398"/>
                    <a:pt x="34078" y="22604"/>
                    <a:pt x="34078" y="22656"/>
                  </a:cubicBezTo>
                  <a:cubicBezTo>
                    <a:pt x="33988" y="22604"/>
                    <a:pt x="33946" y="22498"/>
                    <a:pt x="33975" y="22398"/>
                  </a:cubicBezTo>
                  <a:cubicBezTo>
                    <a:pt x="33855" y="22295"/>
                    <a:pt x="33666" y="22226"/>
                    <a:pt x="33855" y="22089"/>
                  </a:cubicBezTo>
                  <a:cubicBezTo>
                    <a:pt x="34044" y="21952"/>
                    <a:pt x="34199" y="22261"/>
                    <a:pt x="34353" y="22089"/>
                  </a:cubicBezTo>
                  <a:cubicBezTo>
                    <a:pt x="34216" y="22089"/>
                    <a:pt x="34061" y="21917"/>
                    <a:pt x="33958" y="22089"/>
                  </a:cubicBezTo>
                  <a:cubicBezTo>
                    <a:pt x="33855" y="22261"/>
                    <a:pt x="33838" y="21969"/>
                    <a:pt x="33786" y="22089"/>
                  </a:cubicBezTo>
                  <a:cubicBezTo>
                    <a:pt x="33546" y="21849"/>
                    <a:pt x="33374" y="21471"/>
                    <a:pt x="33065" y="21316"/>
                  </a:cubicBezTo>
                  <a:cubicBezTo>
                    <a:pt x="33065" y="21127"/>
                    <a:pt x="33065" y="20921"/>
                    <a:pt x="33065" y="20732"/>
                  </a:cubicBezTo>
                  <a:cubicBezTo>
                    <a:pt x="32859" y="20732"/>
                    <a:pt x="32739" y="20457"/>
                    <a:pt x="32584" y="20320"/>
                  </a:cubicBezTo>
                  <a:cubicBezTo>
                    <a:pt x="32429" y="20182"/>
                    <a:pt x="32326" y="20320"/>
                    <a:pt x="32275" y="20320"/>
                  </a:cubicBezTo>
                  <a:cubicBezTo>
                    <a:pt x="32223" y="20320"/>
                    <a:pt x="32275" y="20320"/>
                    <a:pt x="32395" y="20320"/>
                  </a:cubicBezTo>
                  <a:cubicBezTo>
                    <a:pt x="32515" y="20320"/>
                    <a:pt x="32103" y="20062"/>
                    <a:pt x="31931" y="20131"/>
                  </a:cubicBezTo>
                  <a:cubicBezTo>
                    <a:pt x="31759" y="20200"/>
                    <a:pt x="31416" y="19839"/>
                    <a:pt x="31742" y="19856"/>
                  </a:cubicBezTo>
                  <a:cubicBezTo>
                    <a:pt x="31347" y="19616"/>
                    <a:pt x="31536" y="19135"/>
                    <a:pt x="31175" y="19633"/>
                  </a:cubicBezTo>
                  <a:cubicBezTo>
                    <a:pt x="31175" y="19530"/>
                    <a:pt x="31038" y="19409"/>
                    <a:pt x="31175" y="19306"/>
                  </a:cubicBezTo>
                  <a:cubicBezTo>
                    <a:pt x="31313" y="19203"/>
                    <a:pt x="30832" y="19306"/>
                    <a:pt x="30746" y="19427"/>
                  </a:cubicBezTo>
                  <a:cubicBezTo>
                    <a:pt x="30746" y="19942"/>
                    <a:pt x="31347" y="20268"/>
                    <a:pt x="31656" y="20681"/>
                  </a:cubicBezTo>
                  <a:cubicBezTo>
                    <a:pt x="31811" y="20681"/>
                    <a:pt x="32223" y="20681"/>
                    <a:pt x="31983" y="20887"/>
                  </a:cubicBezTo>
                  <a:cubicBezTo>
                    <a:pt x="32223" y="21024"/>
                    <a:pt x="32979" y="21161"/>
                    <a:pt x="32807" y="21539"/>
                  </a:cubicBezTo>
                  <a:cubicBezTo>
                    <a:pt x="32653" y="21539"/>
                    <a:pt x="32807" y="21282"/>
                    <a:pt x="32532" y="21333"/>
                  </a:cubicBezTo>
                  <a:cubicBezTo>
                    <a:pt x="32258" y="21385"/>
                    <a:pt x="32258" y="21539"/>
                    <a:pt x="32309" y="21625"/>
                  </a:cubicBezTo>
                  <a:cubicBezTo>
                    <a:pt x="32670" y="21728"/>
                    <a:pt x="32309" y="21934"/>
                    <a:pt x="32309" y="22141"/>
                  </a:cubicBezTo>
                  <a:cubicBezTo>
                    <a:pt x="32309" y="22347"/>
                    <a:pt x="31845" y="22415"/>
                    <a:pt x="32086" y="22141"/>
                  </a:cubicBezTo>
                  <a:cubicBezTo>
                    <a:pt x="32197" y="21856"/>
                    <a:pt x="32069" y="21534"/>
                    <a:pt x="31794" y="21402"/>
                  </a:cubicBezTo>
                  <a:cubicBezTo>
                    <a:pt x="31639" y="21402"/>
                    <a:pt x="31794" y="21282"/>
                    <a:pt x="31656" y="21230"/>
                  </a:cubicBezTo>
                  <a:cubicBezTo>
                    <a:pt x="31518" y="21226"/>
                    <a:pt x="31393" y="21147"/>
                    <a:pt x="31330" y="21024"/>
                  </a:cubicBezTo>
                  <a:cubicBezTo>
                    <a:pt x="30317" y="21024"/>
                    <a:pt x="30145" y="18980"/>
                    <a:pt x="29080" y="20217"/>
                  </a:cubicBezTo>
                  <a:cubicBezTo>
                    <a:pt x="29080" y="20423"/>
                    <a:pt x="28736" y="20217"/>
                    <a:pt x="28633" y="20114"/>
                  </a:cubicBezTo>
                  <a:cubicBezTo>
                    <a:pt x="27568" y="19993"/>
                    <a:pt x="28633" y="20921"/>
                    <a:pt x="27448" y="21093"/>
                  </a:cubicBezTo>
                  <a:cubicBezTo>
                    <a:pt x="27534" y="21093"/>
                    <a:pt x="27448" y="21265"/>
                    <a:pt x="27448" y="21213"/>
                  </a:cubicBezTo>
                  <a:cubicBezTo>
                    <a:pt x="26744" y="21763"/>
                    <a:pt x="27448" y="21728"/>
                    <a:pt x="27191" y="22003"/>
                  </a:cubicBezTo>
                  <a:cubicBezTo>
                    <a:pt x="26950" y="22003"/>
                    <a:pt x="27070" y="22450"/>
                    <a:pt x="26847" y="22398"/>
                  </a:cubicBezTo>
                  <a:cubicBezTo>
                    <a:pt x="26418" y="22862"/>
                    <a:pt x="25919" y="22398"/>
                    <a:pt x="25421" y="22896"/>
                  </a:cubicBezTo>
                  <a:cubicBezTo>
                    <a:pt x="25095" y="22896"/>
                    <a:pt x="25147" y="22192"/>
                    <a:pt x="24700" y="22501"/>
                  </a:cubicBezTo>
                  <a:cubicBezTo>
                    <a:pt x="24700" y="22501"/>
                    <a:pt x="24494" y="22364"/>
                    <a:pt x="24408" y="22501"/>
                  </a:cubicBezTo>
                  <a:cubicBezTo>
                    <a:pt x="24426" y="22310"/>
                    <a:pt x="24460" y="22120"/>
                    <a:pt x="24511" y="21934"/>
                  </a:cubicBezTo>
                  <a:cubicBezTo>
                    <a:pt x="24185" y="21934"/>
                    <a:pt x="24511" y="21934"/>
                    <a:pt x="24511" y="21763"/>
                  </a:cubicBezTo>
                  <a:cubicBezTo>
                    <a:pt x="24099" y="22020"/>
                    <a:pt x="24614" y="21299"/>
                    <a:pt x="24631" y="21144"/>
                  </a:cubicBezTo>
                  <a:cubicBezTo>
                    <a:pt x="24648" y="20990"/>
                    <a:pt x="24631" y="20595"/>
                    <a:pt x="24734" y="20457"/>
                  </a:cubicBezTo>
                  <a:lnTo>
                    <a:pt x="24734" y="20457"/>
                  </a:lnTo>
                  <a:cubicBezTo>
                    <a:pt x="24734" y="20457"/>
                    <a:pt x="24734" y="20457"/>
                    <a:pt x="24734" y="20337"/>
                  </a:cubicBezTo>
                  <a:cubicBezTo>
                    <a:pt x="24734" y="20217"/>
                    <a:pt x="24734" y="20337"/>
                    <a:pt x="24734" y="20234"/>
                  </a:cubicBezTo>
                  <a:cubicBezTo>
                    <a:pt x="24734" y="20131"/>
                    <a:pt x="24940" y="20097"/>
                    <a:pt x="25026" y="20045"/>
                  </a:cubicBezTo>
                  <a:cubicBezTo>
                    <a:pt x="25112" y="19993"/>
                    <a:pt x="25404" y="20045"/>
                    <a:pt x="25490" y="20045"/>
                  </a:cubicBezTo>
                  <a:cubicBezTo>
                    <a:pt x="25851" y="20045"/>
                    <a:pt x="26246" y="20217"/>
                    <a:pt x="26607" y="20131"/>
                  </a:cubicBezTo>
                  <a:cubicBezTo>
                    <a:pt x="27242" y="20629"/>
                    <a:pt x="26847" y="18911"/>
                    <a:pt x="27276" y="19564"/>
                  </a:cubicBezTo>
                  <a:cubicBezTo>
                    <a:pt x="27276" y="19461"/>
                    <a:pt x="27173" y="19306"/>
                    <a:pt x="27053" y="19289"/>
                  </a:cubicBezTo>
                  <a:cubicBezTo>
                    <a:pt x="27225" y="19066"/>
                    <a:pt x="26899" y="19014"/>
                    <a:pt x="26813" y="18860"/>
                  </a:cubicBezTo>
                  <a:cubicBezTo>
                    <a:pt x="26727" y="18705"/>
                    <a:pt x="26813" y="18619"/>
                    <a:pt x="26950" y="18722"/>
                  </a:cubicBezTo>
                  <a:cubicBezTo>
                    <a:pt x="26847" y="18568"/>
                    <a:pt x="26727" y="18825"/>
                    <a:pt x="26727" y="18551"/>
                  </a:cubicBezTo>
                  <a:cubicBezTo>
                    <a:pt x="26607" y="18551"/>
                    <a:pt x="26400" y="18345"/>
                    <a:pt x="26229" y="18465"/>
                  </a:cubicBezTo>
                  <a:cubicBezTo>
                    <a:pt x="26057" y="18585"/>
                    <a:pt x="26229" y="18465"/>
                    <a:pt x="26229" y="18345"/>
                  </a:cubicBezTo>
                  <a:cubicBezTo>
                    <a:pt x="26229" y="18224"/>
                    <a:pt x="26332" y="18190"/>
                    <a:pt x="26229" y="18345"/>
                  </a:cubicBezTo>
                  <a:cubicBezTo>
                    <a:pt x="26126" y="18499"/>
                    <a:pt x="26229" y="18345"/>
                    <a:pt x="26229" y="18345"/>
                  </a:cubicBezTo>
                  <a:cubicBezTo>
                    <a:pt x="25851" y="18224"/>
                    <a:pt x="26435" y="18207"/>
                    <a:pt x="26555" y="18121"/>
                  </a:cubicBezTo>
                  <a:cubicBezTo>
                    <a:pt x="26692" y="18293"/>
                    <a:pt x="26795" y="18121"/>
                    <a:pt x="27019" y="18241"/>
                  </a:cubicBezTo>
                  <a:cubicBezTo>
                    <a:pt x="26989" y="18096"/>
                    <a:pt x="26949" y="17952"/>
                    <a:pt x="26899" y="17812"/>
                  </a:cubicBezTo>
                  <a:cubicBezTo>
                    <a:pt x="26899" y="17812"/>
                    <a:pt x="27053" y="17812"/>
                    <a:pt x="27105" y="17812"/>
                  </a:cubicBezTo>
                  <a:cubicBezTo>
                    <a:pt x="27156" y="17812"/>
                    <a:pt x="27397" y="18001"/>
                    <a:pt x="27500" y="17812"/>
                  </a:cubicBezTo>
                  <a:cubicBezTo>
                    <a:pt x="27259" y="17623"/>
                    <a:pt x="27775" y="17709"/>
                    <a:pt x="27775" y="17606"/>
                  </a:cubicBezTo>
                  <a:cubicBezTo>
                    <a:pt x="27775" y="17503"/>
                    <a:pt x="27860" y="17383"/>
                    <a:pt x="27895" y="17280"/>
                  </a:cubicBezTo>
                  <a:cubicBezTo>
                    <a:pt x="27929" y="17177"/>
                    <a:pt x="28204" y="16988"/>
                    <a:pt x="28444" y="17125"/>
                  </a:cubicBezTo>
                  <a:cubicBezTo>
                    <a:pt x="28273" y="17125"/>
                    <a:pt x="28221" y="16919"/>
                    <a:pt x="28444" y="17125"/>
                  </a:cubicBezTo>
                  <a:cubicBezTo>
                    <a:pt x="28668" y="17331"/>
                    <a:pt x="28324" y="17005"/>
                    <a:pt x="28547" y="17022"/>
                  </a:cubicBezTo>
                  <a:cubicBezTo>
                    <a:pt x="28187" y="16764"/>
                    <a:pt x="28925" y="16112"/>
                    <a:pt x="29286" y="16438"/>
                  </a:cubicBezTo>
                  <a:cubicBezTo>
                    <a:pt x="29028" y="16249"/>
                    <a:pt x="29389" y="16112"/>
                    <a:pt x="29458" y="16438"/>
                  </a:cubicBezTo>
                  <a:cubicBezTo>
                    <a:pt x="29458" y="16197"/>
                    <a:pt x="29458" y="16438"/>
                    <a:pt x="29595" y="16438"/>
                  </a:cubicBezTo>
                  <a:cubicBezTo>
                    <a:pt x="29441" y="16026"/>
                    <a:pt x="29750" y="16232"/>
                    <a:pt x="29956" y="16301"/>
                  </a:cubicBezTo>
                  <a:cubicBezTo>
                    <a:pt x="29389" y="16043"/>
                    <a:pt x="29544" y="15493"/>
                    <a:pt x="29389" y="15115"/>
                  </a:cubicBezTo>
                  <a:cubicBezTo>
                    <a:pt x="29630" y="15115"/>
                    <a:pt x="29527" y="14961"/>
                    <a:pt x="29664" y="15115"/>
                  </a:cubicBezTo>
                  <a:cubicBezTo>
                    <a:pt x="29664" y="14634"/>
                    <a:pt x="29836" y="15115"/>
                    <a:pt x="30025" y="15115"/>
                  </a:cubicBezTo>
                  <a:cubicBezTo>
                    <a:pt x="30025" y="15373"/>
                    <a:pt x="29527" y="15528"/>
                    <a:pt x="29922" y="16009"/>
                  </a:cubicBezTo>
                  <a:cubicBezTo>
                    <a:pt x="29922" y="15888"/>
                    <a:pt x="30334" y="16009"/>
                    <a:pt x="30059" y="16094"/>
                  </a:cubicBezTo>
                  <a:cubicBezTo>
                    <a:pt x="30591" y="16094"/>
                    <a:pt x="30385" y="15768"/>
                    <a:pt x="30883" y="16094"/>
                  </a:cubicBezTo>
                  <a:cubicBezTo>
                    <a:pt x="31124" y="16472"/>
                    <a:pt x="31656" y="15356"/>
                    <a:pt x="32103" y="15768"/>
                  </a:cubicBezTo>
                  <a:cubicBezTo>
                    <a:pt x="31828" y="15768"/>
                    <a:pt x="32103" y="16043"/>
                    <a:pt x="32326" y="15768"/>
                  </a:cubicBezTo>
                  <a:cubicBezTo>
                    <a:pt x="32299" y="15829"/>
                    <a:pt x="32250" y="15878"/>
                    <a:pt x="32189" y="15905"/>
                  </a:cubicBezTo>
                  <a:cubicBezTo>
                    <a:pt x="34078" y="15820"/>
                    <a:pt x="31656" y="15270"/>
                    <a:pt x="32704" y="14497"/>
                  </a:cubicBezTo>
                  <a:cubicBezTo>
                    <a:pt x="33082" y="15081"/>
                    <a:pt x="33202" y="14686"/>
                    <a:pt x="33031" y="14222"/>
                  </a:cubicBezTo>
                  <a:cubicBezTo>
                    <a:pt x="33031" y="14428"/>
                    <a:pt x="32739" y="14222"/>
                    <a:pt x="32842" y="14068"/>
                  </a:cubicBezTo>
                  <a:cubicBezTo>
                    <a:pt x="32532" y="14068"/>
                    <a:pt x="32842" y="13758"/>
                    <a:pt x="32842" y="13690"/>
                  </a:cubicBezTo>
                  <a:cubicBezTo>
                    <a:pt x="32842" y="13621"/>
                    <a:pt x="33082" y="13690"/>
                    <a:pt x="32979" y="13690"/>
                  </a:cubicBezTo>
                  <a:lnTo>
                    <a:pt x="33615" y="13793"/>
                  </a:lnTo>
                  <a:cubicBezTo>
                    <a:pt x="33426" y="13501"/>
                    <a:pt x="33615" y="13690"/>
                    <a:pt x="33752" y="13466"/>
                  </a:cubicBezTo>
                  <a:cubicBezTo>
                    <a:pt x="33889" y="13243"/>
                    <a:pt x="33305" y="13363"/>
                    <a:pt x="33546" y="13192"/>
                  </a:cubicBezTo>
                  <a:cubicBezTo>
                    <a:pt x="33546" y="13192"/>
                    <a:pt x="33426" y="13295"/>
                    <a:pt x="33408" y="13192"/>
                  </a:cubicBezTo>
                  <a:cubicBezTo>
                    <a:pt x="33408" y="13346"/>
                    <a:pt x="33099" y="13363"/>
                    <a:pt x="33031" y="13312"/>
                  </a:cubicBezTo>
                  <a:cubicBezTo>
                    <a:pt x="32962" y="13260"/>
                    <a:pt x="33031" y="13312"/>
                    <a:pt x="33031" y="13312"/>
                  </a:cubicBezTo>
                  <a:cubicBezTo>
                    <a:pt x="33031" y="13312"/>
                    <a:pt x="33031" y="13552"/>
                    <a:pt x="33031" y="13312"/>
                  </a:cubicBezTo>
                  <a:cubicBezTo>
                    <a:pt x="33031" y="13449"/>
                    <a:pt x="32601" y="13466"/>
                    <a:pt x="32567" y="13621"/>
                  </a:cubicBezTo>
                  <a:cubicBezTo>
                    <a:pt x="32567" y="13312"/>
                    <a:pt x="32412" y="13415"/>
                    <a:pt x="32172" y="13260"/>
                  </a:cubicBezTo>
                  <a:cubicBezTo>
                    <a:pt x="31931" y="13106"/>
                    <a:pt x="31691" y="12144"/>
                    <a:pt x="31914" y="12058"/>
                  </a:cubicBezTo>
                  <a:cubicBezTo>
                    <a:pt x="32137" y="11972"/>
                    <a:pt x="31914" y="11972"/>
                    <a:pt x="32017" y="12058"/>
                  </a:cubicBezTo>
                  <a:cubicBezTo>
                    <a:pt x="32120" y="12144"/>
                    <a:pt x="32017" y="11921"/>
                    <a:pt x="32017" y="11817"/>
                  </a:cubicBezTo>
                  <a:cubicBezTo>
                    <a:pt x="32017" y="11714"/>
                    <a:pt x="32240" y="11354"/>
                    <a:pt x="32309" y="11457"/>
                  </a:cubicBezTo>
                  <a:cubicBezTo>
                    <a:pt x="32103" y="11010"/>
                    <a:pt x="31708" y="11148"/>
                    <a:pt x="31502" y="11182"/>
                  </a:cubicBezTo>
                  <a:cubicBezTo>
                    <a:pt x="31622" y="11354"/>
                    <a:pt x="31502" y="11577"/>
                    <a:pt x="31656" y="11714"/>
                  </a:cubicBezTo>
                  <a:cubicBezTo>
                    <a:pt x="31532" y="12056"/>
                    <a:pt x="31318" y="12359"/>
                    <a:pt x="31038" y="12590"/>
                  </a:cubicBezTo>
                  <a:cubicBezTo>
                    <a:pt x="31158" y="12676"/>
                    <a:pt x="31038" y="12848"/>
                    <a:pt x="31175" y="12968"/>
                  </a:cubicBezTo>
                  <a:cubicBezTo>
                    <a:pt x="30883" y="13123"/>
                    <a:pt x="32189" y="13999"/>
                    <a:pt x="31382" y="13793"/>
                  </a:cubicBezTo>
                  <a:cubicBezTo>
                    <a:pt x="31382" y="13793"/>
                    <a:pt x="30901" y="13793"/>
                    <a:pt x="31210" y="13913"/>
                  </a:cubicBezTo>
                  <a:cubicBezTo>
                    <a:pt x="31519" y="14033"/>
                    <a:pt x="31811" y="14119"/>
                    <a:pt x="31485" y="14050"/>
                  </a:cubicBezTo>
                  <a:cubicBezTo>
                    <a:pt x="31485" y="14050"/>
                    <a:pt x="31485" y="14257"/>
                    <a:pt x="31364" y="14188"/>
                  </a:cubicBezTo>
                  <a:cubicBezTo>
                    <a:pt x="31244" y="14119"/>
                    <a:pt x="31467" y="14325"/>
                    <a:pt x="31364" y="14342"/>
                  </a:cubicBezTo>
                  <a:cubicBezTo>
                    <a:pt x="31485" y="14342"/>
                    <a:pt x="31519" y="14600"/>
                    <a:pt x="31364" y="14514"/>
                  </a:cubicBezTo>
                  <a:cubicBezTo>
                    <a:pt x="31502" y="14789"/>
                    <a:pt x="31519" y="15510"/>
                    <a:pt x="31090" y="15236"/>
                  </a:cubicBezTo>
                  <a:cubicBezTo>
                    <a:pt x="30815" y="16301"/>
                    <a:pt x="30059" y="14153"/>
                    <a:pt x="30162" y="14050"/>
                  </a:cubicBezTo>
                  <a:cubicBezTo>
                    <a:pt x="29990" y="13947"/>
                    <a:pt x="29939" y="13844"/>
                    <a:pt x="29939" y="13810"/>
                  </a:cubicBezTo>
                  <a:cubicBezTo>
                    <a:pt x="29958" y="13906"/>
                    <a:pt x="29958" y="14006"/>
                    <a:pt x="29939" y="14102"/>
                  </a:cubicBezTo>
                  <a:cubicBezTo>
                    <a:pt x="29939" y="14102"/>
                    <a:pt x="29939" y="14102"/>
                    <a:pt x="29733" y="13965"/>
                  </a:cubicBezTo>
                  <a:cubicBezTo>
                    <a:pt x="29733" y="14119"/>
                    <a:pt x="29733" y="14360"/>
                    <a:pt x="29595" y="14291"/>
                  </a:cubicBezTo>
                  <a:cubicBezTo>
                    <a:pt x="29733" y="14463"/>
                    <a:pt x="29286" y="14583"/>
                    <a:pt x="29183" y="14428"/>
                  </a:cubicBezTo>
                  <a:cubicBezTo>
                    <a:pt x="29080" y="14549"/>
                    <a:pt x="28651" y="14050"/>
                    <a:pt x="29183" y="14102"/>
                  </a:cubicBezTo>
                  <a:cubicBezTo>
                    <a:pt x="28960" y="14102"/>
                    <a:pt x="29183" y="13999"/>
                    <a:pt x="29011" y="13879"/>
                  </a:cubicBezTo>
                  <a:cubicBezTo>
                    <a:pt x="29011" y="14188"/>
                    <a:pt x="28771" y="13690"/>
                    <a:pt x="29011" y="13879"/>
                  </a:cubicBezTo>
                  <a:cubicBezTo>
                    <a:pt x="29252" y="14068"/>
                    <a:pt x="29011" y="13879"/>
                    <a:pt x="29166" y="13776"/>
                  </a:cubicBezTo>
                  <a:cubicBezTo>
                    <a:pt x="28960" y="13776"/>
                    <a:pt x="29166" y="13449"/>
                    <a:pt x="29166" y="13655"/>
                  </a:cubicBezTo>
                  <a:cubicBezTo>
                    <a:pt x="29118" y="13609"/>
                    <a:pt x="29118" y="13533"/>
                    <a:pt x="29164" y="13485"/>
                  </a:cubicBezTo>
                  <a:cubicBezTo>
                    <a:pt x="29165" y="13485"/>
                    <a:pt x="29165" y="13484"/>
                    <a:pt x="29166" y="13484"/>
                  </a:cubicBezTo>
                  <a:cubicBezTo>
                    <a:pt x="28943" y="13569"/>
                    <a:pt x="28822" y="13724"/>
                    <a:pt x="28943" y="13484"/>
                  </a:cubicBezTo>
                  <a:cubicBezTo>
                    <a:pt x="28788" y="13484"/>
                    <a:pt x="28736" y="13569"/>
                    <a:pt x="28943" y="13381"/>
                  </a:cubicBezTo>
                  <a:cubicBezTo>
                    <a:pt x="28599" y="13243"/>
                    <a:pt x="29544" y="13484"/>
                    <a:pt x="29355" y="13157"/>
                  </a:cubicBezTo>
                  <a:cubicBezTo>
                    <a:pt x="29355" y="13329"/>
                    <a:pt x="28582" y="13295"/>
                    <a:pt x="28994" y="13157"/>
                  </a:cubicBezTo>
                  <a:cubicBezTo>
                    <a:pt x="28651" y="13157"/>
                    <a:pt x="28994" y="13037"/>
                    <a:pt x="29183" y="13020"/>
                  </a:cubicBezTo>
                  <a:cubicBezTo>
                    <a:pt x="28822" y="13020"/>
                    <a:pt x="28754" y="12831"/>
                    <a:pt x="29046" y="12917"/>
                  </a:cubicBezTo>
                  <a:cubicBezTo>
                    <a:pt x="28960" y="12917"/>
                    <a:pt x="29046" y="12779"/>
                    <a:pt x="29183" y="12917"/>
                  </a:cubicBezTo>
                  <a:lnTo>
                    <a:pt x="29183" y="12797"/>
                  </a:lnTo>
                  <a:cubicBezTo>
                    <a:pt x="29183" y="12797"/>
                    <a:pt x="29183" y="12797"/>
                    <a:pt x="29441" y="12797"/>
                  </a:cubicBezTo>
                  <a:cubicBezTo>
                    <a:pt x="29114" y="12797"/>
                    <a:pt x="29303" y="12590"/>
                    <a:pt x="29578" y="12797"/>
                  </a:cubicBezTo>
                  <a:cubicBezTo>
                    <a:pt x="29217" y="12505"/>
                    <a:pt x="29578" y="12797"/>
                    <a:pt x="29578" y="12676"/>
                  </a:cubicBezTo>
                  <a:cubicBezTo>
                    <a:pt x="29578" y="12556"/>
                    <a:pt x="29922" y="12213"/>
                    <a:pt x="29767" y="12676"/>
                  </a:cubicBezTo>
                  <a:cubicBezTo>
                    <a:pt x="30007" y="12539"/>
                    <a:pt x="29973" y="12539"/>
                    <a:pt x="30059" y="12298"/>
                  </a:cubicBezTo>
                  <a:cubicBezTo>
                    <a:pt x="30145" y="12058"/>
                    <a:pt x="29784" y="12814"/>
                    <a:pt x="29801" y="12419"/>
                  </a:cubicBezTo>
                  <a:cubicBezTo>
                    <a:pt x="29664" y="12522"/>
                    <a:pt x="29801" y="12161"/>
                    <a:pt x="29801" y="12195"/>
                  </a:cubicBezTo>
                  <a:cubicBezTo>
                    <a:pt x="29801" y="12230"/>
                    <a:pt x="29990" y="12006"/>
                    <a:pt x="30145" y="11766"/>
                  </a:cubicBezTo>
                  <a:cubicBezTo>
                    <a:pt x="29990" y="11886"/>
                    <a:pt x="30059" y="11525"/>
                    <a:pt x="30145" y="11611"/>
                  </a:cubicBezTo>
                  <a:cubicBezTo>
                    <a:pt x="30231" y="11697"/>
                    <a:pt x="30145" y="11440"/>
                    <a:pt x="30145" y="11525"/>
                  </a:cubicBezTo>
                  <a:cubicBezTo>
                    <a:pt x="30042" y="11319"/>
                    <a:pt x="30145" y="11440"/>
                    <a:pt x="30145" y="11337"/>
                  </a:cubicBezTo>
                  <a:cubicBezTo>
                    <a:pt x="29939" y="11337"/>
                    <a:pt x="30145" y="11233"/>
                    <a:pt x="30025" y="11148"/>
                  </a:cubicBezTo>
                  <a:cubicBezTo>
                    <a:pt x="29904" y="11062"/>
                    <a:pt x="30025" y="10821"/>
                    <a:pt x="30334" y="10976"/>
                  </a:cubicBezTo>
                  <a:cubicBezTo>
                    <a:pt x="30179" y="10890"/>
                    <a:pt x="30111" y="10735"/>
                    <a:pt x="30334" y="10838"/>
                  </a:cubicBezTo>
                  <a:cubicBezTo>
                    <a:pt x="30557" y="10941"/>
                    <a:pt x="30162" y="10701"/>
                    <a:pt x="30334" y="10684"/>
                  </a:cubicBezTo>
                  <a:cubicBezTo>
                    <a:pt x="30042" y="10684"/>
                    <a:pt x="30334" y="10684"/>
                    <a:pt x="30334" y="10478"/>
                  </a:cubicBezTo>
                  <a:cubicBezTo>
                    <a:pt x="30523" y="10478"/>
                    <a:pt x="30488" y="10478"/>
                    <a:pt x="30506" y="10478"/>
                  </a:cubicBezTo>
                  <a:cubicBezTo>
                    <a:pt x="30918" y="10564"/>
                    <a:pt x="30214" y="10323"/>
                    <a:pt x="30506" y="10323"/>
                  </a:cubicBezTo>
                  <a:cubicBezTo>
                    <a:pt x="30506" y="10323"/>
                    <a:pt x="30506" y="10220"/>
                    <a:pt x="30506" y="10220"/>
                  </a:cubicBezTo>
                  <a:cubicBezTo>
                    <a:pt x="30506" y="10220"/>
                    <a:pt x="30506" y="9911"/>
                    <a:pt x="30609" y="10117"/>
                  </a:cubicBezTo>
                  <a:cubicBezTo>
                    <a:pt x="30712" y="10323"/>
                    <a:pt x="30609" y="10117"/>
                    <a:pt x="30609" y="10117"/>
                  </a:cubicBezTo>
                  <a:cubicBezTo>
                    <a:pt x="30385" y="9980"/>
                    <a:pt x="30609" y="10014"/>
                    <a:pt x="30609" y="10117"/>
                  </a:cubicBezTo>
                  <a:cubicBezTo>
                    <a:pt x="30609" y="10220"/>
                    <a:pt x="30609" y="9773"/>
                    <a:pt x="30609" y="10117"/>
                  </a:cubicBezTo>
                  <a:cubicBezTo>
                    <a:pt x="30609" y="9670"/>
                    <a:pt x="30609" y="10237"/>
                    <a:pt x="30798" y="10117"/>
                  </a:cubicBezTo>
                  <a:cubicBezTo>
                    <a:pt x="30609" y="9773"/>
                    <a:pt x="31021" y="10117"/>
                    <a:pt x="30798" y="9739"/>
                  </a:cubicBezTo>
                  <a:cubicBezTo>
                    <a:pt x="30901" y="9739"/>
                    <a:pt x="31038" y="9911"/>
                    <a:pt x="31124" y="9894"/>
                  </a:cubicBezTo>
                  <a:cubicBezTo>
                    <a:pt x="31210" y="9877"/>
                    <a:pt x="31124" y="9602"/>
                    <a:pt x="31124" y="9619"/>
                  </a:cubicBezTo>
                  <a:cubicBezTo>
                    <a:pt x="31124" y="9636"/>
                    <a:pt x="30969" y="9464"/>
                    <a:pt x="31124" y="9619"/>
                  </a:cubicBezTo>
                  <a:cubicBezTo>
                    <a:pt x="31279" y="9773"/>
                    <a:pt x="31124" y="9499"/>
                    <a:pt x="31124" y="9619"/>
                  </a:cubicBezTo>
                  <a:cubicBezTo>
                    <a:pt x="31244" y="9447"/>
                    <a:pt x="31279" y="10426"/>
                    <a:pt x="31261" y="9619"/>
                  </a:cubicBezTo>
                  <a:cubicBezTo>
                    <a:pt x="31536" y="10134"/>
                    <a:pt x="31261" y="9516"/>
                    <a:pt x="31450" y="9499"/>
                  </a:cubicBezTo>
                  <a:cubicBezTo>
                    <a:pt x="31639" y="9481"/>
                    <a:pt x="31450" y="9653"/>
                    <a:pt x="31553" y="9842"/>
                  </a:cubicBezTo>
                  <a:cubicBezTo>
                    <a:pt x="31656" y="10031"/>
                    <a:pt x="31639" y="9842"/>
                    <a:pt x="31674" y="9842"/>
                  </a:cubicBezTo>
                  <a:cubicBezTo>
                    <a:pt x="31502" y="9499"/>
                    <a:pt x="31863" y="9688"/>
                    <a:pt x="31845" y="9842"/>
                  </a:cubicBezTo>
                  <a:cubicBezTo>
                    <a:pt x="32172" y="9842"/>
                    <a:pt x="32051" y="10134"/>
                    <a:pt x="31742" y="10031"/>
                  </a:cubicBezTo>
                  <a:cubicBezTo>
                    <a:pt x="31845" y="10031"/>
                    <a:pt x="31948" y="10031"/>
                    <a:pt x="32000" y="10220"/>
                  </a:cubicBezTo>
                  <a:cubicBezTo>
                    <a:pt x="32051" y="10409"/>
                    <a:pt x="32120" y="10083"/>
                    <a:pt x="32275" y="10220"/>
                  </a:cubicBezTo>
                  <a:cubicBezTo>
                    <a:pt x="32275" y="10100"/>
                    <a:pt x="32275" y="10117"/>
                    <a:pt x="32275" y="10048"/>
                  </a:cubicBezTo>
                  <a:cubicBezTo>
                    <a:pt x="32275" y="9980"/>
                    <a:pt x="32653" y="10306"/>
                    <a:pt x="32378" y="10048"/>
                  </a:cubicBezTo>
                  <a:cubicBezTo>
                    <a:pt x="32378" y="10237"/>
                    <a:pt x="32567" y="10048"/>
                    <a:pt x="32584" y="10220"/>
                  </a:cubicBezTo>
                  <a:cubicBezTo>
                    <a:pt x="32601" y="10392"/>
                    <a:pt x="33220" y="10220"/>
                    <a:pt x="33683" y="10529"/>
                  </a:cubicBezTo>
                  <a:cubicBezTo>
                    <a:pt x="33563" y="10392"/>
                    <a:pt x="34044" y="10735"/>
                    <a:pt x="33804" y="10529"/>
                  </a:cubicBezTo>
                  <a:cubicBezTo>
                    <a:pt x="34697" y="10838"/>
                    <a:pt x="34611" y="11852"/>
                    <a:pt x="33597" y="11354"/>
                  </a:cubicBezTo>
                  <a:cubicBezTo>
                    <a:pt x="33477" y="11354"/>
                    <a:pt x="33477" y="11354"/>
                    <a:pt x="33426" y="11354"/>
                  </a:cubicBezTo>
                  <a:cubicBezTo>
                    <a:pt x="33374" y="11354"/>
                    <a:pt x="32910" y="11096"/>
                    <a:pt x="33065" y="11354"/>
                  </a:cubicBezTo>
                  <a:cubicBezTo>
                    <a:pt x="33220" y="11611"/>
                    <a:pt x="33460" y="11491"/>
                    <a:pt x="33357" y="11663"/>
                  </a:cubicBezTo>
                  <a:cubicBezTo>
                    <a:pt x="33632" y="11663"/>
                    <a:pt x="34834" y="13277"/>
                    <a:pt x="34576" y="12333"/>
                  </a:cubicBezTo>
                  <a:cubicBezTo>
                    <a:pt x="34388" y="12505"/>
                    <a:pt x="34113" y="12058"/>
                    <a:pt x="34250" y="12006"/>
                  </a:cubicBezTo>
                  <a:cubicBezTo>
                    <a:pt x="35693" y="12917"/>
                    <a:pt x="33975" y="11148"/>
                    <a:pt x="34972" y="11474"/>
                  </a:cubicBezTo>
                  <a:cubicBezTo>
                    <a:pt x="34972" y="11337"/>
                    <a:pt x="35092" y="11474"/>
                    <a:pt x="35143" y="11474"/>
                  </a:cubicBezTo>
                  <a:cubicBezTo>
                    <a:pt x="34895" y="11040"/>
                    <a:pt x="34569" y="10656"/>
                    <a:pt x="34181" y="10340"/>
                  </a:cubicBezTo>
                  <a:cubicBezTo>
                    <a:pt x="34491" y="10340"/>
                    <a:pt x="34972" y="10443"/>
                    <a:pt x="34800" y="10753"/>
                  </a:cubicBezTo>
                  <a:cubicBezTo>
                    <a:pt x="35195" y="11354"/>
                    <a:pt x="35349" y="10753"/>
                    <a:pt x="35143" y="10529"/>
                  </a:cubicBezTo>
                  <a:cubicBezTo>
                    <a:pt x="35315" y="10529"/>
                    <a:pt x="35143" y="9945"/>
                    <a:pt x="35401" y="10289"/>
                  </a:cubicBezTo>
                  <a:cubicBezTo>
                    <a:pt x="35401" y="10186"/>
                    <a:pt x="35178" y="9980"/>
                    <a:pt x="35401" y="10151"/>
                  </a:cubicBezTo>
                  <a:cubicBezTo>
                    <a:pt x="35229" y="9705"/>
                    <a:pt x="35521" y="10151"/>
                    <a:pt x="35727" y="10306"/>
                  </a:cubicBezTo>
                  <a:cubicBezTo>
                    <a:pt x="35727" y="10203"/>
                    <a:pt x="35727" y="10169"/>
                    <a:pt x="35727" y="10306"/>
                  </a:cubicBezTo>
                  <a:cubicBezTo>
                    <a:pt x="35504" y="10048"/>
                    <a:pt x="35882" y="10134"/>
                    <a:pt x="35830" y="9842"/>
                  </a:cubicBezTo>
                  <a:cubicBezTo>
                    <a:pt x="35951" y="9997"/>
                    <a:pt x="36311" y="10272"/>
                    <a:pt x="36019" y="9945"/>
                  </a:cubicBezTo>
                  <a:cubicBezTo>
                    <a:pt x="36191" y="9945"/>
                    <a:pt x="35916" y="9791"/>
                    <a:pt x="36122" y="9945"/>
                  </a:cubicBezTo>
                  <a:cubicBezTo>
                    <a:pt x="36035" y="9882"/>
                    <a:pt x="35943" y="9824"/>
                    <a:pt x="35848" y="9773"/>
                  </a:cubicBezTo>
                  <a:lnTo>
                    <a:pt x="35848" y="9773"/>
                  </a:lnTo>
                  <a:cubicBezTo>
                    <a:pt x="35057" y="9155"/>
                    <a:pt x="36586" y="9619"/>
                    <a:pt x="36981" y="9894"/>
                  </a:cubicBezTo>
                  <a:cubicBezTo>
                    <a:pt x="36792" y="9619"/>
                    <a:pt x="36517" y="9567"/>
                    <a:pt x="36260" y="9361"/>
                  </a:cubicBezTo>
                  <a:lnTo>
                    <a:pt x="36260" y="9361"/>
                  </a:lnTo>
                  <a:cubicBezTo>
                    <a:pt x="36260" y="9361"/>
                    <a:pt x="36260" y="9361"/>
                    <a:pt x="36140" y="9361"/>
                  </a:cubicBezTo>
                  <a:lnTo>
                    <a:pt x="36140" y="9361"/>
                  </a:lnTo>
                  <a:lnTo>
                    <a:pt x="35882" y="9155"/>
                  </a:lnTo>
                  <a:cubicBezTo>
                    <a:pt x="36019" y="9155"/>
                    <a:pt x="35624" y="8983"/>
                    <a:pt x="35727" y="8983"/>
                  </a:cubicBezTo>
                  <a:cubicBezTo>
                    <a:pt x="35504" y="8880"/>
                    <a:pt x="34353" y="7918"/>
                    <a:pt x="34594" y="7884"/>
                  </a:cubicBezTo>
                  <a:cubicBezTo>
                    <a:pt x="35435" y="8193"/>
                    <a:pt x="36311" y="9086"/>
                    <a:pt x="37136" y="9602"/>
                  </a:cubicBezTo>
                  <a:lnTo>
                    <a:pt x="37136" y="9602"/>
                  </a:lnTo>
                  <a:cubicBezTo>
                    <a:pt x="37389" y="9800"/>
                    <a:pt x="37614" y="10031"/>
                    <a:pt x="37806" y="10289"/>
                  </a:cubicBezTo>
                  <a:lnTo>
                    <a:pt x="37806" y="10289"/>
                  </a:lnTo>
                  <a:cubicBezTo>
                    <a:pt x="37995" y="10409"/>
                    <a:pt x="37977" y="10581"/>
                    <a:pt x="37806" y="10289"/>
                  </a:cubicBezTo>
                  <a:cubicBezTo>
                    <a:pt x="37806" y="10289"/>
                    <a:pt x="37479" y="10289"/>
                    <a:pt x="37703" y="10426"/>
                  </a:cubicBezTo>
                  <a:cubicBezTo>
                    <a:pt x="38939" y="10701"/>
                    <a:pt x="37256" y="9619"/>
                    <a:pt x="37101" y="9275"/>
                  </a:cubicBezTo>
                  <a:cubicBezTo>
                    <a:pt x="37101" y="9275"/>
                    <a:pt x="37101" y="9275"/>
                    <a:pt x="37101" y="9275"/>
                  </a:cubicBezTo>
                  <a:cubicBezTo>
                    <a:pt x="36284" y="8916"/>
                    <a:pt x="35525" y="8435"/>
                    <a:pt x="34851" y="7850"/>
                  </a:cubicBezTo>
                  <a:cubicBezTo>
                    <a:pt x="35229" y="8021"/>
                    <a:pt x="35573" y="8399"/>
                    <a:pt x="35933" y="8451"/>
                  </a:cubicBezTo>
                  <a:cubicBezTo>
                    <a:pt x="35796" y="8262"/>
                    <a:pt x="36208" y="8571"/>
                    <a:pt x="36105" y="8451"/>
                  </a:cubicBezTo>
                  <a:cubicBezTo>
                    <a:pt x="35827" y="8436"/>
                    <a:pt x="35564" y="8320"/>
                    <a:pt x="35367" y="8125"/>
                  </a:cubicBezTo>
                  <a:cubicBezTo>
                    <a:pt x="35727" y="8279"/>
                    <a:pt x="35367" y="8125"/>
                    <a:pt x="35367" y="8039"/>
                  </a:cubicBezTo>
                  <a:lnTo>
                    <a:pt x="35367" y="8039"/>
                  </a:lnTo>
                  <a:cubicBezTo>
                    <a:pt x="34886" y="7455"/>
                    <a:pt x="37084" y="8880"/>
                    <a:pt x="36363" y="8331"/>
                  </a:cubicBezTo>
                  <a:cubicBezTo>
                    <a:pt x="36637" y="8531"/>
                    <a:pt x="36938" y="8693"/>
                    <a:pt x="37256" y="8812"/>
                  </a:cubicBezTo>
                  <a:cubicBezTo>
                    <a:pt x="36947" y="8605"/>
                    <a:pt x="37256" y="8691"/>
                    <a:pt x="37428" y="8812"/>
                  </a:cubicBezTo>
                  <a:cubicBezTo>
                    <a:pt x="37325" y="8709"/>
                    <a:pt x="37033" y="8588"/>
                    <a:pt x="37101" y="8709"/>
                  </a:cubicBezTo>
                  <a:cubicBezTo>
                    <a:pt x="36569" y="8468"/>
                    <a:pt x="36019" y="8056"/>
                    <a:pt x="35384" y="7798"/>
                  </a:cubicBezTo>
                  <a:cubicBezTo>
                    <a:pt x="35212" y="7798"/>
                    <a:pt x="34405" y="7403"/>
                    <a:pt x="34525" y="7231"/>
                  </a:cubicBezTo>
                  <a:cubicBezTo>
                    <a:pt x="34284" y="6922"/>
                    <a:pt x="34697" y="7334"/>
                    <a:pt x="34851" y="7317"/>
                  </a:cubicBezTo>
                  <a:cubicBezTo>
                    <a:pt x="34628" y="7317"/>
                    <a:pt x="34491" y="7042"/>
                    <a:pt x="34267" y="7008"/>
                  </a:cubicBezTo>
                  <a:cubicBezTo>
                    <a:pt x="34044" y="6974"/>
                    <a:pt x="34061" y="7008"/>
                    <a:pt x="34027" y="6922"/>
                  </a:cubicBezTo>
                  <a:cubicBezTo>
                    <a:pt x="33992" y="6836"/>
                    <a:pt x="34130" y="6922"/>
                    <a:pt x="34027" y="6922"/>
                  </a:cubicBezTo>
                  <a:cubicBezTo>
                    <a:pt x="33924" y="6922"/>
                    <a:pt x="33838" y="6836"/>
                    <a:pt x="33872" y="6922"/>
                  </a:cubicBezTo>
                  <a:cubicBezTo>
                    <a:pt x="33907" y="7008"/>
                    <a:pt x="33683" y="6802"/>
                    <a:pt x="33872" y="6922"/>
                  </a:cubicBezTo>
                  <a:lnTo>
                    <a:pt x="33615" y="6768"/>
                  </a:lnTo>
                  <a:cubicBezTo>
                    <a:pt x="33615" y="6768"/>
                    <a:pt x="33615" y="6768"/>
                    <a:pt x="33615" y="6768"/>
                  </a:cubicBezTo>
                  <a:lnTo>
                    <a:pt x="33168" y="6458"/>
                  </a:lnTo>
                  <a:lnTo>
                    <a:pt x="33168" y="6458"/>
                  </a:lnTo>
                  <a:cubicBezTo>
                    <a:pt x="33086" y="6395"/>
                    <a:pt x="33000" y="6338"/>
                    <a:pt x="32910" y="6287"/>
                  </a:cubicBezTo>
                  <a:lnTo>
                    <a:pt x="32910" y="6287"/>
                  </a:lnTo>
                  <a:lnTo>
                    <a:pt x="32910" y="6287"/>
                  </a:lnTo>
                  <a:lnTo>
                    <a:pt x="32910" y="6287"/>
                  </a:lnTo>
                  <a:lnTo>
                    <a:pt x="32687" y="6184"/>
                  </a:lnTo>
                  <a:lnTo>
                    <a:pt x="32687" y="6184"/>
                  </a:lnTo>
                  <a:cubicBezTo>
                    <a:pt x="32687" y="6184"/>
                    <a:pt x="32515" y="6184"/>
                    <a:pt x="32687" y="6184"/>
                  </a:cubicBezTo>
                  <a:lnTo>
                    <a:pt x="32687" y="6184"/>
                  </a:lnTo>
                  <a:lnTo>
                    <a:pt x="32687" y="6184"/>
                  </a:lnTo>
                  <a:lnTo>
                    <a:pt x="32962" y="6287"/>
                  </a:lnTo>
                  <a:lnTo>
                    <a:pt x="32739" y="6184"/>
                  </a:lnTo>
                  <a:lnTo>
                    <a:pt x="32893" y="6184"/>
                  </a:lnTo>
                  <a:lnTo>
                    <a:pt x="32807" y="6184"/>
                  </a:lnTo>
                  <a:cubicBezTo>
                    <a:pt x="32762" y="6174"/>
                    <a:pt x="32715" y="6174"/>
                    <a:pt x="32670" y="6184"/>
                  </a:cubicBezTo>
                  <a:lnTo>
                    <a:pt x="32670" y="6184"/>
                  </a:lnTo>
                  <a:cubicBezTo>
                    <a:pt x="32625" y="6193"/>
                    <a:pt x="32578" y="6193"/>
                    <a:pt x="32532" y="6184"/>
                  </a:cubicBezTo>
                  <a:lnTo>
                    <a:pt x="32876" y="6304"/>
                  </a:lnTo>
                  <a:cubicBezTo>
                    <a:pt x="32750" y="6242"/>
                    <a:pt x="32618" y="6196"/>
                    <a:pt x="32481" y="6166"/>
                  </a:cubicBezTo>
                  <a:lnTo>
                    <a:pt x="32481" y="6166"/>
                  </a:lnTo>
                  <a:cubicBezTo>
                    <a:pt x="32481" y="6166"/>
                    <a:pt x="32292" y="6166"/>
                    <a:pt x="32343" y="6166"/>
                  </a:cubicBezTo>
                  <a:cubicBezTo>
                    <a:pt x="32395" y="6166"/>
                    <a:pt x="32343" y="6166"/>
                    <a:pt x="32343" y="6166"/>
                  </a:cubicBezTo>
                  <a:lnTo>
                    <a:pt x="32343" y="6166"/>
                  </a:lnTo>
                  <a:lnTo>
                    <a:pt x="32206" y="6166"/>
                  </a:lnTo>
                  <a:lnTo>
                    <a:pt x="32206" y="6166"/>
                  </a:lnTo>
                  <a:lnTo>
                    <a:pt x="31742" y="6029"/>
                  </a:lnTo>
                  <a:lnTo>
                    <a:pt x="31742" y="6029"/>
                  </a:lnTo>
                  <a:cubicBezTo>
                    <a:pt x="31571" y="6029"/>
                    <a:pt x="30763" y="5720"/>
                    <a:pt x="30952" y="5754"/>
                  </a:cubicBezTo>
                  <a:lnTo>
                    <a:pt x="30952" y="5754"/>
                  </a:lnTo>
                  <a:lnTo>
                    <a:pt x="31055" y="5754"/>
                  </a:lnTo>
                  <a:lnTo>
                    <a:pt x="31055" y="5754"/>
                  </a:lnTo>
                  <a:cubicBezTo>
                    <a:pt x="31244" y="5754"/>
                    <a:pt x="31416" y="5857"/>
                    <a:pt x="31605" y="5909"/>
                  </a:cubicBezTo>
                  <a:lnTo>
                    <a:pt x="31416" y="5909"/>
                  </a:lnTo>
                  <a:lnTo>
                    <a:pt x="31588" y="5909"/>
                  </a:lnTo>
                  <a:lnTo>
                    <a:pt x="31485" y="5909"/>
                  </a:lnTo>
                  <a:cubicBezTo>
                    <a:pt x="31588" y="5909"/>
                    <a:pt x="31364" y="5909"/>
                    <a:pt x="31485" y="5909"/>
                  </a:cubicBezTo>
                  <a:lnTo>
                    <a:pt x="31485" y="5909"/>
                  </a:lnTo>
                  <a:cubicBezTo>
                    <a:pt x="31794" y="5995"/>
                    <a:pt x="32481" y="6201"/>
                    <a:pt x="31811" y="5909"/>
                  </a:cubicBezTo>
                  <a:lnTo>
                    <a:pt x="31811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2292" y="6046"/>
                  </a:lnTo>
                  <a:lnTo>
                    <a:pt x="32051" y="6046"/>
                  </a:lnTo>
                  <a:lnTo>
                    <a:pt x="32378" y="6046"/>
                  </a:lnTo>
                  <a:lnTo>
                    <a:pt x="32635" y="6046"/>
                  </a:lnTo>
                  <a:lnTo>
                    <a:pt x="32635" y="6046"/>
                  </a:lnTo>
                  <a:cubicBezTo>
                    <a:pt x="32412" y="6046"/>
                    <a:pt x="32635" y="6046"/>
                    <a:pt x="32773" y="6046"/>
                  </a:cubicBezTo>
                  <a:lnTo>
                    <a:pt x="32773" y="6046"/>
                  </a:lnTo>
                  <a:lnTo>
                    <a:pt x="32773" y="6046"/>
                  </a:lnTo>
                  <a:cubicBezTo>
                    <a:pt x="33198" y="6156"/>
                    <a:pt x="33612" y="6306"/>
                    <a:pt x="34010" y="6493"/>
                  </a:cubicBezTo>
                  <a:cubicBezTo>
                    <a:pt x="34010" y="6493"/>
                    <a:pt x="34010" y="6493"/>
                    <a:pt x="34010" y="6493"/>
                  </a:cubicBezTo>
                  <a:cubicBezTo>
                    <a:pt x="34010" y="6493"/>
                    <a:pt x="34456" y="6665"/>
                    <a:pt x="34645" y="6768"/>
                  </a:cubicBezTo>
                  <a:lnTo>
                    <a:pt x="34645" y="6768"/>
                  </a:lnTo>
                  <a:lnTo>
                    <a:pt x="35470" y="7163"/>
                  </a:lnTo>
                  <a:cubicBezTo>
                    <a:pt x="35212" y="7025"/>
                    <a:pt x="34954" y="6871"/>
                    <a:pt x="34662" y="6733"/>
                  </a:cubicBezTo>
                  <a:lnTo>
                    <a:pt x="34662" y="6733"/>
                  </a:lnTo>
                  <a:lnTo>
                    <a:pt x="34353" y="6596"/>
                  </a:lnTo>
                  <a:lnTo>
                    <a:pt x="34491" y="6596"/>
                  </a:lnTo>
                  <a:cubicBezTo>
                    <a:pt x="34491" y="6596"/>
                    <a:pt x="34044" y="6441"/>
                    <a:pt x="34250" y="6493"/>
                  </a:cubicBezTo>
                  <a:lnTo>
                    <a:pt x="34113" y="6493"/>
                  </a:lnTo>
                  <a:lnTo>
                    <a:pt x="34422" y="6596"/>
                  </a:lnTo>
                  <a:cubicBezTo>
                    <a:pt x="34327" y="6538"/>
                    <a:pt x="34222" y="6497"/>
                    <a:pt x="34113" y="6476"/>
                  </a:cubicBezTo>
                  <a:cubicBezTo>
                    <a:pt x="34287" y="6517"/>
                    <a:pt x="34459" y="6568"/>
                    <a:pt x="34628" y="6630"/>
                  </a:cubicBezTo>
                  <a:lnTo>
                    <a:pt x="34473" y="6630"/>
                  </a:lnTo>
                  <a:lnTo>
                    <a:pt x="34473" y="6630"/>
                  </a:lnTo>
                  <a:lnTo>
                    <a:pt x="33700" y="4827"/>
                  </a:lnTo>
                  <a:cubicBezTo>
                    <a:pt x="42679" y="7791"/>
                    <a:pt x="48892" y="15993"/>
                    <a:pt x="49314" y="25438"/>
                  </a:cubicBezTo>
                  <a:cubicBezTo>
                    <a:pt x="49301" y="25780"/>
                    <a:pt x="49255" y="26119"/>
                    <a:pt x="49177" y="26452"/>
                  </a:cubicBezTo>
                  <a:cubicBezTo>
                    <a:pt x="49245" y="26349"/>
                    <a:pt x="49159" y="26538"/>
                    <a:pt x="49159" y="26589"/>
                  </a:cubicBezTo>
                  <a:close/>
                </a:path>
              </a:pathLst>
            </a:custGeom>
            <a:solidFill>
              <a:srgbClr val="00B0F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B4B4B4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6" name="Google Shape;156;p58"/>
            <p:cNvSpPr/>
            <p:nvPr/>
          </p:nvSpPr>
          <p:spPr>
            <a:xfrm rot="-5400000">
              <a:off x="12026199" y="6563439"/>
              <a:ext cx="13277" cy="68070"/>
            </a:xfrm>
            <a:custGeom>
              <a:avLst/>
              <a:gdLst/>
              <a:ahLst/>
              <a:cxnLst/>
              <a:rect l="l" t="t" r="r" b="b"/>
              <a:pathLst>
                <a:path w="13277" h="68070" extrusionOk="0">
                  <a:moveTo>
                    <a:pt x="13277" y="12024"/>
                  </a:moveTo>
                  <a:lnTo>
                    <a:pt x="0" y="12024"/>
                  </a:lnTo>
                  <a:lnTo>
                    <a:pt x="0" y="0"/>
                  </a:lnTo>
                  <a:lnTo>
                    <a:pt x="13277" y="0"/>
                  </a:lnTo>
                  <a:close/>
                  <a:moveTo>
                    <a:pt x="0" y="17984"/>
                  </a:moveTo>
                  <a:lnTo>
                    <a:pt x="13277" y="17984"/>
                  </a:lnTo>
                  <a:lnTo>
                    <a:pt x="13277" y="68070"/>
                  </a:lnTo>
                  <a:lnTo>
                    <a:pt x="0" y="68070"/>
                  </a:lnTo>
                  <a:close/>
                </a:path>
              </a:pathLst>
            </a:custGeom>
            <a:solidFill>
              <a:srgbClr val="00B0F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B4B4B4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7" name="Google Shape;157;p58"/>
            <p:cNvSpPr/>
            <p:nvPr/>
          </p:nvSpPr>
          <p:spPr>
            <a:xfrm rot="-5400000">
              <a:off x="12018640" y="6529825"/>
              <a:ext cx="45208" cy="51256"/>
            </a:xfrm>
            <a:custGeom>
              <a:avLst/>
              <a:gdLst/>
              <a:ahLst/>
              <a:cxnLst/>
              <a:rect l="l" t="t" r="r" b="b"/>
              <a:pathLst>
                <a:path w="45208" h="51256" extrusionOk="0">
                  <a:moveTo>
                    <a:pt x="40279" y="4038"/>
                  </a:moveTo>
                  <a:cubicBezTo>
                    <a:pt x="43565" y="6752"/>
                    <a:pt x="45209" y="11246"/>
                    <a:pt x="45209" y="17521"/>
                  </a:cubicBezTo>
                  <a:lnTo>
                    <a:pt x="45209" y="51256"/>
                  </a:lnTo>
                  <a:lnTo>
                    <a:pt x="31794" y="51256"/>
                  </a:lnTo>
                  <a:lnTo>
                    <a:pt x="31794" y="20785"/>
                  </a:lnTo>
                  <a:cubicBezTo>
                    <a:pt x="31892" y="18712"/>
                    <a:pt x="31535" y="16642"/>
                    <a:pt x="30746" y="14722"/>
                  </a:cubicBezTo>
                  <a:cubicBezTo>
                    <a:pt x="29458" y="12162"/>
                    <a:pt x="27036" y="10874"/>
                    <a:pt x="23446" y="10874"/>
                  </a:cubicBezTo>
                  <a:cubicBezTo>
                    <a:pt x="19509" y="10574"/>
                    <a:pt x="15832" y="12861"/>
                    <a:pt x="14360" y="16525"/>
                  </a:cubicBezTo>
                  <a:cubicBezTo>
                    <a:pt x="13437" y="18959"/>
                    <a:pt x="13005" y="21550"/>
                    <a:pt x="13089" y="24152"/>
                  </a:cubicBezTo>
                  <a:lnTo>
                    <a:pt x="13089" y="51256"/>
                  </a:lnTo>
                  <a:lnTo>
                    <a:pt x="0" y="51256"/>
                  </a:lnTo>
                  <a:lnTo>
                    <a:pt x="0" y="1272"/>
                  </a:lnTo>
                  <a:lnTo>
                    <a:pt x="12676" y="1272"/>
                  </a:lnTo>
                  <a:lnTo>
                    <a:pt x="12676" y="8607"/>
                  </a:lnTo>
                  <a:cubicBezTo>
                    <a:pt x="13939" y="6498"/>
                    <a:pt x="15548" y="4617"/>
                    <a:pt x="17434" y="3042"/>
                  </a:cubicBezTo>
                  <a:cubicBezTo>
                    <a:pt x="20409" y="938"/>
                    <a:pt x="23996" y="-125"/>
                    <a:pt x="27637" y="19"/>
                  </a:cubicBezTo>
                  <a:cubicBezTo>
                    <a:pt x="32194" y="-181"/>
                    <a:pt x="36674" y="1243"/>
                    <a:pt x="40279" y="4038"/>
                  </a:cubicBezTo>
                  <a:close/>
                </a:path>
              </a:pathLst>
            </a:custGeom>
            <a:solidFill>
              <a:srgbClr val="00B0F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B4B4B4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8" name="Google Shape;158;p58"/>
            <p:cNvSpPr/>
            <p:nvPr/>
          </p:nvSpPr>
          <p:spPr>
            <a:xfrm rot="-5400000">
              <a:off x="12018195" y="6477145"/>
              <a:ext cx="28942" cy="68414"/>
            </a:xfrm>
            <a:custGeom>
              <a:avLst/>
              <a:gdLst/>
              <a:ahLst/>
              <a:cxnLst/>
              <a:rect l="l" t="t" r="r" b="b"/>
              <a:pathLst>
                <a:path w="28942" h="68414" extrusionOk="0">
                  <a:moveTo>
                    <a:pt x="25868" y="0"/>
                  </a:moveTo>
                  <a:lnTo>
                    <a:pt x="28616" y="206"/>
                  </a:lnTo>
                  <a:lnTo>
                    <a:pt x="28616" y="10941"/>
                  </a:lnTo>
                  <a:cubicBezTo>
                    <a:pt x="27390" y="10808"/>
                    <a:pt x="26157" y="10739"/>
                    <a:pt x="24923" y="10735"/>
                  </a:cubicBezTo>
                  <a:cubicBezTo>
                    <a:pt x="23616" y="10538"/>
                    <a:pt x="22290" y="10956"/>
                    <a:pt x="21333" y="11869"/>
                  </a:cubicBezTo>
                  <a:cubicBezTo>
                    <a:pt x="20704" y="12627"/>
                    <a:pt x="20358" y="13580"/>
                    <a:pt x="20354" y="14566"/>
                  </a:cubicBezTo>
                  <a:lnTo>
                    <a:pt x="20354" y="18791"/>
                  </a:lnTo>
                  <a:lnTo>
                    <a:pt x="28943" y="18791"/>
                  </a:lnTo>
                  <a:lnTo>
                    <a:pt x="28943" y="28032"/>
                  </a:lnTo>
                  <a:lnTo>
                    <a:pt x="20354" y="28032"/>
                  </a:lnTo>
                  <a:lnTo>
                    <a:pt x="20354" y="68414"/>
                  </a:lnTo>
                  <a:lnTo>
                    <a:pt x="7352" y="68414"/>
                  </a:lnTo>
                  <a:lnTo>
                    <a:pt x="7352" y="28032"/>
                  </a:lnTo>
                  <a:lnTo>
                    <a:pt x="0" y="28032"/>
                  </a:lnTo>
                  <a:lnTo>
                    <a:pt x="0" y="18791"/>
                  </a:lnTo>
                  <a:lnTo>
                    <a:pt x="7163" y="18791"/>
                  </a:lnTo>
                  <a:lnTo>
                    <a:pt x="7163" y="15579"/>
                  </a:lnTo>
                  <a:cubicBezTo>
                    <a:pt x="7163" y="10220"/>
                    <a:pt x="8067" y="6527"/>
                    <a:pt x="9877" y="4500"/>
                  </a:cubicBezTo>
                  <a:cubicBezTo>
                    <a:pt x="11783" y="1494"/>
                    <a:pt x="16352" y="0"/>
                    <a:pt x="23618" y="0"/>
                  </a:cubicBezTo>
                  <a:cubicBezTo>
                    <a:pt x="24442" y="0"/>
                    <a:pt x="25198" y="0"/>
                    <a:pt x="25868" y="0"/>
                  </a:cubicBezTo>
                  <a:close/>
                </a:path>
              </a:pathLst>
            </a:custGeom>
            <a:solidFill>
              <a:srgbClr val="00B0F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B4B4B4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9" name="Google Shape;159;p58"/>
            <p:cNvSpPr/>
            <p:nvPr/>
          </p:nvSpPr>
          <p:spPr>
            <a:xfrm rot="-5400000">
              <a:off x="12016830" y="6161182"/>
              <a:ext cx="49036" cy="51048"/>
            </a:xfrm>
            <a:custGeom>
              <a:avLst/>
              <a:gdLst/>
              <a:ahLst/>
              <a:cxnLst/>
              <a:rect l="l" t="t" r="r" b="b"/>
              <a:pathLst>
                <a:path w="49036" h="51048" extrusionOk="0">
                  <a:moveTo>
                    <a:pt x="42949" y="43542"/>
                  </a:moveTo>
                  <a:cubicBezTo>
                    <a:pt x="38907" y="48535"/>
                    <a:pt x="32763" y="51037"/>
                    <a:pt x="24519" y="51049"/>
                  </a:cubicBezTo>
                  <a:cubicBezTo>
                    <a:pt x="16274" y="51060"/>
                    <a:pt x="10125" y="48558"/>
                    <a:pt x="6071" y="43542"/>
                  </a:cubicBezTo>
                  <a:cubicBezTo>
                    <a:pt x="2000" y="38452"/>
                    <a:pt x="-145" y="32091"/>
                    <a:pt x="8" y="25576"/>
                  </a:cubicBezTo>
                  <a:cubicBezTo>
                    <a:pt x="-130" y="19058"/>
                    <a:pt x="2016" y="12697"/>
                    <a:pt x="6071" y="7592"/>
                  </a:cubicBezTo>
                  <a:cubicBezTo>
                    <a:pt x="10125" y="2519"/>
                    <a:pt x="16274" y="-11"/>
                    <a:pt x="24519" y="0"/>
                  </a:cubicBezTo>
                  <a:cubicBezTo>
                    <a:pt x="32763" y="12"/>
                    <a:pt x="38907" y="2542"/>
                    <a:pt x="42949" y="7592"/>
                  </a:cubicBezTo>
                  <a:cubicBezTo>
                    <a:pt x="47010" y="12695"/>
                    <a:pt x="49160" y="19056"/>
                    <a:pt x="49030" y="25576"/>
                  </a:cubicBezTo>
                  <a:cubicBezTo>
                    <a:pt x="49177" y="32093"/>
                    <a:pt x="47023" y="38454"/>
                    <a:pt x="42949" y="43542"/>
                  </a:cubicBezTo>
                  <a:close/>
                  <a:moveTo>
                    <a:pt x="32918" y="36672"/>
                  </a:moveTo>
                  <a:cubicBezTo>
                    <a:pt x="35077" y="33390"/>
                    <a:pt x="36115" y="29497"/>
                    <a:pt x="35872" y="25576"/>
                  </a:cubicBezTo>
                  <a:cubicBezTo>
                    <a:pt x="36123" y="21654"/>
                    <a:pt x="35086" y="17758"/>
                    <a:pt x="32918" y="14480"/>
                  </a:cubicBezTo>
                  <a:cubicBezTo>
                    <a:pt x="28893" y="9808"/>
                    <a:pt x="21844" y="9283"/>
                    <a:pt x="17172" y="13307"/>
                  </a:cubicBezTo>
                  <a:cubicBezTo>
                    <a:pt x="16753" y="13668"/>
                    <a:pt x="16360" y="14060"/>
                    <a:pt x="15999" y="14480"/>
                  </a:cubicBezTo>
                  <a:cubicBezTo>
                    <a:pt x="13826" y="17756"/>
                    <a:pt x="12782" y="21652"/>
                    <a:pt x="13027" y="25576"/>
                  </a:cubicBezTo>
                  <a:cubicBezTo>
                    <a:pt x="12782" y="29510"/>
                    <a:pt x="13824" y="33418"/>
                    <a:pt x="15999" y="36706"/>
                  </a:cubicBezTo>
                  <a:cubicBezTo>
                    <a:pt x="19994" y="41378"/>
                    <a:pt x="27020" y="41927"/>
                    <a:pt x="31692" y="37932"/>
                  </a:cubicBezTo>
                  <a:cubicBezTo>
                    <a:pt x="32131" y="37556"/>
                    <a:pt x="32542" y="37146"/>
                    <a:pt x="32918" y="36706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B4B4B4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0" name="Google Shape;160;p58"/>
            <p:cNvSpPr/>
            <p:nvPr/>
          </p:nvSpPr>
          <p:spPr>
            <a:xfrm rot="-5400000">
              <a:off x="12005374" y="6370523"/>
              <a:ext cx="71791" cy="51205"/>
            </a:xfrm>
            <a:custGeom>
              <a:avLst/>
              <a:gdLst/>
              <a:ahLst/>
              <a:cxnLst/>
              <a:rect l="l" t="t" r="r" b="b"/>
              <a:pathLst>
                <a:path w="71791" h="51205" extrusionOk="0">
                  <a:moveTo>
                    <a:pt x="62643" y="1307"/>
                  </a:moveTo>
                  <a:cubicBezTo>
                    <a:pt x="64938" y="2282"/>
                    <a:pt x="66944" y="3832"/>
                    <a:pt x="68466" y="5808"/>
                  </a:cubicBezTo>
                  <a:cubicBezTo>
                    <a:pt x="69936" y="7685"/>
                    <a:pt x="70917" y="9898"/>
                    <a:pt x="71317" y="12249"/>
                  </a:cubicBezTo>
                  <a:cubicBezTo>
                    <a:pt x="71680" y="14693"/>
                    <a:pt x="71834" y="17164"/>
                    <a:pt x="71781" y="19635"/>
                  </a:cubicBezTo>
                  <a:lnTo>
                    <a:pt x="71781" y="51205"/>
                  </a:lnTo>
                  <a:lnTo>
                    <a:pt x="58349" y="51205"/>
                  </a:lnTo>
                  <a:lnTo>
                    <a:pt x="58349" y="19308"/>
                  </a:lnTo>
                  <a:cubicBezTo>
                    <a:pt x="58414" y="17701"/>
                    <a:pt x="58101" y="16101"/>
                    <a:pt x="57438" y="14636"/>
                  </a:cubicBezTo>
                  <a:cubicBezTo>
                    <a:pt x="56188" y="12289"/>
                    <a:pt x="53642" y="10931"/>
                    <a:pt x="50997" y="11201"/>
                  </a:cubicBezTo>
                  <a:cubicBezTo>
                    <a:pt x="47802" y="10957"/>
                    <a:pt x="44803" y="12763"/>
                    <a:pt x="43525" y="15701"/>
                  </a:cubicBezTo>
                  <a:cubicBezTo>
                    <a:pt x="42766" y="17522"/>
                    <a:pt x="42404" y="19483"/>
                    <a:pt x="42460" y="21455"/>
                  </a:cubicBezTo>
                  <a:lnTo>
                    <a:pt x="42460" y="51205"/>
                  </a:lnTo>
                  <a:lnTo>
                    <a:pt x="29269" y="51205"/>
                  </a:lnTo>
                  <a:lnTo>
                    <a:pt x="29269" y="21387"/>
                  </a:lnTo>
                  <a:cubicBezTo>
                    <a:pt x="29389" y="19189"/>
                    <a:pt x="29080" y="16990"/>
                    <a:pt x="28359" y="14911"/>
                  </a:cubicBezTo>
                  <a:cubicBezTo>
                    <a:pt x="27192" y="12446"/>
                    <a:pt x="24595" y="10986"/>
                    <a:pt x="21883" y="11270"/>
                  </a:cubicBezTo>
                  <a:cubicBezTo>
                    <a:pt x="18138" y="11270"/>
                    <a:pt x="15626" y="12484"/>
                    <a:pt x="14342" y="14911"/>
                  </a:cubicBezTo>
                  <a:cubicBezTo>
                    <a:pt x="13527" y="16854"/>
                    <a:pt x="13162" y="18956"/>
                    <a:pt x="13277" y="21060"/>
                  </a:cubicBezTo>
                  <a:lnTo>
                    <a:pt x="13277" y="51205"/>
                  </a:lnTo>
                  <a:lnTo>
                    <a:pt x="0" y="51205"/>
                  </a:lnTo>
                  <a:lnTo>
                    <a:pt x="0" y="1221"/>
                  </a:lnTo>
                  <a:lnTo>
                    <a:pt x="12728" y="1221"/>
                  </a:lnTo>
                  <a:lnTo>
                    <a:pt x="12728" y="8556"/>
                  </a:lnTo>
                  <a:cubicBezTo>
                    <a:pt x="13930" y="6449"/>
                    <a:pt x="15488" y="4567"/>
                    <a:pt x="17331" y="2991"/>
                  </a:cubicBezTo>
                  <a:cubicBezTo>
                    <a:pt x="23120" y="-769"/>
                    <a:pt x="30538" y="-929"/>
                    <a:pt x="36483" y="2578"/>
                  </a:cubicBezTo>
                  <a:cubicBezTo>
                    <a:pt x="38381" y="4179"/>
                    <a:pt x="39841" y="6236"/>
                    <a:pt x="40726" y="8556"/>
                  </a:cubicBezTo>
                  <a:cubicBezTo>
                    <a:pt x="42206" y="5843"/>
                    <a:pt x="44413" y="3595"/>
                    <a:pt x="47098" y="2063"/>
                  </a:cubicBezTo>
                  <a:cubicBezTo>
                    <a:pt x="49896" y="665"/>
                    <a:pt x="52988" y="-42"/>
                    <a:pt x="56116" y="2"/>
                  </a:cubicBezTo>
                  <a:cubicBezTo>
                    <a:pt x="58356" y="15"/>
                    <a:pt x="60571" y="458"/>
                    <a:pt x="62643" y="1307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B4B4B4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1" name="Google Shape;161;p58"/>
            <p:cNvSpPr/>
            <p:nvPr/>
          </p:nvSpPr>
          <p:spPr>
            <a:xfrm rot="-5400000">
              <a:off x="12026199" y="6307354"/>
              <a:ext cx="13277" cy="68070"/>
            </a:xfrm>
            <a:custGeom>
              <a:avLst/>
              <a:gdLst/>
              <a:ahLst/>
              <a:cxnLst/>
              <a:rect l="l" t="t" r="r" b="b"/>
              <a:pathLst>
                <a:path w="13277" h="68070" extrusionOk="0">
                  <a:moveTo>
                    <a:pt x="13278" y="12024"/>
                  </a:moveTo>
                  <a:lnTo>
                    <a:pt x="0" y="12024"/>
                  </a:lnTo>
                  <a:lnTo>
                    <a:pt x="0" y="0"/>
                  </a:lnTo>
                  <a:lnTo>
                    <a:pt x="13278" y="0"/>
                  </a:lnTo>
                  <a:close/>
                  <a:moveTo>
                    <a:pt x="0" y="17984"/>
                  </a:moveTo>
                  <a:lnTo>
                    <a:pt x="13278" y="17984"/>
                  </a:lnTo>
                  <a:lnTo>
                    <a:pt x="13278" y="68070"/>
                  </a:lnTo>
                  <a:lnTo>
                    <a:pt x="0" y="6807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B4B4B4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2" name="Google Shape;162;p58"/>
            <p:cNvSpPr/>
            <p:nvPr/>
          </p:nvSpPr>
          <p:spPr>
            <a:xfrm rot="-5400000">
              <a:off x="12018641" y="6273739"/>
              <a:ext cx="45208" cy="51255"/>
            </a:xfrm>
            <a:custGeom>
              <a:avLst/>
              <a:gdLst/>
              <a:ahLst/>
              <a:cxnLst/>
              <a:rect l="l" t="t" r="r" b="b"/>
              <a:pathLst>
                <a:path w="45208" h="51255" extrusionOk="0">
                  <a:moveTo>
                    <a:pt x="40296" y="4038"/>
                  </a:moveTo>
                  <a:cubicBezTo>
                    <a:pt x="43560" y="6752"/>
                    <a:pt x="45209" y="11252"/>
                    <a:pt x="45209" y="17521"/>
                  </a:cubicBezTo>
                  <a:lnTo>
                    <a:pt x="45209" y="51256"/>
                  </a:lnTo>
                  <a:lnTo>
                    <a:pt x="31794" y="51256"/>
                  </a:lnTo>
                  <a:lnTo>
                    <a:pt x="31794" y="20785"/>
                  </a:lnTo>
                  <a:cubicBezTo>
                    <a:pt x="31900" y="18711"/>
                    <a:pt x="31543" y="16639"/>
                    <a:pt x="30746" y="14722"/>
                  </a:cubicBezTo>
                  <a:cubicBezTo>
                    <a:pt x="29458" y="12162"/>
                    <a:pt x="27036" y="10874"/>
                    <a:pt x="23446" y="10874"/>
                  </a:cubicBezTo>
                  <a:cubicBezTo>
                    <a:pt x="19511" y="10565"/>
                    <a:pt x="15833" y="12857"/>
                    <a:pt x="14377" y="16525"/>
                  </a:cubicBezTo>
                  <a:cubicBezTo>
                    <a:pt x="13439" y="18955"/>
                    <a:pt x="13001" y="21549"/>
                    <a:pt x="13089" y="24151"/>
                  </a:cubicBezTo>
                  <a:lnTo>
                    <a:pt x="13089" y="51256"/>
                  </a:lnTo>
                  <a:lnTo>
                    <a:pt x="0" y="51256"/>
                  </a:lnTo>
                  <a:lnTo>
                    <a:pt x="0" y="1272"/>
                  </a:lnTo>
                  <a:lnTo>
                    <a:pt x="12676" y="1272"/>
                  </a:lnTo>
                  <a:lnTo>
                    <a:pt x="12676" y="8607"/>
                  </a:lnTo>
                  <a:cubicBezTo>
                    <a:pt x="13946" y="6502"/>
                    <a:pt x="15553" y="4622"/>
                    <a:pt x="17434" y="3042"/>
                  </a:cubicBezTo>
                  <a:cubicBezTo>
                    <a:pt x="20409" y="938"/>
                    <a:pt x="23996" y="-125"/>
                    <a:pt x="27637" y="18"/>
                  </a:cubicBezTo>
                  <a:cubicBezTo>
                    <a:pt x="32199" y="-181"/>
                    <a:pt x="36684" y="1243"/>
                    <a:pt x="40296" y="403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B4B4B4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3" name="Google Shape;163;p58"/>
            <p:cNvSpPr/>
            <p:nvPr/>
          </p:nvSpPr>
          <p:spPr>
            <a:xfrm rot="-5400000">
              <a:off x="12017163" y="6218687"/>
              <a:ext cx="48082" cy="51510"/>
            </a:xfrm>
            <a:custGeom>
              <a:avLst/>
              <a:gdLst/>
              <a:ahLst/>
              <a:cxnLst/>
              <a:rect l="l" t="t" r="r" b="b"/>
              <a:pathLst>
                <a:path w="48082" h="51510" extrusionOk="0">
                  <a:moveTo>
                    <a:pt x="35384" y="2281"/>
                  </a:moveTo>
                  <a:cubicBezTo>
                    <a:pt x="38804" y="3821"/>
                    <a:pt x="41712" y="6306"/>
                    <a:pt x="43766" y="9444"/>
                  </a:cubicBezTo>
                  <a:cubicBezTo>
                    <a:pt x="45803" y="12448"/>
                    <a:pt x="47126" y="15880"/>
                    <a:pt x="47631" y="19475"/>
                  </a:cubicBezTo>
                  <a:cubicBezTo>
                    <a:pt x="48021" y="22665"/>
                    <a:pt x="48160" y="25881"/>
                    <a:pt x="48043" y="29094"/>
                  </a:cubicBezTo>
                  <a:lnTo>
                    <a:pt x="12711" y="29094"/>
                  </a:lnTo>
                  <a:cubicBezTo>
                    <a:pt x="12900" y="33955"/>
                    <a:pt x="14600" y="37373"/>
                    <a:pt x="17778" y="39400"/>
                  </a:cubicBezTo>
                  <a:cubicBezTo>
                    <a:pt x="19884" y="40669"/>
                    <a:pt x="22311" y="41306"/>
                    <a:pt x="24769" y="41237"/>
                  </a:cubicBezTo>
                  <a:cubicBezTo>
                    <a:pt x="27307" y="41354"/>
                    <a:pt x="29803" y="40563"/>
                    <a:pt x="31811" y="39004"/>
                  </a:cubicBezTo>
                  <a:cubicBezTo>
                    <a:pt x="32891" y="38080"/>
                    <a:pt x="33774" y="36947"/>
                    <a:pt x="34405" y="35672"/>
                  </a:cubicBezTo>
                  <a:lnTo>
                    <a:pt x="47407" y="35672"/>
                  </a:lnTo>
                  <a:cubicBezTo>
                    <a:pt x="46818" y="39021"/>
                    <a:pt x="45169" y="42092"/>
                    <a:pt x="42701" y="44432"/>
                  </a:cubicBezTo>
                  <a:cubicBezTo>
                    <a:pt x="38355" y="49156"/>
                    <a:pt x="32292" y="51509"/>
                    <a:pt x="24459" y="51509"/>
                  </a:cubicBezTo>
                  <a:cubicBezTo>
                    <a:pt x="18245" y="51584"/>
                    <a:pt x="12202" y="49474"/>
                    <a:pt x="7386" y="45549"/>
                  </a:cubicBezTo>
                  <a:cubicBezTo>
                    <a:pt x="2461" y="41564"/>
                    <a:pt x="0" y="35094"/>
                    <a:pt x="0" y="26139"/>
                  </a:cubicBezTo>
                  <a:cubicBezTo>
                    <a:pt x="0" y="17746"/>
                    <a:pt x="2228" y="11304"/>
                    <a:pt x="6682" y="6816"/>
                  </a:cubicBezTo>
                  <a:cubicBezTo>
                    <a:pt x="11252" y="2254"/>
                    <a:pt x="17508" y="-208"/>
                    <a:pt x="23961" y="14"/>
                  </a:cubicBezTo>
                  <a:cubicBezTo>
                    <a:pt x="27886" y="-52"/>
                    <a:pt x="31782" y="721"/>
                    <a:pt x="35384" y="2281"/>
                  </a:cubicBezTo>
                  <a:close/>
                  <a:moveTo>
                    <a:pt x="16490" y="13223"/>
                  </a:moveTo>
                  <a:cubicBezTo>
                    <a:pt x="14554" y="15309"/>
                    <a:pt x="13350" y="17967"/>
                    <a:pt x="13054" y="20797"/>
                  </a:cubicBezTo>
                  <a:lnTo>
                    <a:pt x="34886" y="20797"/>
                  </a:lnTo>
                  <a:cubicBezTo>
                    <a:pt x="34844" y="17880"/>
                    <a:pt x="33601" y="15108"/>
                    <a:pt x="31450" y="13137"/>
                  </a:cubicBezTo>
                  <a:cubicBezTo>
                    <a:pt x="29363" y="11367"/>
                    <a:pt x="26698" y="10426"/>
                    <a:pt x="23961" y="10491"/>
                  </a:cubicBezTo>
                  <a:cubicBezTo>
                    <a:pt x="21201" y="10337"/>
                    <a:pt x="18499" y="11325"/>
                    <a:pt x="16490" y="13223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B4B4B4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pic>
        <p:nvPicPr>
          <p:cNvPr id="164" name="Google Shape;164;p58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 rot="-5400000">
            <a:off x="11811887" y="6349041"/>
            <a:ext cx="441438" cy="68706"/>
          </a:xfrm>
          <a:prstGeom prst="rect">
            <a:avLst/>
          </a:prstGeom>
          <a:noFill/>
          <a:ln>
            <a:noFill/>
          </a:ln>
        </p:spPr>
      </p:pic>
      <p:sp>
        <p:nvSpPr>
          <p:cNvPr id="165" name="Google Shape;165;p58"/>
          <p:cNvSpPr txBox="1"/>
          <p:nvPr/>
        </p:nvSpPr>
        <p:spPr>
          <a:xfrm rot="-5400000">
            <a:off x="11250971" y="5290633"/>
            <a:ext cx="1567737" cy="110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</a:pPr>
            <a:r>
              <a:rPr lang="en-US" sz="800" b="0" i="0" u="none" strike="noStrike" cap="none">
                <a:solidFill>
                  <a:srgbClr val="B4B4B4"/>
                </a:solidFill>
                <a:latin typeface="Calibri"/>
                <a:ea typeface="Calibri"/>
                <a:cs typeface="Calibri"/>
                <a:sym typeface="Calibri"/>
              </a:rPr>
              <a:t>Copyright © 2020. All rights reserved.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66" name="Google Shape;166;p58"/>
          <p:cNvSpPr txBox="1">
            <a:spLocks noGrp="1"/>
          </p:cNvSpPr>
          <p:nvPr>
            <p:ph type="ftr" idx="11"/>
          </p:nvPr>
        </p:nvSpPr>
        <p:spPr>
          <a:xfrm>
            <a:off x="550863" y="6465614"/>
            <a:ext cx="5545138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532597932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 Column">
  <p:cSld name="2 Column">
    <p:spTree>
      <p:nvGrpSpPr>
        <p:cNvPr id="1" name="Shape 16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8" name="Google Shape;168;p59"/>
          <p:cNvSpPr txBox="1">
            <a:spLocks noGrp="1"/>
          </p:cNvSpPr>
          <p:nvPr>
            <p:ph type="title"/>
          </p:nvPr>
        </p:nvSpPr>
        <p:spPr>
          <a:xfrm>
            <a:off x="539400" y="560588"/>
            <a:ext cx="11089972" cy="42229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200"/>
              <a:buFont typeface="Franklin Gothic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9" name="Google Shape;169;p59"/>
          <p:cNvSpPr txBox="1">
            <a:spLocks noGrp="1"/>
          </p:cNvSpPr>
          <p:nvPr>
            <p:ph type="sldNum" idx="12"/>
          </p:nvPr>
        </p:nvSpPr>
        <p:spPr>
          <a:xfrm>
            <a:off x="11490153" y="6465614"/>
            <a:ext cx="150682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marL="0" marR="0" lvl="0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70" name="Google Shape;170;p59"/>
          <p:cNvSpPr txBox="1">
            <a:spLocks noGrp="1"/>
          </p:cNvSpPr>
          <p:nvPr>
            <p:ph type="body" idx="1"/>
          </p:nvPr>
        </p:nvSpPr>
        <p:spPr>
          <a:xfrm>
            <a:off x="550863" y="2175803"/>
            <a:ext cx="5400675" cy="11515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95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400"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308610" algn="l">
              <a:lnSpc>
                <a:spcPct val="95000"/>
              </a:lnSpc>
              <a:spcBef>
                <a:spcPts val="500"/>
              </a:spcBef>
              <a:spcAft>
                <a:spcPts val="0"/>
              </a:spcAft>
              <a:buSzPts val="1260"/>
              <a:buChar char="▪"/>
              <a:defRPr sz="1400">
                <a:latin typeface="Calibri"/>
                <a:ea typeface="Calibri"/>
                <a:cs typeface="Calibri"/>
                <a:sym typeface="Calibri"/>
              </a:defRPr>
            </a:lvl2pPr>
            <a:lvl3pPr marL="1371600" lvl="2" indent="-228600" algn="l">
              <a:lnSpc>
                <a:spcPct val="95000"/>
              </a:lnSpc>
              <a:spcBef>
                <a:spcPts val="300"/>
              </a:spcBef>
              <a:spcAft>
                <a:spcPts val="0"/>
              </a:spcAft>
              <a:buSzPts val="1400"/>
              <a:buNone/>
              <a:defRPr sz="1400">
                <a:latin typeface="Calibri"/>
                <a:ea typeface="Calibri"/>
                <a:cs typeface="Calibri"/>
                <a:sym typeface="Calibri"/>
              </a:defRPr>
            </a:lvl3pPr>
            <a:lvl4pPr marL="1828800" lvl="3" indent="-30861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260"/>
              <a:buChar char="▪"/>
              <a:defRPr sz="1400">
                <a:latin typeface="Calibri"/>
                <a:ea typeface="Calibri"/>
                <a:cs typeface="Calibri"/>
                <a:sym typeface="Calibri"/>
              </a:defRPr>
            </a:lvl4pPr>
            <a:lvl5pPr marL="2286000" lvl="4" indent="-31750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400"/>
              <a:buChar char="−"/>
              <a:defRPr sz="1400">
                <a:latin typeface="Calibri"/>
                <a:ea typeface="Calibri"/>
                <a:cs typeface="Calibri"/>
                <a:sym typeface="Calibri"/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71" name="Google Shape;171;p59"/>
          <p:cNvSpPr txBox="1">
            <a:spLocks noGrp="1"/>
          </p:cNvSpPr>
          <p:nvPr>
            <p:ph type="body" idx="2"/>
          </p:nvPr>
        </p:nvSpPr>
        <p:spPr>
          <a:xfrm>
            <a:off x="550863" y="1857375"/>
            <a:ext cx="5400675" cy="26314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95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1800" b="1">
                <a:solidFill>
                  <a:schemeClr val="accen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331469" algn="l">
              <a:lnSpc>
                <a:spcPct val="95000"/>
              </a:lnSpc>
              <a:spcBef>
                <a:spcPts val="500"/>
              </a:spcBef>
              <a:spcAft>
                <a:spcPts val="0"/>
              </a:spcAft>
              <a:buSzPts val="1620"/>
              <a:buChar char="▪"/>
              <a:defRPr/>
            </a:lvl2pPr>
            <a:lvl3pPr marL="1371600" lvl="2" indent="-342900" algn="l">
              <a:lnSpc>
                <a:spcPct val="95000"/>
              </a:lnSpc>
              <a:spcBef>
                <a:spcPts val="300"/>
              </a:spcBef>
              <a:spcAft>
                <a:spcPts val="0"/>
              </a:spcAft>
              <a:buSzPts val="1800"/>
              <a:buChar char="−"/>
              <a:defRPr/>
            </a:lvl3pPr>
            <a:lvl4pPr marL="1828800" lvl="3" indent="-331469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620"/>
              <a:buChar char="▪"/>
              <a:defRPr/>
            </a:lvl4pPr>
            <a:lvl5pPr marL="2286000" lvl="4" indent="-34290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800"/>
              <a:buChar char="−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72" name="Google Shape;172;p59"/>
          <p:cNvSpPr txBox="1">
            <a:spLocks noGrp="1"/>
          </p:cNvSpPr>
          <p:nvPr>
            <p:ph type="body" idx="3"/>
          </p:nvPr>
        </p:nvSpPr>
        <p:spPr>
          <a:xfrm>
            <a:off x="6240464" y="2175803"/>
            <a:ext cx="5400675" cy="11515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95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400"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308610" algn="l">
              <a:lnSpc>
                <a:spcPct val="95000"/>
              </a:lnSpc>
              <a:spcBef>
                <a:spcPts val="500"/>
              </a:spcBef>
              <a:spcAft>
                <a:spcPts val="0"/>
              </a:spcAft>
              <a:buSzPts val="1260"/>
              <a:buChar char="▪"/>
              <a:defRPr sz="1400">
                <a:latin typeface="Calibri"/>
                <a:ea typeface="Calibri"/>
                <a:cs typeface="Calibri"/>
                <a:sym typeface="Calibri"/>
              </a:defRPr>
            </a:lvl2pPr>
            <a:lvl3pPr marL="1371600" lvl="2" indent="-317500" algn="l">
              <a:lnSpc>
                <a:spcPct val="95000"/>
              </a:lnSpc>
              <a:spcBef>
                <a:spcPts val="300"/>
              </a:spcBef>
              <a:spcAft>
                <a:spcPts val="0"/>
              </a:spcAft>
              <a:buSzPts val="1400"/>
              <a:buChar char="−"/>
              <a:defRPr sz="1400">
                <a:latin typeface="Calibri"/>
                <a:ea typeface="Calibri"/>
                <a:cs typeface="Calibri"/>
                <a:sym typeface="Calibri"/>
              </a:defRPr>
            </a:lvl3pPr>
            <a:lvl4pPr marL="1828800" lvl="3" indent="-30861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260"/>
              <a:buChar char="▪"/>
              <a:defRPr sz="1400">
                <a:latin typeface="Calibri"/>
                <a:ea typeface="Calibri"/>
                <a:cs typeface="Calibri"/>
                <a:sym typeface="Calibri"/>
              </a:defRPr>
            </a:lvl4pPr>
            <a:lvl5pPr marL="2286000" lvl="4" indent="-31750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400"/>
              <a:buChar char="−"/>
              <a:defRPr sz="1400">
                <a:latin typeface="Calibri"/>
                <a:ea typeface="Calibri"/>
                <a:cs typeface="Calibri"/>
                <a:sym typeface="Calibri"/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73" name="Google Shape;173;p59"/>
          <p:cNvSpPr txBox="1">
            <a:spLocks noGrp="1"/>
          </p:cNvSpPr>
          <p:nvPr>
            <p:ph type="body" idx="4"/>
          </p:nvPr>
        </p:nvSpPr>
        <p:spPr>
          <a:xfrm>
            <a:off x="6240464" y="1857375"/>
            <a:ext cx="5400675" cy="26314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95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1800" b="1">
                <a:solidFill>
                  <a:schemeClr val="accen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331469" algn="l">
              <a:lnSpc>
                <a:spcPct val="95000"/>
              </a:lnSpc>
              <a:spcBef>
                <a:spcPts val="500"/>
              </a:spcBef>
              <a:spcAft>
                <a:spcPts val="0"/>
              </a:spcAft>
              <a:buSzPts val="1620"/>
              <a:buChar char="▪"/>
              <a:defRPr/>
            </a:lvl2pPr>
            <a:lvl3pPr marL="1371600" lvl="2" indent="-342900" algn="l">
              <a:lnSpc>
                <a:spcPct val="95000"/>
              </a:lnSpc>
              <a:spcBef>
                <a:spcPts val="300"/>
              </a:spcBef>
              <a:spcAft>
                <a:spcPts val="0"/>
              </a:spcAft>
              <a:buSzPts val="1800"/>
              <a:buChar char="−"/>
              <a:defRPr/>
            </a:lvl3pPr>
            <a:lvl4pPr marL="1828800" lvl="3" indent="-331469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620"/>
              <a:buChar char="▪"/>
              <a:defRPr/>
            </a:lvl4pPr>
            <a:lvl5pPr marL="2286000" lvl="4" indent="-34290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800"/>
              <a:buChar char="−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74" name="Google Shape;174;p59"/>
          <p:cNvSpPr txBox="1">
            <a:spLocks noGrp="1"/>
          </p:cNvSpPr>
          <p:nvPr>
            <p:ph type="ftr" idx="11"/>
          </p:nvPr>
        </p:nvSpPr>
        <p:spPr>
          <a:xfrm>
            <a:off x="550863" y="6465614"/>
            <a:ext cx="5545138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307813229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 Column">
  <p:cSld name="3 Column">
    <p:spTree>
      <p:nvGrpSpPr>
        <p:cNvPr id="1" name="Shape 17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6" name="Google Shape;176;p60"/>
          <p:cNvSpPr txBox="1">
            <a:spLocks noGrp="1"/>
          </p:cNvSpPr>
          <p:nvPr>
            <p:ph type="title"/>
          </p:nvPr>
        </p:nvSpPr>
        <p:spPr>
          <a:xfrm>
            <a:off x="539400" y="560588"/>
            <a:ext cx="11089972" cy="42229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200"/>
              <a:buFont typeface="Franklin Gothic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77" name="Google Shape;177;p60"/>
          <p:cNvSpPr txBox="1">
            <a:spLocks noGrp="1"/>
          </p:cNvSpPr>
          <p:nvPr>
            <p:ph type="sldNum" idx="12"/>
          </p:nvPr>
        </p:nvSpPr>
        <p:spPr>
          <a:xfrm>
            <a:off x="11490153" y="6465614"/>
            <a:ext cx="150682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marL="0" marR="0" lvl="0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78" name="Google Shape;178;p60"/>
          <p:cNvSpPr txBox="1">
            <a:spLocks noGrp="1"/>
          </p:cNvSpPr>
          <p:nvPr>
            <p:ph type="body" idx="1"/>
          </p:nvPr>
        </p:nvSpPr>
        <p:spPr>
          <a:xfrm>
            <a:off x="550864" y="2175803"/>
            <a:ext cx="3506976" cy="11515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95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400"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308610" algn="l">
              <a:lnSpc>
                <a:spcPct val="95000"/>
              </a:lnSpc>
              <a:spcBef>
                <a:spcPts val="500"/>
              </a:spcBef>
              <a:spcAft>
                <a:spcPts val="0"/>
              </a:spcAft>
              <a:buSzPts val="1260"/>
              <a:buChar char="▪"/>
              <a:defRPr sz="1400">
                <a:latin typeface="Calibri"/>
                <a:ea typeface="Calibri"/>
                <a:cs typeface="Calibri"/>
                <a:sym typeface="Calibri"/>
              </a:defRPr>
            </a:lvl2pPr>
            <a:lvl3pPr marL="1371600" lvl="2" indent="-228600" algn="l">
              <a:lnSpc>
                <a:spcPct val="95000"/>
              </a:lnSpc>
              <a:spcBef>
                <a:spcPts val="300"/>
              </a:spcBef>
              <a:spcAft>
                <a:spcPts val="0"/>
              </a:spcAft>
              <a:buSzPts val="1400"/>
              <a:buNone/>
              <a:defRPr sz="1400">
                <a:latin typeface="Calibri"/>
                <a:ea typeface="Calibri"/>
                <a:cs typeface="Calibri"/>
                <a:sym typeface="Calibri"/>
              </a:defRPr>
            </a:lvl3pPr>
            <a:lvl4pPr marL="1828800" lvl="3" indent="-30861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260"/>
              <a:buChar char="▪"/>
              <a:defRPr sz="1400">
                <a:latin typeface="Calibri"/>
                <a:ea typeface="Calibri"/>
                <a:cs typeface="Calibri"/>
                <a:sym typeface="Calibri"/>
              </a:defRPr>
            </a:lvl4pPr>
            <a:lvl5pPr marL="2286000" lvl="4" indent="-31750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400"/>
              <a:buChar char="−"/>
              <a:defRPr sz="1400">
                <a:latin typeface="Calibri"/>
                <a:ea typeface="Calibri"/>
                <a:cs typeface="Calibri"/>
                <a:sym typeface="Calibri"/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79" name="Google Shape;179;p60"/>
          <p:cNvSpPr txBox="1">
            <a:spLocks noGrp="1"/>
          </p:cNvSpPr>
          <p:nvPr>
            <p:ph type="body" idx="2"/>
          </p:nvPr>
        </p:nvSpPr>
        <p:spPr>
          <a:xfrm>
            <a:off x="550864" y="1857375"/>
            <a:ext cx="3506976" cy="26314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95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1800" b="1">
                <a:solidFill>
                  <a:schemeClr val="accen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331469" algn="l">
              <a:lnSpc>
                <a:spcPct val="95000"/>
              </a:lnSpc>
              <a:spcBef>
                <a:spcPts val="500"/>
              </a:spcBef>
              <a:spcAft>
                <a:spcPts val="0"/>
              </a:spcAft>
              <a:buSzPts val="1620"/>
              <a:buChar char="▪"/>
              <a:defRPr/>
            </a:lvl2pPr>
            <a:lvl3pPr marL="1371600" lvl="2" indent="-342900" algn="l">
              <a:lnSpc>
                <a:spcPct val="95000"/>
              </a:lnSpc>
              <a:spcBef>
                <a:spcPts val="300"/>
              </a:spcBef>
              <a:spcAft>
                <a:spcPts val="0"/>
              </a:spcAft>
              <a:buSzPts val="1800"/>
              <a:buChar char="−"/>
              <a:defRPr/>
            </a:lvl3pPr>
            <a:lvl4pPr marL="1828800" lvl="3" indent="-331469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620"/>
              <a:buChar char="▪"/>
              <a:defRPr/>
            </a:lvl4pPr>
            <a:lvl5pPr marL="2286000" lvl="4" indent="-34290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800"/>
              <a:buChar char="−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0" name="Google Shape;180;p60"/>
          <p:cNvSpPr txBox="1">
            <a:spLocks noGrp="1"/>
          </p:cNvSpPr>
          <p:nvPr>
            <p:ph type="body" idx="3"/>
          </p:nvPr>
        </p:nvSpPr>
        <p:spPr>
          <a:xfrm>
            <a:off x="8135839" y="2175803"/>
            <a:ext cx="3505300" cy="11515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95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400"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308610" algn="l">
              <a:lnSpc>
                <a:spcPct val="95000"/>
              </a:lnSpc>
              <a:spcBef>
                <a:spcPts val="500"/>
              </a:spcBef>
              <a:spcAft>
                <a:spcPts val="0"/>
              </a:spcAft>
              <a:buSzPts val="1260"/>
              <a:buChar char="▪"/>
              <a:defRPr sz="1400">
                <a:latin typeface="Calibri"/>
                <a:ea typeface="Calibri"/>
                <a:cs typeface="Calibri"/>
                <a:sym typeface="Calibri"/>
              </a:defRPr>
            </a:lvl2pPr>
            <a:lvl3pPr marL="1371600" lvl="2" indent="-317500" algn="l">
              <a:lnSpc>
                <a:spcPct val="95000"/>
              </a:lnSpc>
              <a:spcBef>
                <a:spcPts val="300"/>
              </a:spcBef>
              <a:spcAft>
                <a:spcPts val="0"/>
              </a:spcAft>
              <a:buSzPts val="1400"/>
              <a:buChar char="−"/>
              <a:defRPr sz="1400">
                <a:latin typeface="Calibri"/>
                <a:ea typeface="Calibri"/>
                <a:cs typeface="Calibri"/>
                <a:sym typeface="Calibri"/>
              </a:defRPr>
            </a:lvl3pPr>
            <a:lvl4pPr marL="1828800" lvl="3" indent="-30861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260"/>
              <a:buChar char="▪"/>
              <a:defRPr sz="1400">
                <a:latin typeface="Calibri"/>
                <a:ea typeface="Calibri"/>
                <a:cs typeface="Calibri"/>
                <a:sym typeface="Calibri"/>
              </a:defRPr>
            </a:lvl4pPr>
            <a:lvl5pPr marL="2286000" lvl="4" indent="-31750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400"/>
              <a:buChar char="−"/>
              <a:defRPr sz="1400">
                <a:latin typeface="Calibri"/>
                <a:ea typeface="Calibri"/>
                <a:cs typeface="Calibri"/>
                <a:sym typeface="Calibri"/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1" name="Google Shape;181;p60"/>
          <p:cNvSpPr txBox="1">
            <a:spLocks noGrp="1"/>
          </p:cNvSpPr>
          <p:nvPr>
            <p:ph type="body" idx="4"/>
          </p:nvPr>
        </p:nvSpPr>
        <p:spPr>
          <a:xfrm>
            <a:off x="8135839" y="1857375"/>
            <a:ext cx="3505300" cy="26314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95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1800" b="1">
                <a:solidFill>
                  <a:schemeClr val="accen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331469" algn="l">
              <a:lnSpc>
                <a:spcPct val="95000"/>
              </a:lnSpc>
              <a:spcBef>
                <a:spcPts val="500"/>
              </a:spcBef>
              <a:spcAft>
                <a:spcPts val="0"/>
              </a:spcAft>
              <a:buSzPts val="1620"/>
              <a:buChar char="▪"/>
              <a:defRPr/>
            </a:lvl2pPr>
            <a:lvl3pPr marL="1371600" lvl="2" indent="-342900" algn="l">
              <a:lnSpc>
                <a:spcPct val="95000"/>
              </a:lnSpc>
              <a:spcBef>
                <a:spcPts val="300"/>
              </a:spcBef>
              <a:spcAft>
                <a:spcPts val="0"/>
              </a:spcAft>
              <a:buSzPts val="1800"/>
              <a:buChar char="−"/>
              <a:defRPr/>
            </a:lvl3pPr>
            <a:lvl4pPr marL="1828800" lvl="3" indent="-331469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620"/>
              <a:buChar char="▪"/>
              <a:defRPr/>
            </a:lvl4pPr>
            <a:lvl5pPr marL="2286000" lvl="4" indent="-34290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800"/>
              <a:buChar char="−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2" name="Google Shape;182;p60"/>
          <p:cNvSpPr txBox="1">
            <a:spLocks noGrp="1"/>
          </p:cNvSpPr>
          <p:nvPr>
            <p:ph type="body" idx="5"/>
          </p:nvPr>
        </p:nvSpPr>
        <p:spPr>
          <a:xfrm>
            <a:off x="4344162" y="2175803"/>
            <a:ext cx="3505300" cy="11515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95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400"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308610" algn="l">
              <a:lnSpc>
                <a:spcPct val="95000"/>
              </a:lnSpc>
              <a:spcBef>
                <a:spcPts val="500"/>
              </a:spcBef>
              <a:spcAft>
                <a:spcPts val="0"/>
              </a:spcAft>
              <a:buSzPts val="1260"/>
              <a:buChar char="▪"/>
              <a:defRPr sz="1400">
                <a:latin typeface="Calibri"/>
                <a:ea typeface="Calibri"/>
                <a:cs typeface="Calibri"/>
                <a:sym typeface="Calibri"/>
              </a:defRPr>
            </a:lvl2pPr>
            <a:lvl3pPr marL="1371600" lvl="2" indent="-317500" algn="l">
              <a:lnSpc>
                <a:spcPct val="95000"/>
              </a:lnSpc>
              <a:spcBef>
                <a:spcPts val="300"/>
              </a:spcBef>
              <a:spcAft>
                <a:spcPts val="0"/>
              </a:spcAft>
              <a:buSzPts val="1400"/>
              <a:buChar char="−"/>
              <a:defRPr sz="1400">
                <a:latin typeface="Calibri"/>
                <a:ea typeface="Calibri"/>
                <a:cs typeface="Calibri"/>
                <a:sym typeface="Calibri"/>
              </a:defRPr>
            </a:lvl3pPr>
            <a:lvl4pPr marL="1828800" lvl="3" indent="-30861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260"/>
              <a:buChar char="▪"/>
              <a:defRPr sz="1400">
                <a:latin typeface="Calibri"/>
                <a:ea typeface="Calibri"/>
                <a:cs typeface="Calibri"/>
                <a:sym typeface="Calibri"/>
              </a:defRPr>
            </a:lvl4pPr>
            <a:lvl5pPr marL="2286000" lvl="4" indent="-31750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400"/>
              <a:buChar char="−"/>
              <a:defRPr sz="1400">
                <a:latin typeface="Calibri"/>
                <a:ea typeface="Calibri"/>
                <a:cs typeface="Calibri"/>
                <a:sym typeface="Calibri"/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3" name="Google Shape;183;p60"/>
          <p:cNvSpPr txBox="1">
            <a:spLocks noGrp="1"/>
          </p:cNvSpPr>
          <p:nvPr>
            <p:ph type="body" idx="6"/>
          </p:nvPr>
        </p:nvSpPr>
        <p:spPr>
          <a:xfrm>
            <a:off x="4344162" y="1857375"/>
            <a:ext cx="3505300" cy="26314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95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1800" b="1">
                <a:solidFill>
                  <a:schemeClr val="accen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331469" algn="l">
              <a:lnSpc>
                <a:spcPct val="95000"/>
              </a:lnSpc>
              <a:spcBef>
                <a:spcPts val="500"/>
              </a:spcBef>
              <a:spcAft>
                <a:spcPts val="0"/>
              </a:spcAft>
              <a:buSzPts val="1620"/>
              <a:buChar char="▪"/>
              <a:defRPr/>
            </a:lvl2pPr>
            <a:lvl3pPr marL="1371600" lvl="2" indent="-342900" algn="l">
              <a:lnSpc>
                <a:spcPct val="95000"/>
              </a:lnSpc>
              <a:spcBef>
                <a:spcPts val="300"/>
              </a:spcBef>
              <a:spcAft>
                <a:spcPts val="0"/>
              </a:spcAft>
              <a:buSzPts val="1800"/>
              <a:buChar char="−"/>
              <a:defRPr/>
            </a:lvl3pPr>
            <a:lvl4pPr marL="1828800" lvl="3" indent="-331469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620"/>
              <a:buChar char="▪"/>
              <a:defRPr/>
            </a:lvl4pPr>
            <a:lvl5pPr marL="2286000" lvl="4" indent="-34290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800"/>
              <a:buChar char="−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4" name="Google Shape;184;p60"/>
          <p:cNvSpPr txBox="1">
            <a:spLocks noGrp="1"/>
          </p:cNvSpPr>
          <p:nvPr>
            <p:ph type="ftr" idx="11"/>
          </p:nvPr>
        </p:nvSpPr>
        <p:spPr>
          <a:xfrm>
            <a:off x="550863" y="6465614"/>
            <a:ext cx="5545138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284852879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5 Column">
  <p:cSld name="5 Column">
    <p:spTree>
      <p:nvGrpSpPr>
        <p:cNvPr id="1" name="Shape 18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6" name="Google Shape;186;p62"/>
          <p:cNvSpPr txBox="1">
            <a:spLocks noGrp="1"/>
          </p:cNvSpPr>
          <p:nvPr>
            <p:ph type="title"/>
          </p:nvPr>
        </p:nvSpPr>
        <p:spPr>
          <a:xfrm>
            <a:off x="539400" y="560588"/>
            <a:ext cx="11089972" cy="42229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200"/>
              <a:buFont typeface="Franklin Gothic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87" name="Google Shape;187;p62"/>
          <p:cNvSpPr txBox="1">
            <a:spLocks noGrp="1"/>
          </p:cNvSpPr>
          <p:nvPr>
            <p:ph type="sldNum" idx="12"/>
          </p:nvPr>
        </p:nvSpPr>
        <p:spPr>
          <a:xfrm>
            <a:off x="11490153" y="6465614"/>
            <a:ext cx="150682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marL="0" marR="0" lvl="0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88" name="Google Shape;188;p62"/>
          <p:cNvSpPr txBox="1">
            <a:spLocks noGrp="1"/>
          </p:cNvSpPr>
          <p:nvPr>
            <p:ph type="body" idx="1"/>
          </p:nvPr>
        </p:nvSpPr>
        <p:spPr>
          <a:xfrm>
            <a:off x="550864" y="2175803"/>
            <a:ext cx="1983600" cy="11515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95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400"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308610" algn="l">
              <a:lnSpc>
                <a:spcPct val="95000"/>
              </a:lnSpc>
              <a:spcBef>
                <a:spcPts val="500"/>
              </a:spcBef>
              <a:spcAft>
                <a:spcPts val="0"/>
              </a:spcAft>
              <a:buSzPts val="1260"/>
              <a:buChar char="▪"/>
              <a:defRPr sz="1400">
                <a:latin typeface="Calibri"/>
                <a:ea typeface="Calibri"/>
                <a:cs typeface="Calibri"/>
                <a:sym typeface="Calibri"/>
              </a:defRPr>
            </a:lvl2pPr>
            <a:lvl3pPr marL="1371600" lvl="2" indent="-228600" algn="l">
              <a:lnSpc>
                <a:spcPct val="95000"/>
              </a:lnSpc>
              <a:spcBef>
                <a:spcPts val="300"/>
              </a:spcBef>
              <a:spcAft>
                <a:spcPts val="0"/>
              </a:spcAft>
              <a:buSzPts val="1400"/>
              <a:buNone/>
              <a:defRPr sz="1400">
                <a:latin typeface="Calibri"/>
                <a:ea typeface="Calibri"/>
                <a:cs typeface="Calibri"/>
                <a:sym typeface="Calibri"/>
              </a:defRPr>
            </a:lvl3pPr>
            <a:lvl4pPr marL="1828800" lvl="3" indent="-30861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260"/>
              <a:buChar char="▪"/>
              <a:defRPr sz="1400">
                <a:latin typeface="Calibri"/>
                <a:ea typeface="Calibri"/>
                <a:cs typeface="Calibri"/>
                <a:sym typeface="Calibri"/>
              </a:defRPr>
            </a:lvl4pPr>
            <a:lvl5pPr marL="2286000" lvl="4" indent="-31750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400"/>
              <a:buChar char="−"/>
              <a:defRPr sz="1400">
                <a:latin typeface="Calibri"/>
                <a:ea typeface="Calibri"/>
                <a:cs typeface="Calibri"/>
                <a:sym typeface="Calibri"/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9" name="Google Shape;189;p62"/>
          <p:cNvSpPr txBox="1">
            <a:spLocks noGrp="1"/>
          </p:cNvSpPr>
          <p:nvPr>
            <p:ph type="body" idx="2"/>
          </p:nvPr>
        </p:nvSpPr>
        <p:spPr>
          <a:xfrm>
            <a:off x="550864" y="1857375"/>
            <a:ext cx="1983600" cy="26314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95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1800" b="1">
                <a:solidFill>
                  <a:schemeClr val="accen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331469" algn="l">
              <a:lnSpc>
                <a:spcPct val="95000"/>
              </a:lnSpc>
              <a:spcBef>
                <a:spcPts val="500"/>
              </a:spcBef>
              <a:spcAft>
                <a:spcPts val="0"/>
              </a:spcAft>
              <a:buSzPts val="1620"/>
              <a:buChar char="▪"/>
              <a:defRPr/>
            </a:lvl2pPr>
            <a:lvl3pPr marL="1371600" lvl="2" indent="-342900" algn="l">
              <a:lnSpc>
                <a:spcPct val="95000"/>
              </a:lnSpc>
              <a:spcBef>
                <a:spcPts val="300"/>
              </a:spcBef>
              <a:spcAft>
                <a:spcPts val="0"/>
              </a:spcAft>
              <a:buSzPts val="1800"/>
              <a:buChar char="−"/>
              <a:defRPr/>
            </a:lvl3pPr>
            <a:lvl4pPr marL="1828800" lvl="3" indent="-331469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620"/>
              <a:buChar char="▪"/>
              <a:defRPr/>
            </a:lvl4pPr>
            <a:lvl5pPr marL="2286000" lvl="4" indent="-34290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800"/>
              <a:buChar char="−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90" name="Google Shape;190;p62"/>
          <p:cNvSpPr txBox="1">
            <a:spLocks noGrp="1"/>
          </p:cNvSpPr>
          <p:nvPr>
            <p:ph type="body" idx="3"/>
          </p:nvPr>
        </p:nvSpPr>
        <p:spPr>
          <a:xfrm>
            <a:off x="5104050" y="2175803"/>
            <a:ext cx="1980034" cy="11515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95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400"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308610" algn="l">
              <a:lnSpc>
                <a:spcPct val="95000"/>
              </a:lnSpc>
              <a:spcBef>
                <a:spcPts val="500"/>
              </a:spcBef>
              <a:spcAft>
                <a:spcPts val="0"/>
              </a:spcAft>
              <a:buSzPts val="1260"/>
              <a:buChar char="▪"/>
              <a:defRPr sz="1400">
                <a:latin typeface="Calibri"/>
                <a:ea typeface="Calibri"/>
                <a:cs typeface="Calibri"/>
                <a:sym typeface="Calibri"/>
              </a:defRPr>
            </a:lvl2pPr>
            <a:lvl3pPr marL="1371600" lvl="2" indent="-317500" algn="l">
              <a:lnSpc>
                <a:spcPct val="95000"/>
              </a:lnSpc>
              <a:spcBef>
                <a:spcPts val="300"/>
              </a:spcBef>
              <a:spcAft>
                <a:spcPts val="0"/>
              </a:spcAft>
              <a:buSzPts val="1400"/>
              <a:buChar char="−"/>
              <a:defRPr sz="1400">
                <a:latin typeface="Calibri"/>
                <a:ea typeface="Calibri"/>
                <a:cs typeface="Calibri"/>
                <a:sym typeface="Calibri"/>
              </a:defRPr>
            </a:lvl3pPr>
            <a:lvl4pPr marL="1828800" lvl="3" indent="-30861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260"/>
              <a:buChar char="▪"/>
              <a:defRPr sz="1400">
                <a:latin typeface="Calibri"/>
                <a:ea typeface="Calibri"/>
                <a:cs typeface="Calibri"/>
                <a:sym typeface="Calibri"/>
              </a:defRPr>
            </a:lvl4pPr>
            <a:lvl5pPr marL="2286000" lvl="4" indent="-31750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400"/>
              <a:buChar char="−"/>
              <a:defRPr sz="1400">
                <a:latin typeface="Calibri"/>
                <a:ea typeface="Calibri"/>
                <a:cs typeface="Calibri"/>
                <a:sym typeface="Calibri"/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91" name="Google Shape;191;p62"/>
          <p:cNvSpPr txBox="1">
            <a:spLocks noGrp="1"/>
          </p:cNvSpPr>
          <p:nvPr>
            <p:ph type="body" idx="4"/>
          </p:nvPr>
        </p:nvSpPr>
        <p:spPr>
          <a:xfrm>
            <a:off x="5104050" y="1857375"/>
            <a:ext cx="1980034" cy="26314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95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1800" b="1">
                <a:solidFill>
                  <a:schemeClr val="accen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331469" algn="l">
              <a:lnSpc>
                <a:spcPct val="95000"/>
              </a:lnSpc>
              <a:spcBef>
                <a:spcPts val="500"/>
              </a:spcBef>
              <a:spcAft>
                <a:spcPts val="0"/>
              </a:spcAft>
              <a:buSzPts val="1620"/>
              <a:buChar char="▪"/>
              <a:defRPr/>
            </a:lvl2pPr>
            <a:lvl3pPr marL="1371600" lvl="2" indent="-342900" algn="l">
              <a:lnSpc>
                <a:spcPct val="95000"/>
              </a:lnSpc>
              <a:spcBef>
                <a:spcPts val="300"/>
              </a:spcBef>
              <a:spcAft>
                <a:spcPts val="0"/>
              </a:spcAft>
              <a:buSzPts val="1800"/>
              <a:buChar char="−"/>
              <a:defRPr/>
            </a:lvl3pPr>
            <a:lvl4pPr marL="1828800" lvl="3" indent="-331469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620"/>
              <a:buChar char="▪"/>
              <a:defRPr/>
            </a:lvl4pPr>
            <a:lvl5pPr marL="2286000" lvl="4" indent="-34290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800"/>
              <a:buChar char="−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92" name="Google Shape;192;p62"/>
          <p:cNvSpPr txBox="1">
            <a:spLocks noGrp="1"/>
          </p:cNvSpPr>
          <p:nvPr>
            <p:ph type="body" idx="5"/>
          </p:nvPr>
        </p:nvSpPr>
        <p:spPr>
          <a:xfrm>
            <a:off x="2827457" y="2175803"/>
            <a:ext cx="1983600" cy="11515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95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400"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308610" algn="l">
              <a:lnSpc>
                <a:spcPct val="95000"/>
              </a:lnSpc>
              <a:spcBef>
                <a:spcPts val="500"/>
              </a:spcBef>
              <a:spcAft>
                <a:spcPts val="0"/>
              </a:spcAft>
              <a:buSzPts val="1260"/>
              <a:buChar char="▪"/>
              <a:defRPr sz="1400">
                <a:latin typeface="Calibri"/>
                <a:ea typeface="Calibri"/>
                <a:cs typeface="Calibri"/>
                <a:sym typeface="Calibri"/>
              </a:defRPr>
            </a:lvl2pPr>
            <a:lvl3pPr marL="1371600" lvl="2" indent="-228600" algn="l">
              <a:lnSpc>
                <a:spcPct val="95000"/>
              </a:lnSpc>
              <a:spcBef>
                <a:spcPts val="300"/>
              </a:spcBef>
              <a:spcAft>
                <a:spcPts val="0"/>
              </a:spcAft>
              <a:buSzPts val="1400"/>
              <a:buNone/>
              <a:defRPr sz="1400">
                <a:latin typeface="Calibri"/>
                <a:ea typeface="Calibri"/>
                <a:cs typeface="Calibri"/>
                <a:sym typeface="Calibri"/>
              </a:defRPr>
            </a:lvl3pPr>
            <a:lvl4pPr marL="1828800" lvl="3" indent="-30861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260"/>
              <a:buChar char="▪"/>
              <a:defRPr sz="1400">
                <a:latin typeface="Calibri"/>
                <a:ea typeface="Calibri"/>
                <a:cs typeface="Calibri"/>
                <a:sym typeface="Calibri"/>
              </a:defRPr>
            </a:lvl4pPr>
            <a:lvl5pPr marL="2286000" lvl="4" indent="-31750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400"/>
              <a:buChar char="−"/>
              <a:defRPr sz="1400">
                <a:latin typeface="Calibri"/>
                <a:ea typeface="Calibri"/>
                <a:cs typeface="Calibri"/>
                <a:sym typeface="Calibri"/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93" name="Google Shape;193;p62"/>
          <p:cNvSpPr txBox="1">
            <a:spLocks noGrp="1"/>
          </p:cNvSpPr>
          <p:nvPr>
            <p:ph type="body" idx="6"/>
          </p:nvPr>
        </p:nvSpPr>
        <p:spPr>
          <a:xfrm>
            <a:off x="2827457" y="1857375"/>
            <a:ext cx="1983600" cy="26314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95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1800" b="1">
                <a:solidFill>
                  <a:schemeClr val="accen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331469" algn="l">
              <a:lnSpc>
                <a:spcPct val="95000"/>
              </a:lnSpc>
              <a:spcBef>
                <a:spcPts val="500"/>
              </a:spcBef>
              <a:spcAft>
                <a:spcPts val="0"/>
              </a:spcAft>
              <a:buSzPts val="1620"/>
              <a:buChar char="▪"/>
              <a:defRPr/>
            </a:lvl2pPr>
            <a:lvl3pPr marL="1371600" lvl="2" indent="-342900" algn="l">
              <a:lnSpc>
                <a:spcPct val="95000"/>
              </a:lnSpc>
              <a:spcBef>
                <a:spcPts val="300"/>
              </a:spcBef>
              <a:spcAft>
                <a:spcPts val="0"/>
              </a:spcAft>
              <a:buSzPts val="1800"/>
              <a:buChar char="−"/>
              <a:defRPr/>
            </a:lvl3pPr>
            <a:lvl4pPr marL="1828800" lvl="3" indent="-331469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620"/>
              <a:buChar char="▪"/>
              <a:defRPr/>
            </a:lvl4pPr>
            <a:lvl5pPr marL="2286000" lvl="4" indent="-34290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800"/>
              <a:buChar char="−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94" name="Google Shape;194;p62"/>
          <p:cNvSpPr txBox="1">
            <a:spLocks noGrp="1"/>
          </p:cNvSpPr>
          <p:nvPr>
            <p:ph type="body" idx="7"/>
          </p:nvPr>
        </p:nvSpPr>
        <p:spPr>
          <a:xfrm>
            <a:off x="7380643" y="2175803"/>
            <a:ext cx="1980034" cy="11515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95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400"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308610" algn="l">
              <a:lnSpc>
                <a:spcPct val="95000"/>
              </a:lnSpc>
              <a:spcBef>
                <a:spcPts val="500"/>
              </a:spcBef>
              <a:spcAft>
                <a:spcPts val="0"/>
              </a:spcAft>
              <a:buSzPts val="1260"/>
              <a:buChar char="▪"/>
              <a:defRPr sz="1400">
                <a:latin typeface="Calibri"/>
                <a:ea typeface="Calibri"/>
                <a:cs typeface="Calibri"/>
                <a:sym typeface="Calibri"/>
              </a:defRPr>
            </a:lvl2pPr>
            <a:lvl3pPr marL="1371600" lvl="2" indent="-317500" algn="l">
              <a:lnSpc>
                <a:spcPct val="95000"/>
              </a:lnSpc>
              <a:spcBef>
                <a:spcPts val="300"/>
              </a:spcBef>
              <a:spcAft>
                <a:spcPts val="0"/>
              </a:spcAft>
              <a:buSzPts val="1400"/>
              <a:buChar char="−"/>
              <a:defRPr sz="1400">
                <a:latin typeface="Calibri"/>
                <a:ea typeface="Calibri"/>
                <a:cs typeface="Calibri"/>
                <a:sym typeface="Calibri"/>
              </a:defRPr>
            </a:lvl3pPr>
            <a:lvl4pPr marL="1828800" lvl="3" indent="-30861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260"/>
              <a:buChar char="▪"/>
              <a:defRPr sz="1400">
                <a:latin typeface="Calibri"/>
                <a:ea typeface="Calibri"/>
                <a:cs typeface="Calibri"/>
                <a:sym typeface="Calibri"/>
              </a:defRPr>
            </a:lvl4pPr>
            <a:lvl5pPr marL="2286000" lvl="4" indent="-31750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400"/>
              <a:buChar char="−"/>
              <a:defRPr sz="1400">
                <a:latin typeface="Calibri"/>
                <a:ea typeface="Calibri"/>
                <a:cs typeface="Calibri"/>
                <a:sym typeface="Calibri"/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95" name="Google Shape;195;p62"/>
          <p:cNvSpPr txBox="1">
            <a:spLocks noGrp="1"/>
          </p:cNvSpPr>
          <p:nvPr>
            <p:ph type="body" idx="8"/>
          </p:nvPr>
        </p:nvSpPr>
        <p:spPr>
          <a:xfrm>
            <a:off x="7380643" y="1857375"/>
            <a:ext cx="1980034" cy="26314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95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1800" b="1">
                <a:solidFill>
                  <a:schemeClr val="accen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331469" algn="l">
              <a:lnSpc>
                <a:spcPct val="95000"/>
              </a:lnSpc>
              <a:spcBef>
                <a:spcPts val="500"/>
              </a:spcBef>
              <a:spcAft>
                <a:spcPts val="0"/>
              </a:spcAft>
              <a:buSzPts val="1620"/>
              <a:buChar char="▪"/>
              <a:defRPr/>
            </a:lvl2pPr>
            <a:lvl3pPr marL="1371600" lvl="2" indent="-342900" algn="l">
              <a:lnSpc>
                <a:spcPct val="95000"/>
              </a:lnSpc>
              <a:spcBef>
                <a:spcPts val="300"/>
              </a:spcBef>
              <a:spcAft>
                <a:spcPts val="0"/>
              </a:spcAft>
              <a:buSzPts val="1800"/>
              <a:buChar char="−"/>
              <a:defRPr/>
            </a:lvl3pPr>
            <a:lvl4pPr marL="1828800" lvl="3" indent="-331469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620"/>
              <a:buChar char="▪"/>
              <a:defRPr/>
            </a:lvl4pPr>
            <a:lvl5pPr marL="2286000" lvl="4" indent="-34290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800"/>
              <a:buChar char="−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96" name="Google Shape;196;p62"/>
          <p:cNvSpPr txBox="1">
            <a:spLocks noGrp="1"/>
          </p:cNvSpPr>
          <p:nvPr>
            <p:ph type="body" idx="9"/>
          </p:nvPr>
        </p:nvSpPr>
        <p:spPr>
          <a:xfrm>
            <a:off x="9660801" y="2175803"/>
            <a:ext cx="1980034" cy="11515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95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400"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308610" algn="l">
              <a:lnSpc>
                <a:spcPct val="95000"/>
              </a:lnSpc>
              <a:spcBef>
                <a:spcPts val="500"/>
              </a:spcBef>
              <a:spcAft>
                <a:spcPts val="0"/>
              </a:spcAft>
              <a:buSzPts val="1260"/>
              <a:buChar char="▪"/>
              <a:defRPr sz="1400">
                <a:latin typeface="Calibri"/>
                <a:ea typeface="Calibri"/>
                <a:cs typeface="Calibri"/>
                <a:sym typeface="Calibri"/>
              </a:defRPr>
            </a:lvl2pPr>
            <a:lvl3pPr marL="1371600" lvl="2" indent="-317500" algn="l">
              <a:lnSpc>
                <a:spcPct val="95000"/>
              </a:lnSpc>
              <a:spcBef>
                <a:spcPts val="300"/>
              </a:spcBef>
              <a:spcAft>
                <a:spcPts val="0"/>
              </a:spcAft>
              <a:buSzPts val="1400"/>
              <a:buChar char="−"/>
              <a:defRPr sz="1400">
                <a:latin typeface="Calibri"/>
                <a:ea typeface="Calibri"/>
                <a:cs typeface="Calibri"/>
                <a:sym typeface="Calibri"/>
              </a:defRPr>
            </a:lvl3pPr>
            <a:lvl4pPr marL="1828800" lvl="3" indent="-30861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260"/>
              <a:buChar char="▪"/>
              <a:defRPr sz="1400">
                <a:latin typeface="Calibri"/>
                <a:ea typeface="Calibri"/>
                <a:cs typeface="Calibri"/>
                <a:sym typeface="Calibri"/>
              </a:defRPr>
            </a:lvl4pPr>
            <a:lvl5pPr marL="2286000" lvl="4" indent="-31750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400"/>
              <a:buChar char="−"/>
              <a:defRPr sz="1400">
                <a:latin typeface="Calibri"/>
                <a:ea typeface="Calibri"/>
                <a:cs typeface="Calibri"/>
                <a:sym typeface="Calibri"/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97" name="Google Shape;197;p62"/>
          <p:cNvSpPr txBox="1">
            <a:spLocks noGrp="1"/>
          </p:cNvSpPr>
          <p:nvPr>
            <p:ph type="body" idx="13"/>
          </p:nvPr>
        </p:nvSpPr>
        <p:spPr>
          <a:xfrm>
            <a:off x="9660801" y="1857375"/>
            <a:ext cx="1980034" cy="26314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95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1800" b="1">
                <a:solidFill>
                  <a:schemeClr val="accen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331469" algn="l">
              <a:lnSpc>
                <a:spcPct val="95000"/>
              </a:lnSpc>
              <a:spcBef>
                <a:spcPts val="500"/>
              </a:spcBef>
              <a:spcAft>
                <a:spcPts val="0"/>
              </a:spcAft>
              <a:buSzPts val="1620"/>
              <a:buChar char="▪"/>
              <a:defRPr/>
            </a:lvl2pPr>
            <a:lvl3pPr marL="1371600" lvl="2" indent="-342900" algn="l">
              <a:lnSpc>
                <a:spcPct val="95000"/>
              </a:lnSpc>
              <a:spcBef>
                <a:spcPts val="300"/>
              </a:spcBef>
              <a:spcAft>
                <a:spcPts val="0"/>
              </a:spcAft>
              <a:buSzPts val="1800"/>
              <a:buChar char="−"/>
              <a:defRPr/>
            </a:lvl3pPr>
            <a:lvl4pPr marL="1828800" lvl="3" indent="-331469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620"/>
              <a:buChar char="▪"/>
              <a:defRPr/>
            </a:lvl4pPr>
            <a:lvl5pPr marL="2286000" lvl="4" indent="-34290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800"/>
              <a:buChar char="−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98" name="Google Shape;198;p62"/>
          <p:cNvSpPr txBox="1">
            <a:spLocks noGrp="1"/>
          </p:cNvSpPr>
          <p:nvPr>
            <p:ph type="ftr" idx="11"/>
          </p:nvPr>
        </p:nvSpPr>
        <p:spPr>
          <a:xfrm>
            <a:off x="550863" y="6465614"/>
            <a:ext cx="5545138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685796637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/3 Blue on Left_2">
  <p:cSld name="1/3 Blue on Left_2">
    <p:spTree>
      <p:nvGrpSpPr>
        <p:cNvPr id="1" name="Shape 19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0" name="Google Shape;200;p63"/>
          <p:cNvSpPr/>
          <p:nvPr/>
        </p:nvSpPr>
        <p:spPr>
          <a:xfrm>
            <a:off x="0" y="-1"/>
            <a:ext cx="4059776" cy="6857999"/>
          </a:xfrm>
          <a:prstGeom prst="rect">
            <a:avLst/>
          </a:prstGeom>
          <a:gradFill>
            <a:gsLst>
              <a:gs pos="0">
                <a:srgbClr val="062379"/>
              </a:gs>
              <a:gs pos="55000">
                <a:srgbClr val="385ED2"/>
              </a:gs>
              <a:gs pos="76000">
                <a:srgbClr val="4873F5">
                  <a:alpha val="88235"/>
                </a:srgbClr>
              </a:gs>
              <a:gs pos="100000">
                <a:srgbClr val="43E1D3"/>
              </a:gs>
            </a:gsLst>
            <a:lin ang="300000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01" name="Google Shape;201;p63"/>
          <p:cNvSpPr txBox="1">
            <a:spLocks noGrp="1"/>
          </p:cNvSpPr>
          <p:nvPr>
            <p:ph type="title"/>
          </p:nvPr>
        </p:nvSpPr>
        <p:spPr>
          <a:xfrm>
            <a:off x="566141" y="2546064"/>
            <a:ext cx="3032465" cy="176586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500"/>
              <a:buFont typeface="Franklin Gothic"/>
              <a:buNone/>
              <a:defRPr sz="4500">
                <a:solidFill>
                  <a:schemeClr val="lt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02" name="Google Shape;202;p63"/>
          <p:cNvSpPr txBox="1">
            <a:spLocks noGrp="1"/>
          </p:cNvSpPr>
          <p:nvPr>
            <p:ph type="sldNum" idx="12"/>
          </p:nvPr>
        </p:nvSpPr>
        <p:spPr>
          <a:xfrm>
            <a:off x="11490153" y="6465614"/>
            <a:ext cx="150682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marL="0" marR="0" lvl="0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203" name="Google Shape;203;p63"/>
          <p:cNvSpPr txBox="1">
            <a:spLocks noGrp="1"/>
          </p:cNvSpPr>
          <p:nvPr>
            <p:ph type="ftr" idx="11"/>
          </p:nvPr>
        </p:nvSpPr>
        <p:spPr>
          <a:xfrm>
            <a:off x="4360863" y="6465614"/>
            <a:ext cx="5545138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979394532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/2 Blue on Left">
  <p:cSld name="1/2 Blue on Left">
    <p:spTree>
      <p:nvGrpSpPr>
        <p:cNvPr id="1" name="Shape 2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" name="Google Shape;205;p64"/>
          <p:cNvSpPr/>
          <p:nvPr/>
        </p:nvSpPr>
        <p:spPr>
          <a:xfrm>
            <a:off x="0" y="-1"/>
            <a:ext cx="6098537" cy="6857999"/>
          </a:xfrm>
          <a:prstGeom prst="rect">
            <a:avLst/>
          </a:prstGeom>
          <a:gradFill>
            <a:gsLst>
              <a:gs pos="0">
                <a:srgbClr val="062379"/>
              </a:gs>
              <a:gs pos="55000">
                <a:srgbClr val="385ED2"/>
              </a:gs>
              <a:gs pos="76000">
                <a:srgbClr val="4873F5">
                  <a:alpha val="88235"/>
                </a:srgbClr>
              </a:gs>
              <a:gs pos="100000">
                <a:srgbClr val="43E1D3"/>
              </a:gs>
            </a:gsLst>
            <a:lin ang="300000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06" name="Google Shape;206;p64"/>
          <p:cNvSpPr txBox="1">
            <a:spLocks noGrp="1"/>
          </p:cNvSpPr>
          <p:nvPr>
            <p:ph type="title"/>
          </p:nvPr>
        </p:nvSpPr>
        <p:spPr>
          <a:xfrm>
            <a:off x="539400" y="562840"/>
            <a:ext cx="5074328" cy="83715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Franklin Gothic"/>
              <a:buNone/>
              <a:defRPr>
                <a:solidFill>
                  <a:schemeClr val="lt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07" name="Google Shape;207;p64"/>
          <p:cNvSpPr txBox="1">
            <a:spLocks noGrp="1"/>
          </p:cNvSpPr>
          <p:nvPr>
            <p:ph type="sldNum" idx="12"/>
          </p:nvPr>
        </p:nvSpPr>
        <p:spPr>
          <a:xfrm>
            <a:off x="11490153" y="6465614"/>
            <a:ext cx="150682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marL="0" marR="0" lvl="0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08" name="Google Shape;208;p64"/>
          <p:cNvCxnSpPr/>
          <p:nvPr/>
        </p:nvCxnSpPr>
        <p:spPr>
          <a:xfrm>
            <a:off x="539400" y="484910"/>
            <a:ext cx="540000" cy="0"/>
          </a:xfrm>
          <a:prstGeom prst="straightConnector1">
            <a:avLst/>
          </a:prstGeom>
          <a:noFill/>
          <a:ln w="38100" cap="flat" cmpd="sng">
            <a:solidFill>
              <a:schemeClr val="lt1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09" name="Google Shape;209;p64"/>
          <p:cNvSpPr txBox="1">
            <a:spLocks noGrp="1"/>
          </p:cNvSpPr>
          <p:nvPr>
            <p:ph type="ftr" idx="11"/>
          </p:nvPr>
        </p:nvSpPr>
        <p:spPr>
          <a:xfrm>
            <a:off x="549232" y="6465614"/>
            <a:ext cx="5074328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000" b="0" i="0" u="none" strike="noStrike" cap="none">
                <a:solidFill>
                  <a:schemeClr val="lt2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989597649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Gradient BG (with Title)">
  <p:cSld name="Gradient BG (with Title)">
    <p:spTree>
      <p:nvGrpSpPr>
        <p:cNvPr id="1" name="Shape 2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1" name="Google Shape;211;p65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0">
                <a:srgbClr val="062379"/>
              </a:gs>
              <a:gs pos="16000">
                <a:srgbClr val="062379"/>
              </a:gs>
              <a:gs pos="45000">
                <a:srgbClr val="0934B6">
                  <a:alpha val="88235"/>
                </a:srgbClr>
              </a:gs>
              <a:gs pos="79000">
                <a:srgbClr val="036DFF">
                  <a:alpha val="80000"/>
                </a:srgbClr>
              </a:gs>
              <a:gs pos="100000">
                <a:srgbClr val="43E1D3"/>
              </a:gs>
            </a:gsLst>
            <a:lin ang="270000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12" name="Google Shape;212;p65"/>
          <p:cNvSpPr txBox="1">
            <a:spLocks noGrp="1"/>
          </p:cNvSpPr>
          <p:nvPr>
            <p:ph type="title"/>
          </p:nvPr>
        </p:nvSpPr>
        <p:spPr>
          <a:xfrm>
            <a:off x="539400" y="560588"/>
            <a:ext cx="11089972" cy="4185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Franklin Gothic"/>
              <a:buNone/>
              <a:defRPr>
                <a:solidFill>
                  <a:schemeClr val="lt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cxnSp>
        <p:nvCxnSpPr>
          <p:cNvPr id="213" name="Google Shape;213;p65"/>
          <p:cNvCxnSpPr/>
          <p:nvPr/>
        </p:nvCxnSpPr>
        <p:spPr>
          <a:xfrm>
            <a:off x="539400" y="484910"/>
            <a:ext cx="540000" cy="0"/>
          </a:xfrm>
          <a:prstGeom prst="straightConnector1">
            <a:avLst/>
          </a:prstGeom>
          <a:noFill/>
          <a:ln w="38100" cap="flat" cmpd="sng">
            <a:solidFill>
              <a:schemeClr val="lt1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214" name="Google Shape;214;p65"/>
          <p:cNvGrpSpPr/>
          <p:nvPr/>
        </p:nvGrpSpPr>
        <p:grpSpPr>
          <a:xfrm>
            <a:off x="11998459" y="6162188"/>
            <a:ext cx="68500" cy="441925"/>
            <a:chOff x="11998459" y="6162188"/>
            <a:chExt cx="68500" cy="441925"/>
          </a:xfrm>
        </p:grpSpPr>
        <p:sp>
          <p:nvSpPr>
            <p:cNvPr id="215" name="Google Shape;215;p65"/>
            <p:cNvSpPr/>
            <p:nvPr/>
          </p:nvSpPr>
          <p:spPr>
            <a:xfrm rot="-5400000">
              <a:off x="12063068" y="6476346"/>
              <a:ext cx="17" cy="1717"/>
            </a:xfrm>
            <a:custGeom>
              <a:avLst/>
              <a:gdLst/>
              <a:ahLst/>
              <a:cxnLst/>
              <a:rect l="l" t="t" r="r" b="b"/>
              <a:pathLst>
                <a:path w="17" h="1717" extrusionOk="0">
                  <a:moveTo>
                    <a:pt x="0" y="0"/>
                  </a:moveTo>
                  <a:lnTo>
                    <a:pt x="17" y="0"/>
                  </a:lnTo>
                  <a:lnTo>
                    <a:pt x="17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16" name="Google Shape;216;p65"/>
            <p:cNvSpPr/>
            <p:nvPr/>
          </p:nvSpPr>
          <p:spPr>
            <a:xfrm rot="-5400000">
              <a:off x="12023737" y="6455896"/>
              <a:ext cx="453" cy="271"/>
            </a:xfrm>
            <a:custGeom>
              <a:avLst/>
              <a:gdLst/>
              <a:ahLst/>
              <a:cxnLst/>
              <a:rect l="l" t="t" r="r" b="b"/>
              <a:pathLst>
                <a:path w="453" h="271" extrusionOk="0">
                  <a:moveTo>
                    <a:pt x="0" y="0"/>
                  </a:moveTo>
                  <a:cubicBezTo>
                    <a:pt x="258" y="172"/>
                    <a:pt x="498" y="344"/>
                    <a:pt x="447" y="240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17" name="Google Shape;217;p65"/>
            <p:cNvSpPr/>
            <p:nvPr/>
          </p:nvSpPr>
          <p:spPr>
            <a:xfrm rot="-5400000">
              <a:off x="12023907" y="6477766"/>
              <a:ext cx="15" cy="76"/>
            </a:xfrm>
            <a:custGeom>
              <a:avLst/>
              <a:gdLst/>
              <a:ahLst/>
              <a:cxnLst/>
              <a:rect l="l" t="t" r="r" b="b"/>
              <a:pathLst>
                <a:path w="15" h="76" extrusionOk="0">
                  <a:moveTo>
                    <a:pt x="15" y="38"/>
                  </a:moveTo>
                  <a:cubicBezTo>
                    <a:pt x="15" y="38"/>
                    <a:pt x="15" y="-48"/>
                    <a:pt x="15" y="38"/>
                  </a:cubicBezTo>
                  <a:cubicBezTo>
                    <a:pt x="15" y="124"/>
                    <a:pt x="-19" y="38"/>
                    <a:pt x="15" y="3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18" name="Google Shape;218;p65"/>
            <p:cNvSpPr/>
            <p:nvPr/>
          </p:nvSpPr>
          <p:spPr>
            <a:xfrm rot="-5400000">
              <a:off x="12021636" y="6473651"/>
              <a:ext cx="261" cy="103"/>
            </a:xfrm>
            <a:custGeom>
              <a:avLst/>
              <a:gdLst/>
              <a:ahLst/>
              <a:cxnLst/>
              <a:rect l="l" t="t" r="r" b="b"/>
              <a:pathLst>
                <a:path w="261" h="103" extrusionOk="0">
                  <a:moveTo>
                    <a:pt x="262" y="0"/>
                  </a:moveTo>
                  <a:lnTo>
                    <a:pt x="56" y="103"/>
                  </a:lnTo>
                  <a:cubicBezTo>
                    <a:pt x="176" y="103"/>
                    <a:pt x="-116" y="103"/>
                    <a:pt x="56" y="103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19" name="Google Shape;219;p65"/>
            <p:cNvSpPr/>
            <p:nvPr/>
          </p:nvSpPr>
          <p:spPr>
            <a:xfrm rot="-5400000">
              <a:off x="12015635" y="6442208"/>
              <a:ext cx="51323" cy="51323"/>
            </a:xfrm>
            <a:custGeom>
              <a:avLst/>
              <a:gdLst/>
              <a:ahLst/>
              <a:cxnLst/>
              <a:rect l="l" t="t" r="r" b="b"/>
              <a:pathLst>
                <a:path w="51323" h="51323" extrusionOk="0">
                  <a:moveTo>
                    <a:pt x="25662" y="0"/>
                  </a:moveTo>
                  <a:cubicBezTo>
                    <a:pt x="11489" y="0"/>
                    <a:pt x="0" y="11489"/>
                    <a:pt x="0" y="25662"/>
                  </a:cubicBezTo>
                  <a:cubicBezTo>
                    <a:pt x="0" y="39834"/>
                    <a:pt x="11489" y="51323"/>
                    <a:pt x="25662" y="51323"/>
                  </a:cubicBezTo>
                  <a:cubicBezTo>
                    <a:pt x="39835" y="51323"/>
                    <a:pt x="51324" y="39834"/>
                    <a:pt x="51324" y="25662"/>
                  </a:cubicBezTo>
                  <a:cubicBezTo>
                    <a:pt x="51324" y="25645"/>
                    <a:pt x="51324" y="25627"/>
                    <a:pt x="51324" y="25610"/>
                  </a:cubicBezTo>
                  <a:cubicBezTo>
                    <a:pt x="51314" y="11457"/>
                    <a:pt x="39833" y="-9"/>
                    <a:pt x="25679" y="0"/>
                  </a:cubicBezTo>
                  <a:cubicBezTo>
                    <a:pt x="25673" y="0"/>
                    <a:pt x="25667" y="0"/>
                    <a:pt x="25662" y="0"/>
                  </a:cubicBezTo>
                  <a:close/>
                  <a:moveTo>
                    <a:pt x="26967" y="15648"/>
                  </a:moveTo>
                  <a:cubicBezTo>
                    <a:pt x="26864" y="15648"/>
                    <a:pt x="26967" y="15785"/>
                    <a:pt x="26967" y="15837"/>
                  </a:cubicBezTo>
                  <a:cubicBezTo>
                    <a:pt x="26894" y="15820"/>
                    <a:pt x="26817" y="15820"/>
                    <a:pt x="26744" y="15837"/>
                  </a:cubicBezTo>
                  <a:cubicBezTo>
                    <a:pt x="26899" y="15837"/>
                    <a:pt x="27139" y="16043"/>
                    <a:pt x="26933" y="16163"/>
                  </a:cubicBezTo>
                  <a:cubicBezTo>
                    <a:pt x="26727" y="16283"/>
                    <a:pt x="27019" y="16163"/>
                    <a:pt x="27036" y="16163"/>
                  </a:cubicBezTo>
                  <a:cubicBezTo>
                    <a:pt x="27173" y="15854"/>
                    <a:pt x="27586" y="16283"/>
                    <a:pt x="27294" y="16489"/>
                  </a:cubicBezTo>
                  <a:lnTo>
                    <a:pt x="27294" y="16489"/>
                  </a:lnTo>
                  <a:cubicBezTo>
                    <a:pt x="27294" y="16489"/>
                    <a:pt x="27294" y="16489"/>
                    <a:pt x="27294" y="16489"/>
                  </a:cubicBezTo>
                  <a:lnTo>
                    <a:pt x="27294" y="16489"/>
                  </a:lnTo>
                  <a:cubicBezTo>
                    <a:pt x="27294" y="16489"/>
                    <a:pt x="27191" y="16489"/>
                    <a:pt x="27156" y="16489"/>
                  </a:cubicBezTo>
                  <a:cubicBezTo>
                    <a:pt x="27122" y="16489"/>
                    <a:pt x="27156" y="16489"/>
                    <a:pt x="27156" y="16593"/>
                  </a:cubicBezTo>
                  <a:cubicBezTo>
                    <a:pt x="27156" y="16696"/>
                    <a:pt x="27276" y="16593"/>
                    <a:pt x="27156" y="16593"/>
                  </a:cubicBezTo>
                  <a:cubicBezTo>
                    <a:pt x="27036" y="16593"/>
                    <a:pt x="27294" y="16593"/>
                    <a:pt x="27379" y="16593"/>
                  </a:cubicBezTo>
                  <a:cubicBezTo>
                    <a:pt x="27465" y="16593"/>
                    <a:pt x="27276" y="16713"/>
                    <a:pt x="27276" y="16799"/>
                  </a:cubicBezTo>
                  <a:cubicBezTo>
                    <a:pt x="27276" y="16885"/>
                    <a:pt x="26795" y="16936"/>
                    <a:pt x="26744" y="16799"/>
                  </a:cubicBezTo>
                  <a:cubicBezTo>
                    <a:pt x="26692" y="16661"/>
                    <a:pt x="26297" y="16799"/>
                    <a:pt x="26074" y="16902"/>
                  </a:cubicBezTo>
                  <a:cubicBezTo>
                    <a:pt x="25851" y="17005"/>
                    <a:pt x="26074" y="17125"/>
                    <a:pt x="25868" y="16988"/>
                  </a:cubicBezTo>
                  <a:cubicBezTo>
                    <a:pt x="25662" y="16850"/>
                    <a:pt x="25610" y="16988"/>
                    <a:pt x="25559" y="17142"/>
                  </a:cubicBezTo>
                  <a:cubicBezTo>
                    <a:pt x="25507" y="17297"/>
                    <a:pt x="25559" y="17142"/>
                    <a:pt x="25404" y="17142"/>
                  </a:cubicBezTo>
                  <a:cubicBezTo>
                    <a:pt x="25553" y="17029"/>
                    <a:pt x="25690" y="16902"/>
                    <a:pt x="25816" y="16764"/>
                  </a:cubicBezTo>
                  <a:cubicBezTo>
                    <a:pt x="25816" y="16593"/>
                    <a:pt x="26057" y="16764"/>
                    <a:pt x="26194" y="16764"/>
                  </a:cubicBezTo>
                  <a:cubicBezTo>
                    <a:pt x="26332" y="16764"/>
                    <a:pt x="26297" y="16610"/>
                    <a:pt x="26349" y="16541"/>
                  </a:cubicBezTo>
                  <a:cubicBezTo>
                    <a:pt x="26400" y="16472"/>
                    <a:pt x="26091" y="16764"/>
                    <a:pt x="26005" y="16627"/>
                  </a:cubicBezTo>
                  <a:cubicBezTo>
                    <a:pt x="25919" y="16489"/>
                    <a:pt x="25748" y="16627"/>
                    <a:pt x="25902" y="16627"/>
                  </a:cubicBezTo>
                  <a:cubicBezTo>
                    <a:pt x="26057" y="16627"/>
                    <a:pt x="25765" y="16627"/>
                    <a:pt x="25662" y="16627"/>
                  </a:cubicBezTo>
                  <a:lnTo>
                    <a:pt x="25662" y="16627"/>
                  </a:lnTo>
                  <a:cubicBezTo>
                    <a:pt x="25662" y="16627"/>
                    <a:pt x="25662" y="16627"/>
                    <a:pt x="25662" y="16627"/>
                  </a:cubicBezTo>
                  <a:cubicBezTo>
                    <a:pt x="25919" y="16541"/>
                    <a:pt x="26040" y="16472"/>
                    <a:pt x="26005" y="16215"/>
                  </a:cubicBezTo>
                  <a:lnTo>
                    <a:pt x="25834" y="16215"/>
                  </a:lnTo>
                  <a:cubicBezTo>
                    <a:pt x="25954" y="16094"/>
                    <a:pt x="26126" y="15940"/>
                    <a:pt x="26297" y="16060"/>
                  </a:cubicBezTo>
                  <a:cubicBezTo>
                    <a:pt x="26160" y="15888"/>
                    <a:pt x="26297" y="16060"/>
                    <a:pt x="26297" y="16060"/>
                  </a:cubicBezTo>
                  <a:cubicBezTo>
                    <a:pt x="26297" y="16060"/>
                    <a:pt x="26194" y="15837"/>
                    <a:pt x="26297" y="15785"/>
                  </a:cubicBezTo>
                  <a:cubicBezTo>
                    <a:pt x="26400" y="15734"/>
                    <a:pt x="26297" y="15648"/>
                    <a:pt x="26194" y="15785"/>
                  </a:cubicBezTo>
                  <a:lnTo>
                    <a:pt x="26194" y="15785"/>
                  </a:lnTo>
                  <a:cubicBezTo>
                    <a:pt x="26057" y="15785"/>
                    <a:pt x="26194" y="15476"/>
                    <a:pt x="26194" y="15493"/>
                  </a:cubicBezTo>
                  <a:cubicBezTo>
                    <a:pt x="26023" y="15493"/>
                    <a:pt x="25988" y="15613"/>
                    <a:pt x="25834" y="15493"/>
                  </a:cubicBezTo>
                  <a:cubicBezTo>
                    <a:pt x="25679" y="15373"/>
                    <a:pt x="25834" y="15493"/>
                    <a:pt x="25834" y="15596"/>
                  </a:cubicBezTo>
                  <a:cubicBezTo>
                    <a:pt x="25834" y="15699"/>
                    <a:pt x="25662" y="15459"/>
                    <a:pt x="25713" y="15596"/>
                  </a:cubicBezTo>
                  <a:cubicBezTo>
                    <a:pt x="25765" y="15734"/>
                    <a:pt x="25713" y="15493"/>
                    <a:pt x="25713" y="15459"/>
                  </a:cubicBezTo>
                  <a:lnTo>
                    <a:pt x="25713" y="15459"/>
                  </a:lnTo>
                  <a:cubicBezTo>
                    <a:pt x="25713" y="15459"/>
                    <a:pt x="25713" y="15287"/>
                    <a:pt x="25816" y="15236"/>
                  </a:cubicBezTo>
                  <a:cubicBezTo>
                    <a:pt x="25919" y="15184"/>
                    <a:pt x="25713" y="15029"/>
                    <a:pt x="25816" y="15064"/>
                  </a:cubicBezTo>
                  <a:cubicBezTo>
                    <a:pt x="25919" y="15098"/>
                    <a:pt x="25816" y="15064"/>
                    <a:pt x="25816" y="14961"/>
                  </a:cubicBezTo>
                  <a:cubicBezTo>
                    <a:pt x="25816" y="14858"/>
                    <a:pt x="25816" y="15047"/>
                    <a:pt x="25816" y="15081"/>
                  </a:cubicBezTo>
                  <a:lnTo>
                    <a:pt x="25816" y="15081"/>
                  </a:lnTo>
                  <a:cubicBezTo>
                    <a:pt x="25816" y="15081"/>
                    <a:pt x="25816" y="15081"/>
                    <a:pt x="25816" y="15081"/>
                  </a:cubicBezTo>
                  <a:cubicBezTo>
                    <a:pt x="25816" y="15081"/>
                    <a:pt x="25816" y="15081"/>
                    <a:pt x="25816" y="15081"/>
                  </a:cubicBezTo>
                  <a:cubicBezTo>
                    <a:pt x="25812" y="15173"/>
                    <a:pt x="25812" y="15264"/>
                    <a:pt x="25816" y="15356"/>
                  </a:cubicBezTo>
                  <a:cubicBezTo>
                    <a:pt x="25713" y="15356"/>
                    <a:pt x="25816" y="15218"/>
                    <a:pt x="25816" y="15167"/>
                  </a:cubicBezTo>
                  <a:cubicBezTo>
                    <a:pt x="25816" y="15115"/>
                    <a:pt x="25816" y="14858"/>
                    <a:pt x="25919" y="14823"/>
                  </a:cubicBezTo>
                  <a:cubicBezTo>
                    <a:pt x="26023" y="14789"/>
                    <a:pt x="25919" y="14823"/>
                    <a:pt x="25919" y="14823"/>
                  </a:cubicBezTo>
                  <a:cubicBezTo>
                    <a:pt x="25919" y="14823"/>
                    <a:pt x="25799" y="14978"/>
                    <a:pt x="25731" y="14823"/>
                  </a:cubicBezTo>
                  <a:cubicBezTo>
                    <a:pt x="25662" y="14669"/>
                    <a:pt x="25731" y="14823"/>
                    <a:pt x="25731" y="14823"/>
                  </a:cubicBezTo>
                  <a:cubicBezTo>
                    <a:pt x="25731" y="14823"/>
                    <a:pt x="25731" y="14686"/>
                    <a:pt x="25868" y="14737"/>
                  </a:cubicBezTo>
                  <a:cubicBezTo>
                    <a:pt x="26005" y="14789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lnTo>
                    <a:pt x="25868" y="14737"/>
                  </a:lnTo>
                  <a:lnTo>
                    <a:pt x="25868" y="14652"/>
                  </a:lnTo>
                  <a:cubicBezTo>
                    <a:pt x="25868" y="14652"/>
                    <a:pt x="25868" y="14652"/>
                    <a:pt x="25868" y="14652"/>
                  </a:cubicBezTo>
                  <a:cubicBezTo>
                    <a:pt x="25868" y="14652"/>
                    <a:pt x="25868" y="14566"/>
                    <a:pt x="25868" y="14514"/>
                  </a:cubicBezTo>
                  <a:lnTo>
                    <a:pt x="25868" y="14514"/>
                  </a:lnTo>
                  <a:cubicBezTo>
                    <a:pt x="25868" y="14514"/>
                    <a:pt x="25868" y="14514"/>
                    <a:pt x="25868" y="14514"/>
                  </a:cubicBezTo>
                  <a:cubicBezTo>
                    <a:pt x="25868" y="14514"/>
                    <a:pt x="25868" y="14514"/>
                    <a:pt x="25971" y="14514"/>
                  </a:cubicBezTo>
                  <a:cubicBezTo>
                    <a:pt x="25976" y="14486"/>
                    <a:pt x="25976" y="14457"/>
                    <a:pt x="25971" y="14428"/>
                  </a:cubicBezTo>
                  <a:cubicBezTo>
                    <a:pt x="25971" y="14428"/>
                    <a:pt x="26091" y="14085"/>
                    <a:pt x="26126" y="14291"/>
                  </a:cubicBezTo>
                  <a:cubicBezTo>
                    <a:pt x="26160" y="14497"/>
                    <a:pt x="26126" y="14291"/>
                    <a:pt x="26126" y="14291"/>
                  </a:cubicBezTo>
                  <a:cubicBezTo>
                    <a:pt x="26538" y="14136"/>
                    <a:pt x="26435" y="14291"/>
                    <a:pt x="26126" y="14531"/>
                  </a:cubicBezTo>
                  <a:lnTo>
                    <a:pt x="26126" y="14531"/>
                  </a:lnTo>
                  <a:cubicBezTo>
                    <a:pt x="25902" y="14737"/>
                    <a:pt x="26366" y="14531"/>
                    <a:pt x="26486" y="14531"/>
                  </a:cubicBezTo>
                  <a:cubicBezTo>
                    <a:pt x="26607" y="14531"/>
                    <a:pt x="26486" y="15029"/>
                    <a:pt x="26263" y="14995"/>
                  </a:cubicBezTo>
                  <a:cubicBezTo>
                    <a:pt x="26040" y="14961"/>
                    <a:pt x="26263" y="14995"/>
                    <a:pt x="26263" y="14995"/>
                  </a:cubicBezTo>
                  <a:cubicBezTo>
                    <a:pt x="26263" y="14995"/>
                    <a:pt x="26108" y="15133"/>
                    <a:pt x="26005" y="14995"/>
                  </a:cubicBezTo>
                  <a:cubicBezTo>
                    <a:pt x="26064" y="15057"/>
                    <a:pt x="26162" y="15059"/>
                    <a:pt x="26224" y="15000"/>
                  </a:cubicBezTo>
                  <a:cubicBezTo>
                    <a:pt x="26226" y="14998"/>
                    <a:pt x="26227" y="14997"/>
                    <a:pt x="26229" y="14995"/>
                  </a:cubicBezTo>
                  <a:cubicBezTo>
                    <a:pt x="26486" y="15098"/>
                    <a:pt x="26503" y="15373"/>
                    <a:pt x="26589" y="15579"/>
                  </a:cubicBezTo>
                  <a:cubicBezTo>
                    <a:pt x="26675" y="15785"/>
                    <a:pt x="26830" y="15545"/>
                    <a:pt x="26967" y="15613"/>
                  </a:cubicBezTo>
                  <a:close/>
                  <a:moveTo>
                    <a:pt x="18138" y="47476"/>
                  </a:moveTo>
                  <a:lnTo>
                    <a:pt x="18138" y="47476"/>
                  </a:lnTo>
                  <a:lnTo>
                    <a:pt x="18138" y="47476"/>
                  </a:lnTo>
                  <a:lnTo>
                    <a:pt x="18138" y="47476"/>
                  </a:lnTo>
                  <a:lnTo>
                    <a:pt x="18224" y="47476"/>
                  </a:lnTo>
                  <a:lnTo>
                    <a:pt x="18224" y="47476"/>
                  </a:lnTo>
                  <a:lnTo>
                    <a:pt x="17984" y="47338"/>
                  </a:lnTo>
                  <a:lnTo>
                    <a:pt x="17984" y="47338"/>
                  </a:lnTo>
                  <a:lnTo>
                    <a:pt x="17984" y="47338"/>
                  </a:lnTo>
                  <a:lnTo>
                    <a:pt x="18070" y="47338"/>
                  </a:lnTo>
                  <a:lnTo>
                    <a:pt x="18070" y="47338"/>
                  </a:lnTo>
                  <a:lnTo>
                    <a:pt x="18070" y="47338"/>
                  </a:lnTo>
                  <a:lnTo>
                    <a:pt x="17795" y="47218"/>
                  </a:lnTo>
                  <a:lnTo>
                    <a:pt x="17795" y="47218"/>
                  </a:lnTo>
                  <a:cubicBezTo>
                    <a:pt x="17795" y="47218"/>
                    <a:pt x="17795" y="47218"/>
                    <a:pt x="17795" y="47218"/>
                  </a:cubicBezTo>
                  <a:cubicBezTo>
                    <a:pt x="17762" y="47203"/>
                    <a:pt x="17725" y="47203"/>
                    <a:pt x="17692" y="47218"/>
                  </a:cubicBezTo>
                  <a:lnTo>
                    <a:pt x="17692" y="47218"/>
                  </a:lnTo>
                  <a:lnTo>
                    <a:pt x="17692" y="47218"/>
                  </a:lnTo>
                  <a:lnTo>
                    <a:pt x="17692" y="47218"/>
                  </a:lnTo>
                  <a:lnTo>
                    <a:pt x="17864" y="47218"/>
                  </a:lnTo>
                  <a:lnTo>
                    <a:pt x="17658" y="47218"/>
                  </a:lnTo>
                  <a:lnTo>
                    <a:pt x="17658" y="47218"/>
                  </a:lnTo>
                  <a:lnTo>
                    <a:pt x="17417" y="47115"/>
                  </a:lnTo>
                  <a:lnTo>
                    <a:pt x="17417" y="47115"/>
                  </a:lnTo>
                  <a:lnTo>
                    <a:pt x="17417" y="47115"/>
                  </a:lnTo>
                  <a:lnTo>
                    <a:pt x="17280" y="47115"/>
                  </a:lnTo>
                  <a:lnTo>
                    <a:pt x="17469" y="47218"/>
                  </a:lnTo>
                  <a:lnTo>
                    <a:pt x="17194" y="47081"/>
                  </a:lnTo>
                  <a:lnTo>
                    <a:pt x="17194" y="47081"/>
                  </a:lnTo>
                  <a:lnTo>
                    <a:pt x="17366" y="47081"/>
                  </a:lnTo>
                  <a:lnTo>
                    <a:pt x="17228" y="47081"/>
                  </a:lnTo>
                  <a:lnTo>
                    <a:pt x="17366" y="47081"/>
                  </a:lnTo>
                  <a:lnTo>
                    <a:pt x="17108" y="46961"/>
                  </a:lnTo>
                  <a:lnTo>
                    <a:pt x="17108" y="46961"/>
                  </a:lnTo>
                  <a:lnTo>
                    <a:pt x="17005" y="46961"/>
                  </a:lnTo>
                  <a:lnTo>
                    <a:pt x="17005" y="46961"/>
                  </a:lnTo>
                  <a:lnTo>
                    <a:pt x="16782" y="46858"/>
                  </a:lnTo>
                  <a:lnTo>
                    <a:pt x="16782" y="46858"/>
                  </a:lnTo>
                  <a:lnTo>
                    <a:pt x="16696" y="46858"/>
                  </a:lnTo>
                  <a:lnTo>
                    <a:pt x="16696" y="46858"/>
                  </a:lnTo>
                  <a:cubicBezTo>
                    <a:pt x="16557" y="46803"/>
                    <a:pt x="16425" y="46733"/>
                    <a:pt x="16301" y="46651"/>
                  </a:cubicBezTo>
                  <a:lnTo>
                    <a:pt x="16301" y="46651"/>
                  </a:lnTo>
                  <a:lnTo>
                    <a:pt x="16129" y="46548"/>
                  </a:lnTo>
                  <a:lnTo>
                    <a:pt x="16283" y="46651"/>
                  </a:lnTo>
                  <a:lnTo>
                    <a:pt x="15940" y="46462"/>
                  </a:lnTo>
                  <a:lnTo>
                    <a:pt x="15940" y="46462"/>
                  </a:lnTo>
                  <a:lnTo>
                    <a:pt x="15837" y="46462"/>
                  </a:lnTo>
                  <a:lnTo>
                    <a:pt x="15837" y="46462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510" y="46274"/>
                  </a:lnTo>
                  <a:lnTo>
                    <a:pt x="15510" y="46274"/>
                  </a:lnTo>
                  <a:lnTo>
                    <a:pt x="15339" y="46153"/>
                  </a:lnTo>
                  <a:lnTo>
                    <a:pt x="15339" y="46153"/>
                  </a:lnTo>
                  <a:lnTo>
                    <a:pt x="15201" y="46153"/>
                  </a:lnTo>
                  <a:lnTo>
                    <a:pt x="15201" y="46153"/>
                  </a:lnTo>
                  <a:cubicBezTo>
                    <a:pt x="15162" y="46164"/>
                    <a:pt x="15120" y="46164"/>
                    <a:pt x="15081" y="46153"/>
                  </a:cubicBezTo>
                  <a:lnTo>
                    <a:pt x="15081" y="46153"/>
                  </a:lnTo>
                  <a:lnTo>
                    <a:pt x="15218" y="46239"/>
                  </a:lnTo>
                  <a:lnTo>
                    <a:pt x="15081" y="46153"/>
                  </a:lnTo>
                  <a:lnTo>
                    <a:pt x="15081" y="46153"/>
                  </a:lnTo>
                  <a:lnTo>
                    <a:pt x="14961" y="46153"/>
                  </a:lnTo>
                  <a:lnTo>
                    <a:pt x="14961" y="46153"/>
                  </a:lnTo>
                  <a:lnTo>
                    <a:pt x="14823" y="46067"/>
                  </a:lnTo>
                  <a:cubicBezTo>
                    <a:pt x="14890" y="46095"/>
                    <a:pt x="14953" y="46130"/>
                    <a:pt x="15012" y="46170"/>
                  </a:cubicBezTo>
                  <a:cubicBezTo>
                    <a:pt x="15012" y="46170"/>
                    <a:pt x="15150" y="46274"/>
                    <a:pt x="15184" y="46274"/>
                  </a:cubicBezTo>
                  <a:lnTo>
                    <a:pt x="14720" y="45947"/>
                  </a:lnTo>
                  <a:lnTo>
                    <a:pt x="14720" y="45947"/>
                  </a:lnTo>
                  <a:cubicBezTo>
                    <a:pt x="14446" y="45724"/>
                    <a:pt x="14136" y="45535"/>
                    <a:pt x="13879" y="45312"/>
                  </a:cubicBezTo>
                  <a:lnTo>
                    <a:pt x="13982" y="45312"/>
                  </a:lnTo>
                  <a:lnTo>
                    <a:pt x="13827" y="45191"/>
                  </a:lnTo>
                  <a:lnTo>
                    <a:pt x="13827" y="45191"/>
                  </a:lnTo>
                  <a:cubicBezTo>
                    <a:pt x="13827" y="45191"/>
                    <a:pt x="13827" y="45191"/>
                    <a:pt x="13724" y="45191"/>
                  </a:cubicBezTo>
                  <a:lnTo>
                    <a:pt x="13724" y="45191"/>
                  </a:lnTo>
                  <a:lnTo>
                    <a:pt x="13724" y="45191"/>
                  </a:lnTo>
                  <a:lnTo>
                    <a:pt x="13724" y="45191"/>
                  </a:lnTo>
                  <a:cubicBezTo>
                    <a:pt x="13500" y="45056"/>
                    <a:pt x="13292" y="44895"/>
                    <a:pt x="13106" y="44710"/>
                  </a:cubicBezTo>
                  <a:lnTo>
                    <a:pt x="13106" y="44710"/>
                  </a:lnTo>
                  <a:cubicBezTo>
                    <a:pt x="12865" y="44453"/>
                    <a:pt x="12573" y="44264"/>
                    <a:pt x="12316" y="44023"/>
                  </a:cubicBezTo>
                  <a:cubicBezTo>
                    <a:pt x="12316" y="44023"/>
                    <a:pt x="12316" y="44023"/>
                    <a:pt x="12316" y="44023"/>
                  </a:cubicBezTo>
                  <a:cubicBezTo>
                    <a:pt x="11271" y="42931"/>
                    <a:pt x="10350" y="41727"/>
                    <a:pt x="9567" y="40434"/>
                  </a:cubicBezTo>
                  <a:lnTo>
                    <a:pt x="9567" y="40434"/>
                  </a:lnTo>
                  <a:cubicBezTo>
                    <a:pt x="9215" y="39466"/>
                    <a:pt x="8691" y="38570"/>
                    <a:pt x="8021" y="37788"/>
                  </a:cubicBezTo>
                  <a:lnTo>
                    <a:pt x="8021" y="37788"/>
                  </a:lnTo>
                  <a:cubicBezTo>
                    <a:pt x="6949" y="36560"/>
                    <a:pt x="6200" y="35084"/>
                    <a:pt x="5840" y="33494"/>
                  </a:cubicBezTo>
                  <a:cubicBezTo>
                    <a:pt x="5840" y="33494"/>
                    <a:pt x="5840" y="33494"/>
                    <a:pt x="5840" y="33580"/>
                  </a:cubicBezTo>
                  <a:cubicBezTo>
                    <a:pt x="5850" y="33546"/>
                    <a:pt x="5850" y="33511"/>
                    <a:pt x="5840" y="33477"/>
                  </a:cubicBezTo>
                  <a:cubicBezTo>
                    <a:pt x="5840" y="33477"/>
                    <a:pt x="5840" y="33580"/>
                    <a:pt x="5840" y="33614"/>
                  </a:cubicBezTo>
                  <a:cubicBezTo>
                    <a:pt x="5600" y="33202"/>
                    <a:pt x="5685" y="28461"/>
                    <a:pt x="5222" y="30299"/>
                  </a:cubicBezTo>
                  <a:cubicBezTo>
                    <a:pt x="5222" y="30299"/>
                    <a:pt x="5222" y="30093"/>
                    <a:pt x="5222" y="30042"/>
                  </a:cubicBezTo>
                  <a:cubicBezTo>
                    <a:pt x="5222" y="29990"/>
                    <a:pt x="5222" y="30042"/>
                    <a:pt x="5222" y="30128"/>
                  </a:cubicBezTo>
                  <a:cubicBezTo>
                    <a:pt x="5222" y="30213"/>
                    <a:pt x="5222" y="29887"/>
                    <a:pt x="5067" y="29784"/>
                  </a:cubicBezTo>
                  <a:cubicBezTo>
                    <a:pt x="4913" y="29681"/>
                    <a:pt x="5067" y="29784"/>
                    <a:pt x="5067" y="29784"/>
                  </a:cubicBezTo>
                  <a:lnTo>
                    <a:pt x="5067" y="29784"/>
                  </a:lnTo>
                  <a:cubicBezTo>
                    <a:pt x="5067" y="29784"/>
                    <a:pt x="5067" y="29612"/>
                    <a:pt x="5067" y="29544"/>
                  </a:cubicBezTo>
                  <a:cubicBezTo>
                    <a:pt x="5067" y="29475"/>
                    <a:pt x="5067" y="29664"/>
                    <a:pt x="5067" y="29715"/>
                  </a:cubicBezTo>
                  <a:cubicBezTo>
                    <a:pt x="5067" y="29458"/>
                    <a:pt x="4947" y="29166"/>
                    <a:pt x="4844" y="28908"/>
                  </a:cubicBezTo>
                  <a:cubicBezTo>
                    <a:pt x="4844" y="28994"/>
                    <a:pt x="4844" y="29080"/>
                    <a:pt x="4844" y="29183"/>
                  </a:cubicBezTo>
                  <a:cubicBezTo>
                    <a:pt x="4689" y="28753"/>
                    <a:pt x="4672" y="28290"/>
                    <a:pt x="4552" y="27843"/>
                  </a:cubicBezTo>
                  <a:cubicBezTo>
                    <a:pt x="4552" y="27929"/>
                    <a:pt x="4552" y="27843"/>
                    <a:pt x="4552" y="27740"/>
                  </a:cubicBezTo>
                  <a:cubicBezTo>
                    <a:pt x="4552" y="27637"/>
                    <a:pt x="4552" y="27740"/>
                    <a:pt x="4552" y="27740"/>
                  </a:cubicBezTo>
                  <a:cubicBezTo>
                    <a:pt x="4552" y="27740"/>
                    <a:pt x="4552" y="27740"/>
                    <a:pt x="4552" y="27740"/>
                  </a:cubicBezTo>
                  <a:cubicBezTo>
                    <a:pt x="4552" y="27740"/>
                    <a:pt x="4552" y="27740"/>
                    <a:pt x="4552" y="27740"/>
                  </a:cubicBezTo>
                  <a:cubicBezTo>
                    <a:pt x="4343" y="27287"/>
                    <a:pt x="4226" y="26796"/>
                    <a:pt x="4208" y="26297"/>
                  </a:cubicBezTo>
                  <a:cubicBezTo>
                    <a:pt x="4218" y="26366"/>
                    <a:pt x="4218" y="26435"/>
                    <a:pt x="4208" y="26503"/>
                  </a:cubicBezTo>
                  <a:cubicBezTo>
                    <a:pt x="4218" y="26435"/>
                    <a:pt x="4218" y="26366"/>
                    <a:pt x="4208" y="26297"/>
                  </a:cubicBezTo>
                  <a:lnTo>
                    <a:pt x="4208" y="26297"/>
                  </a:lnTo>
                  <a:cubicBezTo>
                    <a:pt x="4208" y="26297"/>
                    <a:pt x="4208" y="26297"/>
                    <a:pt x="4208" y="26297"/>
                  </a:cubicBezTo>
                  <a:lnTo>
                    <a:pt x="4208" y="26297"/>
                  </a:lnTo>
                  <a:lnTo>
                    <a:pt x="4208" y="26297"/>
                  </a:lnTo>
                  <a:cubicBezTo>
                    <a:pt x="4208" y="26297"/>
                    <a:pt x="4208" y="26297"/>
                    <a:pt x="4208" y="26400"/>
                  </a:cubicBezTo>
                  <a:cubicBezTo>
                    <a:pt x="4208" y="26503"/>
                    <a:pt x="4208" y="26400"/>
                    <a:pt x="4208" y="26400"/>
                  </a:cubicBezTo>
                  <a:lnTo>
                    <a:pt x="4208" y="26400"/>
                  </a:lnTo>
                  <a:lnTo>
                    <a:pt x="4208" y="26400"/>
                  </a:lnTo>
                  <a:cubicBezTo>
                    <a:pt x="4208" y="26314"/>
                    <a:pt x="4208" y="26194"/>
                    <a:pt x="4208" y="26091"/>
                  </a:cubicBezTo>
                  <a:lnTo>
                    <a:pt x="4208" y="26091"/>
                  </a:lnTo>
                  <a:cubicBezTo>
                    <a:pt x="4200" y="26034"/>
                    <a:pt x="4200" y="25976"/>
                    <a:pt x="4208" y="25919"/>
                  </a:cubicBezTo>
                  <a:lnTo>
                    <a:pt x="4208" y="25919"/>
                  </a:lnTo>
                  <a:cubicBezTo>
                    <a:pt x="4191" y="25679"/>
                    <a:pt x="4191" y="25438"/>
                    <a:pt x="4208" y="25198"/>
                  </a:cubicBezTo>
                  <a:lnTo>
                    <a:pt x="4208" y="25198"/>
                  </a:lnTo>
                  <a:cubicBezTo>
                    <a:pt x="4208" y="25198"/>
                    <a:pt x="4208" y="25112"/>
                    <a:pt x="4208" y="25078"/>
                  </a:cubicBezTo>
                  <a:lnTo>
                    <a:pt x="4208" y="25078"/>
                  </a:lnTo>
                  <a:cubicBezTo>
                    <a:pt x="4764" y="15747"/>
                    <a:pt x="10928" y="7687"/>
                    <a:pt x="19787" y="4706"/>
                  </a:cubicBezTo>
                  <a:lnTo>
                    <a:pt x="19787" y="4706"/>
                  </a:lnTo>
                  <a:lnTo>
                    <a:pt x="19994" y="4706"/>
                  </a:lnTo>
                  <a:lnTo>
                    <a:pt x="19994" y="4706"/>
                  </a:lnTo>
                  <a:lnTo>
                    <a:pt x="20217" y="4706"/>
                  </a:lnTo>
                  <a:lnTo>
                    <a:pt x="20062" y="4706"/>
                  </a:lnTo>
                  <a:lnTo>
                    <a:pt x="20337" y="4706"/>
                  </a:lnTo>
                  <a:lnTo>
                    <a:pt x="20234" y="4706"/>
                  </a:lnTo>
                  <a:lnTo>
                    <a:pt x="20234" y="4706"/>
                  </a:lnTo>
                  <a:lnTo>
                    <a:pt x="20423" y="4706"/>
                  </a:lnTo>
                  <a:lnTo>
                    <a:pt x="20423" y="4706"/>
                  </a:lnTo>
                  <a:lnTo>
                    <a:pt x="21711" y="4414"/>
                  </a:lnTo>
                  <a:lnTo>
                    <a:pt x="21711" y="4414"/>
                  </a:lnTo>
                  <a:lnTo>
                    <a:pt x="22038" y="4414"/>
                  </a:lnTo>
                  <a:lnTo>
                    <a:pt x="21814" y="4414"/>
                  </a:lnTo>
                  <a:lnTo>
                    <a:pt x="21814" y="4414"/>
                  </a:lnTo>
                  <a:lnTo>
                    <a:pt x="22415" y="4414"/>
                  </a:lnTo>
                  <a:lnTo>
                    <a:pt x="22415" y="4414"/>
                  </a:lnTo>
                  <a:lnTo>
                    <a:pt x="22106" y="4414"/>
                  </a:lnTo>
                  <a:lnTo>
                    <a:pt x="22398" y="4414"/>
                  </a:lnTo>
                  <a:lnTo>
                    <a:pt x="22398" y="4414"/>
                  </a:lnTo>
                  <a:lnTo>
                    <a:pt x="22690" y="4414"/>
                  </a:lnTo>
                  <a:lnTo>
                    <a:pt x="22587" y="4414"/>
                  </a:lnTo>
                  <a:lnTo>
                    <a:pt x="22484" y="4414"/>
                  </a:lnTo>
                  <a:lnTo>
                    <a:pt x="22725" y="4414"/>
                  </a:lnTo>
                  <a:lnTo>
                    <a:pt x="22347" y="4414"/>
                  </a:lnTo>
                  <a:lnTo>
                    <a:pt x="22244" y="4414"/>
                  </a:lnTo>
                  <a:lnTo>
                    <a:pt x="22055" y="4414"/>
                  </a:lnTo>
                  <a:lnTo>
                    <a:pt x="22415" y="4414"/>
                  </a:lnTo>
                  <a:lnTo>
                    <a:pt x="22020" y="4414"/>
                  </a:lnTo>
                  <a:lnTo>
                    <a:pt x="22020" y="4414"/>
                  </a:lnTo>
                  <a:lnTo>
                    <a:pt x="21608" y="4414"/>
                  </a:lnTo>
                  <a:lnTo>
                    <a:pt x="21608" y="4414"/>
                  </a:lnTo>
                  <a:lnTo>
                    <a:pt x="21213" y="4500"/>
                  </a:lnTo>
                  <a:lnTo>
                    <a:pt x="21385" y="4500"/>
                  </a:lnTo>
                  <a:lnTo>
                    <a:pt x="21385" y="4500"/>
                  </a:lnTo>
                  <a:cubicBezTo>
                    <a:pt x="21251" y="4544"/>
                    <a:pt x="21113" y="4572"/>
                    <a:pt x="20973" y="4586"/>
                  </a:cubicBezTo>
                  <a:lnTo>
                    <a:pt x="21144" y="4586"/>
                  </a:lnTo>
                  <a:lnTo>
                    <a:pt x="20955" y="4586"/>
                  </a:lnTo>
                  <a:lnTo>
                    <a:pt x="20955" y="4586"/>
                  </a:lnTo>
                  <a:lnTo>
                    <a:pt x="20835" y="4586"/>
                  </a:lnTo>
                  <a:lnTo>
                    <a:pt x="20835" y="4586"/>
                  </a:lnTo>
                  <a:lnTo>
                    <a:pt x="20835" y="4586"/>
                  </a:lnTo>
                  <a:cubicBezTo>
                    <a:pt x="20835" y="4586"/>
                    <a:pt x="20835" y="4586"/>
                    <a:pt x="20835" y="4586"/>
                  </a:cubicBezTo>
                  <a:lnTo>
                    <a:pt x="20835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560" y="4586"/>
                  </a:lnTo>
                  <a:lnTo>
                    <a:pt x="20560" y="4586"/>
                  </a:lnTo>
                  <a:lnTo>
                    <a:pt x="20114" y="4706"/>
                  </a:lnTo>
                  <a:lnTo>
                    <a:pt x="20114" y="4706"/>
                  </a:lnTo>
                  <a:lnTo>
                    <a:pt x="19787" y="4827"/>
                  </a:lnTo>
                  <a:lnTo>
                    <a:pt x="19787" y="4827"/>
                  </a:lnTo>
                  <a:lnTo>
                    <a:pt x="19392" y="4947"/>
                  </a:lnTo>
                  <a:lnTo>
                    <a:pt x="19392" y="4947"/>
                  </a:lnTo>
                  <a:lnTo>
                    <a:pt x="19100" y="5153"/>
                  </a:lnTo>
                  <a:lnTo>
                    <a:pt x="19100" y="5153"/>
                  </a:lnTo>
                  <a:lnTo>
                    <a:pt x="18997" y="5153"/>
                  </a:lnTo>
                  <a:lnTo>
                    <a:pt x="18997" y="5153"/>
                  </a:lnTo>
                  <a:lnTo>
                    <a:pt x="18430" y="5359"/>
                  </a:lnTo>
                  <a:lnTo>
                    <a:pt x="18568" y="5359"/>
                  </a:lnTo>
                  <a:lnTo>
                    <a:pt x="18568" y="5359"/>
                  </a:lnTo>
                  <a:cubicBezTo>
                    <a:pt x="18763" y="5286"/>
                    <a:pt x="18964" y="5229"/>
                    <a:pt x="19169" y="5187"/>
                  </a:cubicBezTo>
                  <a:lnTo>
                    <a:pt x="19169" y="5187"/>
                  </a:lnTo>
                  <a:lnTo>
                    <a:pt x="19341" y="5187"/>
                  </a:lnTo>
                  <a:lnTo>
                    <a:pt x="19461" y="5187"/>
                  </a:lnTo>
                  <a:lnTo>
                    <a:pt x="19186" y="5187"/>
                  </a:lnTo>
                  <a:lnTo>
                    <a:pt x="19186" y="5187"/>
                  </a:lnTo>
                  <a:lnTo>
                    <a:pt x="19032" y="5187"/>
                  </a:lnTo>
                  <a:lnTo>
                    <a:pt x="19032" y="5187"/>
                  </a:lnTo>
                  <a:lnTo>
                    <a:pt x="18911" y="5187"/>
                  </a:lnTo>
                  <a:lnTo>
                    <a:pt x="18911" y="5187"/>
                  </a:lnTo>
                  <a:lnTo>
                    <a:pt x="18740" y="5187"/>
                  </a:lnTo>
                  <a:lnTo>
                    <a:pt x="18740" y="5187"/>
                  </a:lnTo>
                  <a:lnTo>
                    <a:pt x="18894" y="5187"/>
                  </a:lnTo>
                  <a:lnTo>
                    <a:pt x="18894" y="5187"/>
                  </a:lnTo>
                  <a:lnTo>
                    <a:pt x="19049" y="5187"/>
                  </a:lnTo>
                  <a:lnTo>
                    <a:pt x="19049" y="5187"/>
                  </a:lnTo>
                  <a:lnTo>
                    <a:pt x="18860" y="5187"/>
                  </a:lnTo>
                  <a:cubicBezTo>
                    <a:pt x="18997" y="5187"/>
                    <a:pt x="19392" y="5067"/>
                    <a:pt x="19032" y="5187"/>
                  </a:cubicBezTo>
                  <a:lnTo>
                    <a:pt x="19186" y="5187"/>
                  </a:lnTo>
                  <a:lnTo>
                    <a:pt x="19289" y="5187"/>
                  </a:lnTo>
                  <a:lnTo>
                    <a:pt x="19650" y="5084"/>
                  </a:lnTo>
                  <a:cubicBezTo>
                    <a:pt x="19252" y="5196"/>
                    <a:pt x="18862" y="5334"/>
                    <a:pt x="18482" y="5497"/>
                  </a:cubicBezTo>
                  <a:lnTo>
                    <a:pt x="18654" y="5497"/>
                  </a:lnTo>
                  <a:lnTo>
                    <a:pt x="18654" y="5497"/>
                  </a:lnTo>
                  <a:cubicBezTo>
                    <a:pt x="18654" y="5497"/>
                    <a:pt x="18860" y="5497"/>
                    <a:pt x="18740" y="5497"/>
                  </a:cubicBezTo>
                  <a:lnTo>
                    <a:pt x="18894" y="5497"/>
                  </a:lnTo>
                  <a:lnTo>
                    <a:pt x="18894" y="5497"/>
                  </a:lnTo>
                  <a:lnTo>
                    <a:pt x="19032" y="5497"/>
                  </a:lnTo>
                  <a:cubicBezTo>
                    <a:pt x="18929" y="5497"/>
                    <a:pt x="18808" y="5497"/>
                    <a:pt x="18722" y="5617"/>
                  </a:cubicBezTo>
                  <a:lnTo>
                    <a:pt x="18722" y="5617"/>
                  </a:lnTo>
                  <a:lnTo>
                    <a:pt x="18585" y="5617"/>
                  </a:lnTo>
                  <a:lnTo>
                    <a:pt x="18585" y="5617"/>
                  </a:lnTo>
                  <a:lnTo>
                    <a:pt x="18413" y="5617"/>
                  </a:lnTo>
                  <a:cubicBezTo>
                    <a:pt x="18505" y="5624"/>
                    <a:pt x="18597" y="5624"/>
                    <a:pt x="18688" y="5617"/>
                  </a:cubicBezTo>
                  <a:cubicBezTo>
                    <a:pt x="18396" y="5771"/>
                    <a:pt x="18035" y="5909"/>
                    <a:pt x="17743" y="6098"/>
                  </a:cubicBezTo>
                  <a:lnTo>
                    <a:pt x="17743" y="6098"/>
                  </a:lnTo>
                  <a:lnTo>
                    <a:pt x="17554" y="6201"/>
                  </a:lnTo>
                  <a:lnTo>
                    <a:pt x="17743" y="6201"/>
                  </a:lnTo>
                  <a:lnTo>
                    <a:pt x="17743" y="6201"/>
                  </a:lnTo>
                  <a:cubicBezTo>
                    <a:pt x="17743" y="6201"/>
                    <a:pt x="17743" y="6201"/>
                    <a:pt x="17743" y="6201"/>
                  </a:cubicBezTo>
                  <a:cubicBezTo>
                    <a:pt x="17557" y="6309"/>
                    <a:pt x="17362" y="6402"/>
                    <a:pt x="17159" y="6476"/>
                  </a:cubicBezTo>
                  <a:cubicBezTo>
                    <a:pt x="17159" y="6476"/>
                    <a:pt x="17159" y="6476"/>
                    <a:pt x="17159" y="6476"/>
                  </a:cubicBezTo>
                  <a:cubicBezTo>
                    <a:pt x="17159" y="6476"/>
                    <a:pt x="17056" y="6476"/>
                    <a:pt x="17039" y="6476"/>
                  </a:cubicBezTo>
                  <a:lnTo>
                    <a:pt x="17039" y="6476"/>
                  </a:lnTo>
                  <a:cubicBezTo>
                    <a:pt x="16976" y="6499"/>
                    <a:pt x="16918" y="6534"/>
                    <a:pt x="16867" y="6579"/>
                  </a:cubicBezTo>
                  <a:lnTo>
                    <a:pt x="16867" y="6579"/>
                  </a:lnTo>
                  <a:cubicBezTo>
                    <a:pt x="16867" y="6579"/>
                    <a:pt x="16627" y="6750"/>
                    <a:pt x="16730" y="6716"/>
                  </a:cubicBezTo>
                  <a:lnTo>
                    <a:pt x="16730" y="6716"/>
                  </a:lnTo>
                  <a:lnTo>
                    <a:pt x="16730" y="6716"/>
                  </a:lnTo>
                  <a:lnTo>
                    <a:pt x="16730" y="6716"/>
                  </a:lnTo>
                  <a:cubicBezTo>
                    <a:pt x="16730" y="6716"/>
                    <a:pt x="16730" y="6716"/>
                    <a:pt x="16730" y="6716"/>
                  </a:cubicBezTo>
                  <a:lnTo>
                    <a:pt x="16885" y="6716"/>
                  </a:lnTo>
                  <a:lnTo>
                    <a:pt x="16627" y="6853"/>
                  </a:lnTo>
                  <a:lnTo>
                    <a:pt x="16627" y="6853"/>
                  </a:lnTo>
                  <a:cubicBezTo>
                    <a:pt x="16627" y="6853"/>
                    <a:pt x="16455" y="6853"/>
                    <a:pt x="16386" y="6991"/>
                  </a:cubicBezTo>
                  <a:cubicBezTo>
                    <a:pt x="16318" y="7128"/>
                    <a:pt x="16507" y="6991"/>
                    <a:pt x="16558" y="6991"/>
                  </a:cubicBezTo>
                  <a:cubicBezTo>
                    <a:pt x="16389" y="7066"/>
                    <a:pt x="16228" y="7158"/>
                    <a:pt x="16077" y="7266"/>
                  </a:cubicBezTo>
                  <a:lnTo>
                    <a:pt x="16077" y="7266"/>
                  </a:lnTo>
                  <a:lnTo>
                    <a:pt x="16077" y="7266"/>
                  </a:lnTo>
                  <a:cubicBezTo>
                    <a:pt x="16317" y="7116"/>
                    <a:pt x="16570" y="6989"/>
                    <a:pt x="16833" y="6888"/>
                  </a:cubicBezTo>
                  <a:lnTo>
                    <a:pt x="16833" y="6888"/>
                  </a:lnTo>
                  <a:cubicBezTo>
                    <a:pt x="16833" y="6888"/>
                    <a:pt x="16833" y="6888"/>
                    <a:pt x="16833" y="6888"/>
                  </a:cubicBezTo>
                  <a:lnTo>
                    <a:pt x="16833" y="6888"/>
                  </a:lnTo>
                  <a:lnTo>
                    <a:pt x="16936" y="6888"/>
                  </a:lnTo>
                  <a:lnTo>
                    <a:pt x="16833" y="6888"/>
                  </a:lnTo>
                  <a:cubicBezTo>
                    <a:pt x="16833" y="6888"/>
                    <a:pt x="16988" y="6785"/>
                    <a:pt x="17056" y="6785"/>
                  </a:cubicBezTo>
                  <a:lnTo>
                    <a:pt x="17056" y="6785"/>
                  </a:lnTo>
                  <a:cubicBezTo>
                    <a:pt x="17056" y="6785"/>
                    <a:pt x="17314" y="6682"/>
                    <a:pt x="17159" y="6785"/>
                  </a:cubicBezTo>
                  <a:lnTo>
                    <a:pt x="17039" y="6785"/>
                  </a:lnTo>
                  <a:cubicBezTo>
                    <a:pt x="17073" y="6775"/>
                    <a:pt x="17109" y="6775"/>
                    <a:pt x="17142" y="6785"/>
                  </a:cubicBezTo>
                  <a:lnTo>
                    <a:pt x="17022" y="6785"/>
                  </a:lnTo>
                  <a:lnTo>
                    <a:pt x="17022" y="6785"/>
                  </a:lnTo>
                  <a:cubicBezTo>
                    <a:pt x="17022" y="6785"/>
                    <a:pt x="17022" y="6785"/>
                    <a:pt x="16885" y="6785"/>
                  </a:cubicBezTo>
                  <a:cubicBezTo>
                    <a:pt x="16747" y="6785"/>
                    <a:pt x="17074" y="6785"/>
                    <a:pt x="17005" y="6785"/>
                  </a:cubicBezTo>
                  <a:cubicBezTo>
                    <a:pt x="17104" y="6745"/>
                    <a:pt x="17215" y="6745"/>
                    <a:pt x="17314" y="6785"/>
                  </a:cubicBezTo>
                  <a:lnTo>
                    <a:pt x="17314" y="6785"/>
                  </a:lnTo>
                  <a:cubicBezTo>
                    <a:pt x="17125" y="6922"/>
                    <a:pt x="16902" y="7025"/>
                    <a:pt x="16696" y="7145"/>
                  </a:cubicBezTo>
                  <a:lnTo>
                    <a:pt x="16696" y="7145"/>
                  </a:lnTo>
                  <a:lnTo>
                    <a:pt x="16696" y="7145"/>
                  </a:lnTo>
                  <a:lnTo>
                    <a:pt x="16696" y="7145"/>
                  </a:lnTo>
                  <a:cubicBezTo>
                    <a:pt x="16696" y="7145"/>
                    <a:pt x="16696" y="7145"/>
                    <a:pt x="16696" y="7145"/>
                  </a:cubicBezTo>
                  <a:lnTo>
                    <a:pt x="16696" y="7145"/>
                  </a:lnTo>
                  <a:lnTo>
                    <a:pt x="16696" y="7145"/>
                  </a:lnTo>
                  <a:lnTo>
                    <a:pt x="16455" y="7300"/>
                  </a:lnTo>
                  <a:lnTo>
                    <a:pt x="16455" y="7300"/>
                  </a:lnTo>
                  <a:cubicBezTo>
                    <a:pt x="16455" y="7300"/>
                    <a:pt x="16455" y="7300"/>
                    <a:pt x="16455" y="7386"/>
                  </a:cubicBezTo>
                  <a:lnTo>
                    <a:pt x="16610" y="7386"/>
                  </a:lnTo>
                  <a:lnTo>
                    <a:pt x="16610" y="7386"/>
                  </a:lnTo>
                  <a:lnTo>
                    <a:pt x="16610" y="7489"/>
                  </a:lnTo>
                  <a:cubicBezTo>
                    <a:pt x="16610" y="7489"/>
                    <a:pt x="16610" y="7489"/>
                    <a:pt x="16610" y="7489"/>
                  </a:cubicBezTo>
                  <a:lnTo>
                    <a:pt x="16610" y="7489"/>
                  </a:lnTo>
                  <a:cubicBezTo>
                    <a:pt x="16953" y="7266"/>
                    <a:pt x="16713" y="7489"/>
                    <a:pt x="16610" y="7592"/>
                  </a:cubicBezTo>
                  <a:cubicBezTo>
                    <a:pt x="16730" y="7592"/>
                    <a:pt x="16833" y="7386"/>
                    <a:pt x="16970" y="7334"/>
                  </a:cubicBezTo>
                  <a:lnTo>
                    <a:pt x="16970" y="7334"/>
                  </a:lnTo>
                  <a:cubicBezTo>
                    <a:pt x="16970" y="7334"/>
                    <a:pt x="17280" y="7145"/>
                    <a:pt x="17108" y="7334"/>
                  </a:cubicBezTo>
                  <a:lnTo>
                    <a:pt x="17245" y="7334"/>
                  </a:lnTo>
                  <a:lnTo>
                    <a:pt x="17142" y="7334"/>
                  </a:lnTo>
                  <a:cubicBezTo>
                    <a:pt x="17142" y="7334"/>
                    <a:pt x="17142" y="7334"/>
                    <a:pt x="17142" y="7334"/>
                  </a:cubicBezTo>
                  <a:cubicBezTo>
                    <a:pt x="17142" y="7334"/>
                    <a:pt x="17022" y="7334"/>
                    <a:pt x="16988" y="7437"/>
                  </a:cubicBezTo>
                  <a:lnTo>
                    <a:pt x="16988" y="7437"/>
                  </a:lnTo>
                  <a:cubicBezTo>
                    <a:pt x="16988" y="7437"/>
                    <a:pt x="16885" y="7437"/>
                    <a:pt x="16867" y="7437"/>
                  </a:cubicBezTo>
                  <a:cubicBezTo>
                    <a:pt x="17211" y="7317"/>
                    <a:pt x="16747" y="7437"/>
                    <a:pt x="16610" y="7575"/>
                  </a:cubicBezTo>
                  <a:lnTo>
                    <a:pt x="16610" y="7575"/>
                  </a:lnTo>
                  <a:lnTo>
                    <a:pt x="16421" y="7678"/>
                  </a:lnTo>
                  <a:lnTo>
                    <a:pt x="16421" y="7678"/>
                  </a:lnTo>
                  <a:lnTo>
                    <a:pt x="16283" y="7678"/>
                  </a:lnTo>
                  <a:cubicBezTo>
                    <a:pt x="16438" y="7678"/>
                    <a:pt x="16283" y="7678"/>
                    <a:pt x="16283" y="7678"/>
                  </a:cubicBezTo>
                  <a:lnTo>
                    <a:pt x="16283" y="7678"/>
                  </a:lnTo>
                  <a:lnTo>
                    <a:pt x="16129" y="7678"/>
                  </a:lnTo>
                  <a:lnTo>
                    <a:pt x="16129" y="7678"/>
                  </a:lnTo>
                  <a:lnTo>
                    <a:pt x="16129" y="7678"/>
                  </a:lnTo>
                  <a:lnTo>
                    <a:pt x="16129" y="7678"/>
                  </a:lnTo>
                  <a:cubicBezTo>
                    <a:pt x="16026" y="7678"/>
                    <a:pt x="15923" y="7833"/>
                    <a:pt x="15820" y="7867"/>
                  </a:cubicBezTo>
                  <a:cubicBezTo>
                    <a:pt x="15717" y="7901"/>
                    <a:pt x="15974" y="7764"/>
                    <a:pt x="16043" y="7747"/>
                  </a:cubicBezTo>
                  <a:cubicBezTo>
                    <a:pt x="16112" y="7729"/>
                    <a:pt x="16043" y="7747"/>
                    <a:pt x="16043" y="7747"/>
                  </a:cubicBezTo>
                  <a:cubicBezTo>
                    <a:pt x="16131" y="7705"/>
                    <a:pt x="16223" y="7670"/>
                    <a:pt x="16318" y="7644"/>
                  </a:cubicBezTo>
                  <a:lnTo>
                    <a:pt x="16198" y="7644"/>
                  </a:lnTo>
                  <a:cubicBezTo>
                    <a:pt x="16386" y="7558"/>
                    <a:pt x="16558" y="7420"/>
                    <a:pt x="16747" y="7352"/>
                  </a:cubicBezTo>
                  <a:lnTo>
                    <a:pt x="16747" y="7352"/>
                  </a:lnTo>
                  <a:lnTo>
                    <a:pt x="16747" y="7352"/>
                  </a:lnTo>
                  <a:cubicBezTo>
                    <a:pt x="16976" y="7288"/>
                    <a:pt x="17195" y="7196"/>
                    <a:pt x="17400" y="7077"/>
                  </a:cubicBezTo>
                  <a:cubicBezTo>
                    <a:pt x="17400" y="7077"/>
                    <a:pt x="17400" y="7077"/>
                    <a:pt x="17262" y="7077"/>
                  </a:cubicBezTo>
                  <a:lnTo>
                    <a:pt x="17262" y="7077"/>
                  </a:lnTo>
                  <a:cubicBezTo>
                    <a:pt x="17366" y="7077"/>
                    <a:pt x="17761" y="6836"/>
                    <a:pt x="17520" y="6991"/>
                  </a:cubicBezTo>
                  <a:cubicBezTo>
                    <a:pt x="17692" y="6991"/>
                    <a:pt x="17692" y="6819"/>
                    <a:pt x="17846" y="6768"/>
                  </a:cubicBezTo>
                  <a:cubicBezTo>
                    <a:pt x="17692" y="6768"/>
                    <a:pt x="17846" y="6768"/>
                    <a:pt x="17846" y="6768"/>
                  </a:cubicBezTo>
                  <a:lnTo>
                    <a:pt x="17846" y="6768"/>
                  </a:lnTo>
                  <a:cubicBezTo>
                    <a:pt x="18036" y="6628"/>
                    <a:pt x="18252" y="6528"/>
                    <a:pt x="18482" y="6476"/>
                  </a:cubicBezTo>
                  <a:lnTo>
                    <a:pt x="18482" y="6476"/>
                  </a:lnTo>
                  <a:cubicBezTo>
                    <a:pt x="18662" y="6364"/>
                    <a:pt x="18859" y="6282"/>
                    <a:pt x="19066" y="6235"/>
                  </a:cubicBezTo>
                  <a:lnTo>
                    <a:pt x="18911" y="6321"/>
                  </a:lnTo>
                  <a:cubicBezTo>
                    <a:pt x="19100" y="6321"/>
                    <a:pt x="19238" y="6149"/>
                    <a:pt x="19427" y="6115"/>
                  </a:cubicBezTo>
                  <a:lnTo>
                    <a:pt x="19238" y="6252"/>
                  </a:lnTo>
                  <a:cubicBezTo>
                    <a:pt x="20286" y="5617"/>
                    <a:pt x="22038" y="4998"/>
                    <a:pt x="20303" y="5909"/>
                  </a:cubicBezTo>
                  <a:cubicBezTo>
                    <a:pt x="20578" y="5823"/>
                    <a:pt x="21230" y="5411"/>
                    <a:pt x="21024" y="5651"/>
                  </a:cubicBezTo>
                  <a:cubicBezTo>
                    <a:pt x="21780" y="5393"/>
                    <a:pt x="20629" y="6012"/>
                    <a:pt x="20303" y="6149"/>
                  </a:cubicBezTo>
                  <a:cubicBezTo>
                    <a:pt x="20698" y="6012"/>
                    <a:pt x="20303" y="6149"/>
                    <a:pt x="20303" y="6149"/>
                  </a:cubicBezTo>
                  <a:cubicBezTo>
                    <a:pt x="20303" y="6149"/>
                    <a:pt x="20560" y="5977"/>
                    <a:pt x="20406" y="6149"/>
                  </a:cubicBezTo>
                  <a:cubicBezTo>
                    <a:pt x="20663" y="5857"/>
                    <a:pt x="20921" y="6149"/>
                    <a:pt x="20492" y="6235"/>
                  </a:cubicBezTo>
                  <a:cubicBezTo>
                    <a:pt x="20448" y="6218"/>
                    <a:pt x="20398" y="6218"/>
                    <a:pt x="20354" y="6235"/>
                  </a:cubicBezTo>
                  <a:cubicBezTo>
                    <a:pt x="20612" y="6235"/>
                    <a:pt x="20251" y="6321"/>
                    <a:pt x="20165" y="6355"/>
                  </a:cubicBezTo>
                  <a:cubicBezTo>
                    <a:pt x="20818" y="6149"/>
                    <a:pt x="19616" y="6647"/>
                    <a:pt x="20337" y="6355"/>
                  </a:cubicBezTo>
                  <a:cubicBezTo>
                    <a:pt x="19427" y="6750"/>
                    <a:pt x="20749" y="6355"/>
                    <a:pt x="19856" y="6716"/>
                  </a:cubicBezTo>
                  <a:cubicBezTo>
                    <a:pt x="19856" y="6819"/>
                    <a:pt x="19856" y="6716"/>
                    <a:pt x="20097" y="6716"/>
                  </a:cubicBezTo>
                  <a:cubicBezTo>
                    <a:pt x="19967" y="6814"/>
                    <a:pt x="19822" y="6889"/>
                    <a:pt x="19667" y="6939"/>
                  </a:cubicBezTo>
                  <a:cubicBezTo>
                    <a:pt x="19564" y="6939"/>
                    <a:pt x="20423" y="6939"/>
                    <a:pt x="19495" y="7145"/>
                  </a:cubicBezTo>
                  <a:cubicBezTo>
                    <a:pt x="19392" y="7145"/>
                    <a:pt x="19959" y="7145"/>
                    <a:pt x="19358" y="7266"/>
                  </a:cubicBezTo>
                  <a:cubicBezTo>
                    <a:pt x="19856" y="7094"/>
                    <a:pt x="19925" y="7266"/>
                    <a:pt x="19358" y="7352"/>
                  </a:cubicBezTo>
                  <a:cubicBezTo>
                    <a:pt x="19581" y="7541"/>
                    <a:pt x="19255" y="7592"/>
                    <a:pt x="19358" y="7523"/>
                  </a:cubicBezTo>
                  <a:cubicBezTo>
                    <a:pt x="19083" y="7523"/>
                    <a:pt x="19358" y="7747"/>
                    <a:pt x="19049" y="7626"/>
                  </a:cubicBezTo>
                  <a:cubicBezTo>
                    <a:pt x="18860" y="7953"/>
                    <a:pt x="19186" y="7764"/>
                    <a:pt x="18860" y="7918"/>
                  </a:cubicBezTo>
                  <a:cubicBezTo>
                    <a:pt x="19118" y="7833"/>
                    <a:pt x="18654" y="8193"/>
                    <a:pt x="18860" y="8039"/>
                  </a:cubicBezTo>
                  <a:cubicBezTo>
                    <a:pt x="18534" y="8365"/>
                    <a:pt x="19152" y="7850"/>
                    <a:pt x="18705" y="8399"/>
                  </a:cubicBezTo>
                  <a:cubicBezTo>
                    <a:pt x="18482" y="8520"/>
                    <a:pt x="19066" y="8399"/>
                    <a:pt x="18551" y="8588"/>
                  </a:cubicBezTo>
                  <a:cubicBezTo>
                    <a:pt x="18929" y="8434"/>
                    <a:pt x="18637" y="8966"/>
                    <a:pt x="18396" y="8829"/>
                  </a:cubicBezTo>
                  <a:cubicBezTo>
                    <a:pt x="18396" y="8966"/>
                    <a:pt x="18242" y="9069"/>
                    <a:pt x="18190" y="8966"/>
                  </a:cubicBezTo>
                  <a:cubicBezTo>
                    <a:pt x="18138" y="8863"/>
                    <a:pt x="18018" y="9155"/>
                    <a:pt x="18190" y="8966"/>
                  </a:cubicBezTo>
                  <a:cubicBezTo>
                    <a:pt x="18362" y="8777"/>
                    <a:pt x="17692" y="9447"/>
                    <a:pt x="17846" y="9155"/>
                  </a:cubicBezTo>
                  <a:cubicBezTo>
                    <a:pt x="17709" y="8966"/>
                    <a:pt x="18173" y="8709"/>
                    <a:pt x="18224" y="8605"/>
                  </a:cubicBezTo>
                  <a:cubicBezTo>
                    <a:pt x="17915" y="8777"/>
                    <a:pt x="18104" y="8605"/>
                    <a:pt x="18224" y="8434"/>
                  </a:cubicBezTo>
                  <a:cubicBezTo>
                    <a:pt x="18345" y="8262"/>
                    <a:pt x="17967" y="8640"/>
                    <a:pt x="18053" y="8434"/>
                  </a:cubicBezTo>
                  <a:cubicBezTo>
                    <a:pt x="17761" y="8709"/>
                    <a:pt x="17589" y="8743"/>
                    <a:pt x="17486" y="9155"/>
                  </a:cubicBezTo>
                  <a:cubicBezTo>
                    <a:pt x="17383" y="9567"/>
                    <a:pt x="16816" y="10065"/>
                    <a:pt x="16747" y="9842"/>
                  </a:cubicBezTo>
                  <a:cubicBezTo>
                    <a:pt x="16678" y="9619"/>
                    <a:pt x="16867" y="9722"/>
                    <a:pt x="16747" y="9396"/>
                  </a:cubicBezTo>
                  <a:cubicBezTo>
                    <a:pt x="16524" y="9791"/>
                    <a:pt x="16524" y="10306"/>
                    <a:pt x="16524" y="10306"/>
                  </a:cubicBezTo>
                  <a:cubicBezTo>
                    <a:pt x="15820" y="10461"/>
                    <a:pt x="16644" y="9104"/>
                    <a:pt x="16799" y="9069"/>
                  </a:cubicBezTo>
                  <a:cubicBezTo>
                    <a:pt x="16524" y="9172"/>
                    <a:pt x="16799" y="9069"/>
                    <a:pt x="16558" y="9069"/>
                  </a:cubicBezTo>
                  <a:cubicBezTo>
                    <a:pt x="16678" y="8897"/>
                    <a:pt x="16386" y="9155"/>
                    <a:pt x="16301" y="9069"/>
                  </a:cubicBezTo>
                  <a:cubicBezTo>
                    <a:pt x="16215" y="8983"/>
                    <a:pt x="17005" y="8382"/>
                    <a:pt x="16850" y="8794"/>
                  </a:cubicBezTo>
                  <a:cubicBezTo>
                    <a:pt x="18310" y="8485"/>
                    <a:pt x="19203" y="7077"/>
                    <a:pt x="19530" y="6733"/>
                  </a:cubicBezTo>
                  <a:cubicBezTo>
                    <a:pt x="19032" y="7145"/>
                    <a:pt x="19169" y="6733"/>
                    <a:pt x="18980" y="6733"/>
                  </a:cubicBezTo>
                  <a:cubicBezTo>
                    <a:pt x="18791" y="6733"/>
                    <a:pt x="19238" y="6579"/>
                    <a:pt x="18980" y="6561"/>
                  </a:cubicBezTo>
                  <a:cubicBezTo>
                    <a:pt x="19203" y="6321"/>
                    <a:pt x="18980" y="6561"/>
                    <a:pt x="18980" y="6373"/>
                  </a:cubicBezTo>
                  <a:lnTo>
                    <a:pt x="19083" y="6373"/>
                  </a:lnTo>
                  <a:lnTo>
                    <a:pt x="18929" y="6458"/>
                  </a:lnTo>
                  <a:cubicBezTo>
                    <a:pt x="18671" y="6579"/>
                    <a:pt x="18430" y="6733"/>
                    <a:pt x="18173" y="6871"/>
                  </a:cubicBezTo>
                  <a:lnTo>
                    <a:pt x="18173" y="6871"/>
                  </a:lnTo>
                  <a:lnTo>
                    <a:pt x="18293" y="6871"/>
                  </a:lnTo>
                  <a:lnTo>
                    <a:pt x="18242" y="6871"/>
                  </a:lnTo>
                  <a:lnTo>
                    <a:pt x="18242" y="6871"/>
                  </a:lnTo>
                  <a:cubicBezTo>
                    <a:pt x="18242" y="6957"/>
                    <a:pt x="17984" y="6871"/>
                    <a:pt x="17898" y="7025"/>
                  </a:cubicBezTo>
                  <a:lnTo>
                    <a:pt x="17898" y="7025"/>
                  </a:lnTo>
                  <a:lnTo>
                    <a:pt x="17898" y="7025"/>
                  </a:lnTo>
                  <a:lnTo>
                    <a:pt x="18001" y="7025"/>
                  </a:lnTo>
                  <a:cubicBezTo>
                    <a:pt x="18001" y="7025"/>
                    <a:pt x="18001" y="7025"/>
                    <a:pt x="18001" y="7025"/>
                  </a:cubicBezTo>
                  <a:lnTo>
                    <a:pt x="18001" y="7025"/>
                  </a:lnTo>
                  <a:cubicBezTo>
                    <a:pt x="18001" y="7025"/>
                    <a:pt x="17881" y="7025"/>
                    <a:pt x="17829" y="7025"/>
                  </a:cubicBezTo>
                  <a:lnTo>
                    <a:pt x="17829" y="7025"/>
                  </a:lnTo>
                  <a:lnTo>
                    <a:pt x="17829" y="7025"/>
                  </a:lnTo>
                  <a:cubicBezTo>
                    <a:pt x="17623" y="7180"/>
                    <a:pt x="17400" y="7300"/>
                    <a:pt x="17177" y="7437"/>
                  </a:cubicBezTo>
                  <a:lnTo>
                    <a:pt x="17434" y="7334"/>
                  </a:lnTo>
                  <a:lnTo>
                    <a:pt x="17434" y="7334"/>
                  </a:lnTo>
                  <a:lnTo>
                    <a:pt x="17864" y="7111"/>
                  </a:lnTo>
                  <a:cubicBezTo>
                    <a:pt x="17702" y="7258"/>
                    <a:pt x="17523" y="7385"/>
                    <a:pt x="17331" y="7489"/>
                  </a:cubicBezTo>
                  <a:lnTo>
                    <a:pt x="17331" y="7489"/>
                  </a:lnTo>
                  <a:cubicBezTo>
                    <a:pt x="17075" y="7607"/>
                    <a:pt x="16843" y="7770"/>
                    <a:pt x="16644" y="7970"/>
                  </a:cubicBezTo>
                  <a:cubicBezTo>
                    <a:pt x="16644" y="7970"/>
                    <a:pt x="16747" y="7884"/>
                    <a:pt x="16799" y="7884"/>
                  </a:cubicBezTo>
                  <a:lnTo>
                    <a:pt x="16799" y="7884"/>
                  </a:lnTo>
                  <a:lnTo>
                    <a:pt x="17675" y="7437"/>
                  </a:lnTo>
                  <a:lnTo>
                    <a:pt x="17675" y="7437"/>
                  </a:lnTo>
                  <a:lnTo>
                    <a:pt x="17675" y="7437"/>
                  </a:lnTo>
                  <a:cubicBezTo>
                    <a:pt x="17675" y="7437"/>
                    <a:pt x="17675" y="7334"/>
                    <a:pt x="17812" y="7352"/>
                  </a:cubicBezTo>
                  <a:lnTo>
                    <a:pt x="17812" y="7352"/>
                  </a:lnTo>
                  <a:cubicBezTo>
                    <a:pt x="17812" y="7352"/>
                    <a:pt x="17812" y="7352"/>
                    <a:pt x="17932" y="7352"/>
                  </a:cubicBezTo>
                  <a:lnTo>
                    <a:pt x="17932" y="7352"/>
                  </a:lnTo>
                  <a:lnTo>
                    <a:pt x="18362" y="7111"/>
                  </a:lnTo>
                  <a:cubicBezTo>
                    <a:pt x="18362" y="7111"/>
                    <a:pt x="18362" y="7111"/>
                    <a:pt x="18362" y="7266"/>
                  </a:cubicBezTo>
                  <a:lnTo>
                    <a:pt x="18362" y="7266"/>
                  </a:lnTo>
                  <a:cubicBezTo>
                    <a:pt x="18341" y="7321"/>
                    <a:pt x="18297" y="7365"/>
                    <a:pt x="18242" y="7386"/>
                  </a:cubicBezTo>
                  <a:cubicBezTo>
                    <a:pt x="18242" y="7300"/>
                    <a:pt x="18242" y="7472"/>
                    <a:pt x="18104" y="7489"/>
                  </a:cubicBezTo>
                  <a:cubicBezTo>
                    <a:pt x="17967" y="7506"/>
                    <a:pt x="17967" y="7626"/>
                    <a:pt x="17898" y="7626"/>
                  </a:cubicBezTo>
                  <a:cubicBezTo>
                    <a:pt x="17829" y="7626"/>
                    <a:pt x="17898" y="7626"/>
                    <a:pt x="17898" y="7626"/>
                  </a:cubicBezTo>
                  <a:lnTo>
                    <a:pt x="17898" y="7626"/>
                  </a:lnTo>
                  <a:cubicBezTo>
                    <a:pt x="17898" y="7626"/>
                    <a:pt x="17606" y="7764"/>
                    <a:pt x="17692" y="7626"/>
                  </a:cubicBezTo>
                  <a:lnTo>
                    <a:pt x="17692" y="7626"/>
                  </a:lnTo>
                  <a:cubicBezTo>
                    <a:pt x="17692" y="7626"/>
                    <a:pt x="17692" y="7712"/>
                    <a:pt x="17537" y="7729"/>
                  </a:cubicBezTo>
                  <a:lnTo>
                    <a:pt x="17537" y="7729"/>
                  </a:lnTo>
                  <a:cubicBezTo>
                    <a:pt x="17537" y="7729"/>
                    <a:pt x="17417" y="7729"/>
                    <a:pt x="17537" y="7729"/>
                  </a:cubicBezTo>
                  <a:cubicBezTo>
                    <a:pt x="17222" y="8004"/>
                    <a:pt x="16845" y="8199"/>
                    <a:pt x="16438" y="8296"/>
                  </a:cubicBezTo>
                  <a:cubicBezTo>
                    <a:pt x="16466" y="8278"/>
                    <a:pt x="16495" y="8261"/>
                    <a:pt x="16524" y="8245"/>
                  </a:cubicBezTo>
                  <a:lnTo>
                    <a:pt x="16524" y="8245"/>
                  </a:lnTo>
                  <a:lnTo>
                    <a:pt x="16661" y="8125"/>
                  </a:lnTo>
                  <a:lnTo>
                    <a:pt x="16661" y="8125"/>
                  </a:lnTo>
                  <a:cubicBezTo>
                    <a:pt x="16661" y="8125"/>
                    <a:pt x="16490" y="8210"/>
                    <a:pt x="16661" y="8125"/>
                  </a:cubicBezTo>
                  <a:cubicBezTo>
                    <a:pt x="16557" y="8250"/>
                    <a:pt x="16436" y="8360"/>
                    <a:pt x="16301" y="8451"/>
                  </a:cubicBezTo>
                  <a:lnTo>
                    <a:pt x="16404" y="8296"/>
                  </a:lnTo>
                  <a:cubicBezTo>
                    <a:pt x="16404" y="8296"/>
                    <a:pt x="16404" y="8382"/>
                    <a:pt x="16283" y="8399"/>
                  </a:cubicBezTo>
                  <a:cubicBezTo>
                    <a:pt x="16163" y="8417"/>
                    <a:pt x="16283" y="8399"/>
                    <a:pt x="16283" y="8399"/>
                  </a:cubicBezTo>
                  <a:lnTo>
                    <a:pt x="16283" y="8399"/>
                  </a:lnTo>
                  <a:lnTo>
                    <a:pt x="16438" y="8279"/>
                  </a:lnTo>
                  <a:cubicBezTo>
                    <a:pt x="16438" y="8279"/>
                    <a:pt x="16335" y="8279"/>
                    <a:pt x="16438" y="8279"/>
                  </a:cubicBezTo>
                  <a:lnTo>
                    <a:pt x="16438" y="8279"/>
                  </a:lnTo>
                  <a:lnTo>
                    <a:pt x="16438" y="8279"/>
                  </a:lnTo>
                  <a:cubicBezTo>
                    <a:pt x="16260" y="8438"/>
                    <a:pt x="16057" y="8566"/>
                    <a:pt x="15837" y="8657"/>
                  </a:cubicBezTo>
                  <a:lnTo>
                    <a:pt x="15837" y="8657"/>
                  </a:lnTo>
                  <a:cubicBezTo>
                    <a:pt x="15510" y="8846"/>
                    <a:pt x="15837" y="8520"/>
                    <a:pt x="15837" y="8365"/>
                  </a:cubicBezTo>
                  <a:cubicBezTo>
                    <a:pt x="15545" y="8537"/>
                    <a:pt x="15614" y="8846"/>
                    <a:pt x="15287" y="8932"/>
                  </a:cubicBezTo>
                  <a:lnTo>
                    <a:pt x="15287" y="8932"/>
                  </a:lnTo>
                  <a:lnTo>
                    <a:pt x="14841" y="9138"/>
                  </a:lnTo>
                  <a:cubicBezTo>
                    <a:pt x="14841" y="9138"/>
                    <a:pt x="14841" y="9138"/>
                    <a:pt x="14841" y="9138"/>
                  </a:cubicBezTo>
                  <a:lnTo>
                    <a:pt x="14841" y="9138"/>
                  </a:lnTo>
                  <a:lnTo>
                    <a:pt x="14841" y="9138"/>
                  </a:lnTo>
                  <a:cubicBezTo>
                    <a:pt x="14841" y="9138"/>
                    <a:pt x="14841" y="9138"/>
                    <a:pt x="14961" y="9035"/>
                  </a:cubicBezTo>
                  <a:cubicBezTo>
                    <a:pt x="15081" y="8932"/>
                    <a:pt x="14841" y="9035"/>
                    <a:pt x="14806" y="9121"/>
                  </a:cubicBezTo>
                  <a:cubicBezTo>
                    <a:pt x="14849" y="9096"/>
                    <a:pt x="14884" y="9060"/>
                    <a:pt x="14909" y="9018"/>
                  </a:cubicBezTo>
                  <a:cubicBezTo>
                    <a:pt x="14909" y="9018"/>
                    <a:pt x="14514" y="9344"/>
                    <a:pt x="14686" y="9138"/>
                  </a:cubicBezTo>
                  <a:lnTo>
                    <a:pt x="14531" y="9258"/>
                  </a:lnTo>
                  <a:cubicBezTo>
                    <a:pt x="14601" y="9111"/>
                    <a:pt x="14687" y="8973"/>
                    <a:pt x="14789" y="8846"/>
                  </a:cubicBezTo>
                  <a:lnTo>
                    <a:pt x="14789" y="8846"/>
                  </a:lnTo>
                  <a:lnTo>
                    <a:pt x="14789" y="8846"/>
                  </a:lnTo>
                  <a:lnTo>
                    <a:pt x="14703" y="8949"/>
                  </a:lnTo>
                  <a:cubicBezTo>
                    <a:pt x="14909" y="8794"/>
                    <a:pt x="14600" y="9138"/>
                    <a:pt x="14549" y="9121"/>
                  </a:cubicBezTo>
                  <a:lnTo>
                    <a:pt x="14686" y="9121"/>
                  </a:lnTo>
                  <a:cubicBezTo>
                    <a:pt x="14549" y="9361"/>
                    <a:pt x="13999" y="9653"/>
                    <a:pt x="14411" y="9121"/>
                  </a:cubicBezTo>
                  <a:cubicBezTo>
                    <a:pt x="14274" y="9207"/>
                    <a:pt x="14205" y="9361"/>
                    <a:pt x="14085" y="9447"/>
                  </a:cubicBezTo>
                  <a:lnTo>
                    <a:pt x="14085" y="9447"/>
                  </a:lnTo>
                  <a:lnTo>
                    <a:pt x="14085" y="9447"/>
                  </a:lnTo>
                  <a:lnTo>
                    <a:pt x="14085" y="9447"/>
                  </a:lnTo>
                  <a:lnTo>
                    <a:pt x="13930" y="9585"/>
                  </a:lnTo>
                  <a:cubicBezTo>
                    <a:pt x="13930" y="9585"/>
                    <a:pt x="13930" y="9585"/>
                    <a:pt x="13930" y="9585"/>
                  </a:cubicBezTo>
                  <a:cubicBezTo>
                    <a:pt x="13930" y="9585"/>
                    <a:pt x="13810" y="9585"/>
                    <a:pt x="13776" y="9585"/>
                  </a:cubicBezTo>
                  <a:cubicBezTo>
                    <a:pt x="13741" y="9585"/>
                    <a:pt x="13260" y="9911"/>
                    <a:pt x="13123" y="9945"/>
                  </a:cubicBezTo>
                  <a:lnTo>
                    <a:pt x="13123" y="9945"/>
                  </a:lnTo>
                  <a:cubicBezTo>
                    <a:pt x="12737" y="10291"/>
                    <a:pt x="12330" y="10612"/>
                    <a:pt x="11903" y="10907"/>
                  </a:cubicBezTo>
                  <a:cubicBezTo>
                    <a:pt x="12900" y="10254"/>
                    <a:pt x="11749" y="11405"/>
                    <a:pt x="11525" y="11405"/>
                  </a:cubicBezTo>
                  <a:cubicBezTo>
                    <a:pt x="11972" y="11405"/>
                    <a:pt x="11732" y="11783"/>
                    <a:pt x="11525" y="12092"/>
                  </a:cubicBezTo>
                  <a:lnTo>
                    <a:pt x="11525" y="12092"/>
                  </a:lnTo>
                  <a:cubicBezTo>
                    <a:pt x="11512" y="12253"/>
                    <a:pt x="11471" y="12409"/>
                    <a:pt x="11405" y="12556"/>
                  </a:cubicBezTo>
                  <a:cubicBezTo>
                    <a:pt x="11525" y="12556"/>
                    <a:pt x="11508" y="12693"/>
                    <a:pt x="11629" y="12693"/>
                  </a:cubicBezTo>
                  <a:lnTo>
                    <a:pt x="11629" y="12693"/>
                  </a:lnTo>
                  <a:cubicBezTo>
                    <a:pt x="11143" y="13178"/>
                    <a:pt x="10727" y="13727"/>
                    <a:pt x="10392" y="14325"/>
                  </a:cubicBezTo>
                  <a:cubicBezTo>
                    <a:pt x="10598" y="14325"/>
                    <a:pt x="10546" y="14325"/>
                    <a:pt x="10753" y="14188"/>
                  </a:cubicBezTo>
                  <a:cubicBezTo>
                    <a:pt x="10753" y="14274"/>
                    <a:pt x="10546" y="14445"/>
                    <a:pt x="10649" y="14514"/>
                  </a:cubicBezTo>
                  <a:cubicBezTo>
                    <a:pt x="11067" y="13670"/>
                    <a:pt x="11757" y="12992"/>
                    <a:pt x="12608" y="12590"/>
                  </a:cubicBezTo>
                  <a:cubicBezTo>
                    <a:pt x="13106" y="12024"/>
                    <a:pt x="13484" y="11337"/>
                    <a:pt x="13999" y="11148"/>
                  </a:cubicBezTo>
                  <a:lnTo>
                    <a:pt x="13999" y="11148"/>
                  </a:lnTo>
                  <a:cubicBezTo>
                    <a:pt x="14085" y="11148"/>
                    <a:pt x="14119" y="10976"/>
                    <a:pt x="14205" y="10976"/>
                  </a:cubicBezTo>
                  <a:cubicBezTo>
                    <a:pt x="14291" y="10976"/>
                    <a:pt x="14205" y="10873"/>
                    <a:pt x="14325" y="10856"/>
                  </a:cubicBezTo>
                  <a:cubicBezTo>
                    <a:pt x="14446" y="10838"/>
                    <a:pt x="15493" y="9808"/>
                    <a:pt x="15081" y="10409"/>
                  </a:cubicBezTo>
                  <a:cubicBezTo>
                    <a:pt x="15081" y="10409"/>
                    <a:pt x="15253" y="10409"/>
                    <a:pt x="15201" y="10409"/>
                  </a:cubicBezTo>
                  <a:lnTo>
                    <a:pt x="15201" y="10409"/>
                  </a:lnTo>
                  <a:cubicBezTo>
                    <a:pt x="15510" y="10409"/>
                    <a:pt x="15201" y="10409"/>
                    <a:pt x="15304" y="10564"/>
                  </a:cubicBezTo>
                  <a:cubicBezTo>
                    <a:pt x="15407" y="10718"/>
                    <a:pt x="15201" y="10649"/>
                    <a:pt x="15167" y="10701"/>
                  </a:cubicBezTo>
                  <a:lnTo>
                    <a:pt x="15167" y="10701"/>
                  </a:lnTo>
                  <a:cubicBezTo>
                    <a:pt x="15167" y="10701"/>
                    <a:pt x="15167" y="10804"/>
                    <a:pt x="15167" y="10856"/>
                  </a:cubicBezTo>
                  <a:lnTo>
                    <a:pt x="15167" y="10856"/>
                  </a:lnTo>
                  <a:cubicBezTo>
                    <a:pt x="15167" y="10856"/>
                    <a:pt x="15167" y="10941"/>
                    <a:pt x="15167" y="10941"/>
                  </a:cubicBezTo>
                  <a:lnTo>
                    <a:pt x="15167" y="10941"/>
                  </a:lnTo>
                  <a:cubicBezTo>
                    <a:pt x="15167" y="10941"/>
                    <a:pt x="15167" y="11027"/>
                    <a:pt x="15047" y="11079"/>
                  </a:cubicBez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cubicBezTo>
                    <a:pt x="15201" y="11079"/>
                    <a:pt x="15047" y="11165"/>
                    <a:pt x="15047" y="11216"/>
                  </a:cubicBezTo>
                  <a:cubicBezTo>
                    <a:pt x="15047" y="11268"/>
                    <a:pt x="15150" y="11113"/>
                    <a:pt x="15201" y="11130"/>
                  </a:cubicBezTo>
                  <a:cubicBezTo>
                    <a:pt x="15253" y="11148"/>
                    <a:pt x="14909" y="11337"/>
                    <a:pt x="14789" y="11508"/>
                  </a:cubicBezTo>
                  <a:lnTo>
                    <a:pt x="14789" y="11508"/>
                  </a:lnTo>
                  <a:cubicBezTo>
                    <a:pt x="14789" y="11508"/>
                    <a:pt x="14652" y="11629"/>
                    <a:pt x="14583" y="11508"/>
                  </a:cubicBezTo>
                  <a:cubicBezTo>
                    <a:pt x="14772" y="11680"/>
                    <a:pt x="14308" y="12041"/>
                    <a:pt x="14325" y="11989"/>
                  </a:cubicBezTo>
                  <a:cubicBezTo>
                    <a:pt x="14342" y="11938"/>
                    <a:pt x="14325" y="12144"/>
                    <a:pt x="14325" y="11989"/>
                  </a:cubicBezTo>
                  <a:cubicBezTo>
                    <a:pt x="14325" y="11835"/>
                    <a:pt x="14119" y="12264"/>
                    <a:pt x="14016" y="12367"/>
                  </a:cubicBezTo>
                  <a:cubicBezTo>
                    <a:pt x="14291" y="12178"/>
                    <a:pt x="14360" y="12144"/>
                    <a:pt x="14016" y="12367"/>
                  </a:cubicBezTo>
                  <a:cubicBezTo>
                    <a:pt x="14016" y="12367"/>
                    <a:pt x="14308" y="12127"/>
                    <a:pt x="14308" y="12230"/>
                  </a:cubicBezTo>
                  <a:cubicBezTo>
                    <a:pt x="14308" y="12333"/>
                    <a:pt x="14463" y="12109"/>
                    <a:pt x="14549" y="12075"/>
                  </a:cubicBezTo>
                  <a:cubicBezTo>
                    <a:pt x="14564" y="12131"/>
                    <a:pt x="14564" y="12191"/>
                    <a:pt x="14549" y="12247"/>
                  </a:cubicBezTo>
                  <a:cubicBezTo>
                    <a:pt x="14549" y="12161"/>
                    <a:pt x="14961" y="11800"/>
                    <a:pt x="14995" y="11921"/>
                  </a:cubicBezTo>
                  <a:cubicBezTo>
                    <a:pt x="15030" y="12041"/>
                    <a:pt x="14995" y="11921"/>
                    <a:pt x="14995" y="11921"/>
                  </a:cubicBezTo>
                  <a:cubicBezTo>
                    <a:pt x="14995" y="11921"/>
                    <a:pt x="14995" y="11817"/>
                    <a:pt x="15133" y="11817"/>
                  </a:cubicBezTo>
                  <a:lnTo>
                    <a:pt x="15133" y="11817"/>
                  </a:lnTo>
                  <a:cubicBezTo>
                    <a:pt x="15133" y="11732"/>
                    <a:pt x="15579" y="11457"/>
                    <a:pt x="15442" y="11577"/>
                  </a:cubicBezTo>
                  <a:lnTo>
                    <a:pt x="15442" y="11577"/>
                  </a:lnTo>
                  <a:cubicBezTo>
                    <a:pt x="15442" y="11577"/>
                    <a:pt x="15442" y="11697"/>
                    <a:pt x="15322" y="11697"/>
                  </a:cubicBezTo>
                  <a:cubicBezTo>
                    <a:pt x="15201" y="11697"/>
                    <a:pt x="15322" y="11697"/>
                    <a:pt x="15322" y="11783"/>
                  </a:cubicBezTo>
                  <a:lnTo>
                    <a:pt x="15322" y="11783"/>
                  </a:lnTo>
                  <a:cubicBezTo>
                    <a:pt x="15218" y="11783"/>
                    <a:pt x="15322" y="11955"/>
                    <a:pt x="15150" y="12006"/>
                  </a:cubicBezTo>
                  <a:cubicBezTo>
                    <a:pt x="14978" y="12058"/>
                    <a:pt x="15150" y="12127"/>
                    <a:pt x="15150" y="12006"/>
                  </a:cubicBezTo>
                  <a:cubicBezTo>
                    <a:pt x="15150" y="11886"/>
                    <a:pt x="14789" y="12161"/>
                    <a:pt x="15150" y="12144"/>
                  </a:cubicBezTo>
                  <a:cubicBezTo>
                    <a:pt x="15510" y="12127"/>
                    <a:pt x="14961" y="12298"/>
                    <a:pt x="15150" y="12247"/>
                  </a:cubicBezTo>
                  <a:cubicBezTo>
                    <a:pt x="15339" y="12195"/>
                    <a:pt x="14995" y="12419"/>
                    <a:pt x="14978" y="12247"/>
                  </a:cubicBezTo>
                  <a:cubicBezTo>
                    <a:pt x="14961" y="12075"/>
                    <a:pt x="14978" y="12333"/>
                    <a:pt x="14978" y="12350"/>
                  </a:cubicBezTo>
                  <a:cubicBezTo>
                    <a:pt x="14978" y="12367"/>
                    <a:pt x="15098" y="12350"/>
                    <a:pt x="15150" y="12350"/>
                  </a:cubicBezTo>
                  <a:cubicBezTo>
                    <a:pt x="15201" y="12350"/>
                    <a:pt x="14961" y="12350"/>
                    <a:pt x="14892" y="12505"/>
                  </a:cubicBezTo>
                  <a:cubicBezTo>
                    <a:pt x="15133" y="12505"/>
                    <a:pt x="15047" y="12505"/>
                    <a:pt x="14892" y="12608"/>
                  </a:cubicBezTo>
                  <a:cubicBezTo>
                    <a:pt x="14738" y="12711"/>
                    <a:pt x="14892" y="12608"/>
                    <a:pt x="14995" y="12608"/>
                  </a:cubicBezTo>
                  <a:cubicBezTo>
                    <a:pt x="15011" y="12682"/>
                    <a:pt x="14963" y="12755"/>
                    <a:pt x="14889" y="12770"/>
                  </a:cubicBezTo>
                  <a:cubicBezTo>
                    <a:pt x="14861" y="12776"/>
                    <a:pt x="14832" y="12773"/>
                    <a:pt x="14806" y="12762"/>
                  </a:cubicBezTo>
                  <a:cubicBezTo>
                    <a:pt x="14806" y="12762"/>
                    <a:pt x="14961" y="12848"/>
                    <a:pt x="14806" y="12917"/>
                  </a:cubicBezTo>
                  <a:cubicBezTo>
                    <a:pt x="14995" y="13020"/>
                    <a:pt x="14600" y="13157"/>
                    <a:pt x="14566" y="13089"/>
                  </a:cubicBezTo>
                  <a:cubicBezTo>
                    <a:pt x="14531" y="13020"/>
                    <a:pt x="14566" y="13363"/>
                    <a:pt x="14411" y="13312"/>
                  </a:cubicBezTo>
                  <a:cubicBezTo>
                    <a:pt x="14257" y="13260"/>
                    <a:pt x="14669" y="13312"/>
                    <a:pt x="14531" y="13415"/>
                  </a:cubicBezTo>
                  <a:cubicBezTo>
                    <a:pt x="14394" y="13518"/>
                    <a:pt x="14531" y="13415"/>
                    <a:pt x="14531" y="13501"/>
                  </a:cubicBezTo>
                  <a:cubicBezTo>
                    <a:pt x="14531" y="13587"/>
                    <a:pt x="14531" y="13501"/>
                    <a:pt x="14531" y="13621"/>
                  </a:cubicBezTo>
                  <a:lnTo>
                    <a:pt x="14634" y="13621"/>
                  </a:lnTo>
                  <a:cubicBezTo>
                    <a:pt x="14634" y="13707"/>
                    <a:pt x="14428" y="13879"/>
                    <a:pt x="14325" y="13844"/>
                  </a:cubicBezTo>
                  <a:cubicBezTo>
                    <a:pt x="14222" y="13810"/>
                    <a:pt x="14480" y="13844"/>
                    <a:pt x="14549" y="13844"/>
                  </a:cubicBezTo>
                  <a:cubicBezTo>
                    <a:pt x="14325" y="14050"/>
                    <a:pt x="14549" y="13844"/>
                    <a:pt x="14549" y="13844"/>
                  </a:cubicBezTo>
                  <a:cubicBezTo>
                    <a:pt x="14549" y="13844"/>
                    <a:pt x="14549" y="13844"/>
                    <a:pt x="14394" y="13999"/>
                  </a:cubicBezTo>
                  <a:cubicBezTo>
                    <a:pt x="14394" y="13999"/>
                    <a:pt x="14686" y="13810"/>
                    <a:pt x="14549" y="13999"/>
                  </a:cubicBezTo>
                  <a:lnTo>
                    <a:pt x="14549" y="13999"/>
                  </a:lnTo>
                  <a:cubicBezTo>
                    <a:pt x="14549" y="13999"/>
                    <a:pt x="14463" y="14102"/>
                    <a:pt x="14446" y="14153"/>
                  </a:cubicBezTo>
                  <a:cubicBezTo>
                    <a:pt x="14428" y="14205"/>
                    <a:pt x="14755" y="14153"/>
                    <a:pt x="14549" y="14153"/>
                  </a:cubicBezTo>
                  <a:cubicBezTo>
                    <a:pt x="14806" y="14342"/>
                    <a:pt x="14205" y="14239"/>
                    <a:pt x="14119" y="14360"/>
                  </a:cubicBezTo>
                  <a:cubicBezTo>
                    <a:pt x="14566" y="14360"/>
                    <a:pt x="13982" y="14360"/>
                    <a:pt x="13896" y="14497"/>
                  </a:cubicBezTo>
                  <a:cubicBezTo>
                    <a:pt x="13870" y="14437"/>
                    <a:pt x="13870" y="14368"/>
                    <a:pt x="13896" y="14308"/>
                  </a:cubicBezTo>
                  <a:cubicBezTo>
                    <a:pt x="13896" y="14445"/>
                    <a:pt x="13896" y="14531"/>
                    <a:pt x="13793" y="14634"/>
                  </a:cubicBezTo>
                  <a:cubicBezTo>
                    <a:pt x="13982" y="14634"/>
                    <a:pt x="14188" y="14342"/>
                    <a:pt x="14428" y="14411"/>
                  </a:cubicBezTo>
                  <a:cubicBezTo>
                    <a:pt x="14308" y="14257"/>
                    <a:pt x="14806" y="14411"/>
                    <a:pt x="14428" y="14617"/>
                  </a:cubicBezTo>
                  <a:cubicBezTo>
                    <a:pt x="14428" y="14617"/>
                    <a:pt x="14428" y="14617"/>
                    <a:pt x="14428" y="14617"/>
                  </a:cubicBezTo>
                  <a:cubicBezTo>
                    <a:pt x="14428" y="14617"/>
                    <a:pt x="14703" y="14463"/>
                    <a:pt x="14566" y="14617"/>
                  </a:cubicBezTo>
                  <a:cubicBezTo>
                    <a:pt x="14428" y="14772"/>
                    <a:pt x="14669" y="14617"/>
                    <a:pt x="14652" y="14617"/>
                  </a:cubicBezTo>
                  <a:cubicBezTo>
                    <a:pt x="14634" y="14617"/>
                    <a:pt x="14652" y="14789"/>
                    <a:pt x="14497" y="14772"/>
                  </a:cubicBezTo>
                  <a:cubicBezTo>
                    <a:pt x="14600" y="14772"/>
                    <a:pt x="14360" y="14995"/>
                    <a:pt x="14360" y="14875"/>
                  </a:cubicBezTo>
                  <a:cubicBezTo>
                    <a:pt x="14360" y="14755"/>
                    <a:pt x="14549" y="15047"/>
                    <a:pt x="14360" y="15012"/>
                  </a:cubicBezTo>
                  <a:cubicBezTo>
                    <a:pt x="14583" y="15115"/>
                    <a:pt x="13879" y="15407"/>
                    <a:pt x="13844" y="15287"/>
                  </a:cubicBezTo>
                  <a:cubicBezTo>
                    <a:pt x="13810" y="15167"/>
                    <a:pt x="13724" y="15287"/>
                    <a:pt x="13844" y="15287"/>
                  </a:cubicBezTo>
                  <a:cubicBezTo>
                    <a:pt x="13381" y="15682"/>
                    <a:pt x="13003" y="15734"/>
                    <a:pt x="12590" y="15407"/>
                  </a:cubicBezTo>
                  <a:cubicBezTo>
                    <a:pt x="12590" y="15407"/>
                    <a:pt x="12213" y="15407"/>
                    <a:pt x="12247" y="15253"/>
                  </a:cubicBezTo>
                  <a:cubicBezTo>
                    <a:pt x="11629" y="15631"/>
                    <a:pt x="11062" y="16026"/>
                    <a:pt x="10426" y="16369"/>
                  </a:cubicBezTo>
                  <a:cubicBezTo>
                    <a:pt x="10849" y="16193"/>
                    <a:pt x="11326" y="16193"/>
                    <a:pt x="11749" y="16369"/>
                  </a:cubicBezTo>
                  <a:cubicBezTo>
                    <a:pt x="11704" y="16429"/>
                    <a:pt x="11645" y="16477"/>
                    <a:pt x="11577" y="16507"/>
                  </a:cubicBezTo>
                  <a:cubicBezTo>
                    <a:pt x="11749" y="16507"/>
                    <a:pt x="11354" y="16885"/>
                    <a:pt x="11577" y="16936"/>
                  </a:cubicBezTo>
                  <a:cubicBezTo>
                    <a:pt x="11405" y="17022"/>
                    <a:pt x="11732" y="17262"/>
                    <a:pt x="11835" y="17125"/>
                  </a:cubicBezTo>
                  <a:cubicBezTo>
                    <a:pt x="11835" y="17125"/>
                    <a:pt x="11972" y="17262"/>
                    <a:pt x="11835" y="17245"/>
                  </a:cubicBezTo>
                  <a:cubicBezTo>
                    <a:pt x="12075" y="17245"/>
                    <a:pt x="11182" y="17520"/>
                    <a:pt x="11251" y="17365"/>
                  </a:cubicBezTo>
                  <a:cubicBezTo>
                    <a:pt x="11101" y="17505"/>
                    <a:pt x="10940" y="17631"/>
                    <a:pt x="10770" y="17743"/>
                  </a:cubicBezTo>
                  <a:lnTo>
                    <a:pt x="10770" y="17743"/>
                  </a:lnTo>
                  <a:cubicBezTo>
                    <a:pt x="10667" y="17743"/>
                    <a:pt x="10770" y="17589"/>
                    <a:pt x="10770" y="17640"/>
                  </a:cubicBezTo>
                  <a:cubicBezTo>
                    <a:pt x="10770" y="17417"/>
                    <a:pt x="11371" y="16988"/>
                    <a:pt x="11371" y="17280"/>
                  </a:cubicBezTo>
                  <a:cubicBezTo>
                    <a:pt x="11371" y="17177"/>
                    <a:pt x="11491" y="17280"/>
                    <a:pt x="11543" y="17194"/>
                  </a:cubicBezTo>
                  <a:cubicBezTo>
                    <a:pt x="11233" y="17073"/>
                    <a:pt x="11233" y="17194"/>
                    <a:pt x="11543" y="16970"/>
                  </a:cubicBezTo>
                  <a:lnTo>
                    <a:pt x="11543" y="16970"/>
                  </a:lnTo>
                  <a:lnTo>
                    <a:pt x="11543" y="16970"/>
                  </a:lnTo>
                  <a:cubicBezTo>
                    <a:pt x="11543" y="17073"/>
                    <a:pt x="11045" y="17245"/>
                    <a:pt x="11233" y="16970"/>
                  </a:cubicBezTo>
                  <a:cubicBezTo>
                    <a:pt x="11096" y="17125"/>
                    <a:pt x="11045" y="17073"/>
                    <a:pt x="10924" y="16970"/>
                  </a:cubicBezTo>
                  <a:cubicBezTo>
                    <a:pt x="10804" y="16867"/>
                    <a:pt x="10924" y="17091"/>
                    <a:pt x="10924" y="17159"/>
                  </a:cubicBezTo>
                  <a:cubicBezTo>
                    <a:pt x="10924" y="17228"/>
                    <a:pt x="10924" y="17331"/>
                    <a:pt x="10924" y="17159"/>
                  </a:cubicBezTo>
                  <a:cubicBezTo>
                    <a:pt x="10924" y="16988"/>
                    <a:pt x="10598" y="17314"/>
                    <a:pt x="10667" y="17159"/>
                  </a:cubicBezTo>
                  <a:cubicBezTo>
                    <a:pt x="10735" y="17005"/>
                    <a:pt x="10478" y="17245"/>
                    <a:pt x="10667" y="17159"/>
                  </a:cubicBezTo>
                  <a:cubicBezTo>
                    <a:pt x="10856" y="17073"/>
                    <a:pt x="10546" y="17297"/>
                    <a:pt x="10478" y="17331"/>
                  </a:cubicBezTo>
                  <a:lnTo>
                    <a:pt x="10478" y="17331"/>
                  </a:lnTo>
                  <a:cubicBezTo>
                    <a:pt x="10478" y="17331"/>
                    <a:pt x="10478" y="17417"/>
                    <a:pt x="10478" y="17331"/>
                  </a:cubicBezTo>
                  <a:cubicBezTo>
                    <a:pt x="10478" y="17245"/>
                    <a:pt x="10357" y="17469"/>
                    <a:pt x="10478" y="17331"/>
                  </a:cubicBezTo>
                  <a:cubicBezTo>
                    <a:pt x="10254" y="17331"/>
                    <a:pt x="9722" y="18345"/>
                    <a:pt x="10083" y="18001"/>
                  </a:cubicBezTo>
                  <a:cubicBezTo>
                    <a:pt x="10083" y="18138"/>
                    <a:pt x="9842" y="18327"/>
                    <a:pt x="9911" y="18087"/>
                  </a:cubicBezTo>
                  <a:cubicBezTo>
                    <a:pt x="9773" y="18259"/>
                    <a:pt x="9791" y="18241"/>
                    <a:pt x="9808" y="18087"/>
                  </a:cubicBezTo>
                  <a:cubicBezTo>
                    <a:pt x="9360" y="18252"/>
                    <a:pt x="8984" y="18568"/>
                    <a:pt x="8743" y="18980"/>
                  </a:cubicBezTo>
                  <a:lnTo>
                    <a:pt x="8743" y="18980"/>
                  </a:lnTo>
                  <a:lnTo>
                    <a:pt x="8743" y="18980"/>
                  </a:lnTo>
                  <a:cubicBezTo>
                    <a:pt x="8743" y="18980"/>
                    <a:pt x="8743" y="18825"/>
                    <a:pt x="8743" y="18740"/>
                  </a:cubicBezTo>
                  <a:cubicBezTo>
                    <a:pt x="8605" y="18980"/>
                    <a:pt x="8588" y="19289"/>
                    <a:pt x="8365" y="19495"/>
                  </a:cubicBezTo>
                  <a:lnTo>
                    <a:pt x="8365" y="19495"/>
                  </a:lnTo>
                  <a:lnTo>
                    <a:pt x="8262" y="19650"/>
                  </a:lnTo>
                  <a:cubicBezTo>
                    <a:pt x="8298" y="19536"/>
                    <a:pt x="8356" y="19431"/>
                    <a:pt x="8434" y="19341"/>
                  </a:cubicBezTo>
                  <a:cubicBezTo>
                    <a:pt x="8434" y="19341"/>
                    <a:pt x="8434" y="19255"/>
                    <a:pt x="8434" y="19221"/>
                  </a:cubicBezTo>
                  <a:lnTo>
                    <a:pt x="8434" y="19221"/>
                  </a:lnTo>
                  <a:cubicBezTo>
                    <a:pt x="8434" y="19014"/>
                    <a:pt x="8605" y="18860"/>
                    <a:pt x="8674" y="18671"/>
                  </a:cubicBezTo>
                  <a:cubicBezTo>
                    <a:pt x="8545" y="18838"/>
                    <a:pt x="8441" y="19023"/>
                    <a:pt x="8365" y="19221"/>
                  </a:cubicBezTo>
                  <a:cubicBezTo>
                    <a:pt x="8365" y="19117"/>
                    <a:pt x="8365" y="19032"/>
                    <a:pt x="8365" y="18929"/>
                  </a:cubicBezTo>
                  <a:cubicBezTo>
                    <a:pt x="8365" y="18825"/>
                    <a:pt x="8365" y="19581"/>
                    <a:pt x="8365" y="19324"/>
                  </a:cubicBezTo>
                  <a:cubicBezTo>
                    <a:pt x="8365" y="19324"/>
                    <a:pt x="8365" y="19598"/>
                    <a:pt x="8365" y="19530"/>
                  </a:cubicBezTo>
                  <a:cubicBezTo>
                    <a:pt x="8365" y="19461"/>
                    <a:pt x="8365" y="19616"/>
                    <a:pt x="8365" y="19650"/>
                  </a:cubicBezTo>
                  <a:cubicBezTo>
                    <a:pt x="8374" y="19605"/>
                    <a:pt x="8374" y="19558"/>
                    <a:pt x="8365" y="19513"/>
                  </a:cubicBezTo>
                  <a:cubicBezTo>
                    <a:pt x="8365" y="19650"/>
                    <a:pt x="8502" y="19719"/>
                    <a:pt x="8365" y="19856"/>
                  </a:cubicBezTo>
                  <a:lnTo>
                    <a:pt x="8365" y="19856"/>
                  </a:lnTo>
                  <a:cubicBezTo>
                    <a:pt x="8365" y="19993"/>
                    <a:pt x="8176" y="20148"/>
                    <a:pt x="8210" y="19976"/>
                  </a:cubicBezTo>
                  <a:cubicBezTo>
                    <a:pt x="8245" y="19805"/>
                    <a:pt x="8210" y="20079"/>
                    <a:pt x="8210" y="20097"/>
                  </a:cubicBezTo>
                  <a:cubicBezTo>
                    <a:pt x="8210" y="20114"/>
                    <a:pt x="8296" y="20097"/>
                    <a:pt x="8313" y="20234"/>
                  </a:cubicBezTo>
                  <a:cubicBezTo>
                    <a:pt x="8304" y="20200"/>
                    <a:pt x="8304" y="20165"/>
                    <a:pt x="8313" y="20131"/>
                  </a:cubicBezTo>
                  <a:cubicBezTo>
                    <a:pt x="8313" y="20234"/>
                    <a:pt x="8313" y="20285"/>
                    <a:pt x="8176" y="20354"/>
                  </a:cubicBezTo>
                  <a:cubicBezTo>
                    <a:pt x="8039" y="20423"/>
                    <a:pt x="8176" y="20354"/>
                    <a:pt x="8176" y="20251"/>
                  </a:cubicBezTo>
                  <a:cubicBezTo>
                    <a:pt x="8176" y="20148"/>
                    <a:pt x="8176" y="20251"/>
                    <a:pt x="8176" y="20251"/>
                  </a:cubicBezTo>
                  <a:cubicBezTo>
                    <a:pt x="8176" y="20251"/>
                    <a:pt x="8176" y="20474"/>
                    <a:pt x="8176" y="20389"/>
                  </a:cubicBezTo>
                  <a:lnTo>
                    <a:pt x="8176" y="20389"/>
                  </a:lnTo>
                  <a:lnTo>
                    <a:pt x="8176" y="20389"/>
                  </a:lnTo>
                  <a:lnTo>
                    <a:pt x="8176" y="20389"/>
                  </a:lnTo>
                  <a:cubicBezTo>
                    <a:pt x="6991" y="20389"/>
                    <a:pt x="6458" y="24992"/>
                    <a:pt x="6579" y="22982"/>
                  </a:cubicBezTo>
                  <a:cubicBezTo>
                    <a:pt x="6579" y="22982"/>
                    <a:pt x="6579" y="22982"/>
                    <a:pt x="6579" y="22982"/>
                  </a:cubicBezTo>
                  <a:cubicBezTo>
                    <a:pt x="6579" y="22982"/>
                    <a:pt x="6579" y="22982"/>
                    <a:pt x="6579" y="22982"/>
                  </a:cubicBezTo>
                  <a:lnTo>
                    <a:pt x="6579" y="22982"/>
                  </a:lnTo>
                  <a:cubicBezTo>
                    <a:pt x="6579" y="22879"/>
                    <a:pt x="6579" y="22707"/>
                    <a:pt x="6579" y="22604"/>
                  </a:cubicBezTo>
                  <a:cubicBezTo>
                    <a:pt x="6579" y="22501"/>
                    <a:pt x="6579" y="22604"/>
                    <a:pt x="6579" y="22707"/>
                  </a:cubicBezTo>
                  <a:cubicBezTo>
                    <a:pt x="6579" y="22810"/>
                    <a:pt x="6853" y="21780"/>
                    <a:pt x="6579" y="21745"/>
                  </a:cubicBezTo>
                  <a:cubicBezTo>
                    <a:pt x="6304" y="21711"/>
                    <a:pt x="6476" y="21849"/>
                    <a:pt x="6579" y="21745"/>
                  </a:cubicBezTo>
                  <a:lnTo>
                    <a:pt x="6579" y="21745"/>
                  </a:lnTo>
                  <a:lnTo>
                    <a:pt x="6579" y="21745"/>
                  </a:lnTo>
                  <a:cubicBezTo>
                    <a:pt x="6579" y="21745"/>
                    <a:pt x="6579" y="21574"/>
                    <a:pt x="6579" y="21642"/>
                  </a:cubicBezTo>
                  <a:cubicBezTo>
                    <a:pt x="6587" y="21603"/>
                    <a:pt x="6587" y="21562"/>
                    <a:pt x="6579" y="21522"/>
                  </a:cubicBezTo>
                  <a:lnTo>
                    <a:pt x="6579" y="21522"/>
                  </a:lnTo>
                  <a:cubicBezTo>
                    <a:pt x="6579" y="21522"/>
                    <a:pt x="6579" y="21436"/>
                    <a:pt x="6579" y="21385"/>
                  </a:cubicBezTo>
                  <a:lnTo>
                    <a:pt x="6579" y="21385"/>
                  </a:lnTo>
                  <a:cubicBezTo>
                    <a:pt x="6579" y="21385"/>
                    <a:pt x="6579" y="21385"/>
                    <a:pt x="6579" y="21385"/>
                  </a:cubicBezTo>
                  <a:cubicBezTo>
                    <a:pt x="6579" y="21385"/>
                    <a:pt x="6579" y="21385"/>
                    <a:pt x="6579" y="21385"/>
                  </a:cubicBezTo>
                  <a:cubicBezTo>
                    <a:pt x="6579" y="21385"/>
                    <a:pt x="6579" y="21282"/>
                    <a:pt x="6579" y="21230"/>
                  </a:cubicBezTo>
                  <a:lnTo>
                    <a:pt x="6579" y="21333"/>
                  </a:lnTo>
                  <a:cubicBezTo>
                    <a:pt x="6579" y="21230"/>
                    <a:pt x="6390" y="21333"/>
                    <a:pt x="6373" y="21453"/>
                  </a:cubicBezTo>
                  <a:lnTo>
                    <a:pt x="6373" y="21453"/>
                  </a:lnTo>
                  <a:cubicBezTo>
                    <a:pt x="6373" y="21642"/>
                    <a:pt x="6373" y="21763"/>
                    <a:pt x="6373" y="21849"/>
                  </a:cubicBezTo>
                  <a:cubicBezTo>
                    <a:pt x="6373" y="21934"/>
                    <a:pt x="6373" y="21471"/>
                    <a:pt x="6373" y="21763"/>
                  </a:cubicBezTo>
                  <a:lnTo>
                    <a:pt x="6373" y="21660"/>
                  </a:lnTo>
                  <a:cubicBezTo>
                    <a:pt x="6373" y="21539"/>
                    <a:pt x="6373" y="21471"/>
                    <a:pt x="6373" y="21350"/>
                  </a:cubicBezTo>
                  <a:cubicBezTo>
                    <a:pt x="6373" y="21230"/>
                    <a:pt x="6373" y="21350"/>
                    <a:pt x="6373" y="21350"/>
                  </a:cubicBezTo>
                  <a:cubicBezTo>
                    <a:pt x="6373" y="21591"/>
                    <a:pt x="6373" y="21076"/>
                    <a:pt x="6184" y="21350"/>
                  </a:cubicBezTo>
                  <a:cubicBezTo>
                    <a:pt x="6184" y="21350"/>
                    <a:pt x="6184" y="21196"/>
                    <a:pt x="6184" y="21127"/>
                  </a:cubicBezTo>
                  <a:cubicBezTo>
                    <a:pt x="6184" y="21058"/>
                    <a:pt x="6184" y="21247"/>
                    <a:pt x="6184" y="21127"/>
                  </a:cubicBezTo>
                  <a:cubicBezTo>
                    <a:pt x="6193" y="21213"/>
                    <a:pt x="6193" y="21299"/>
                    <a:pt x="6184" y="21385"/>
                  </a:cubicBezTo>
                  <a:lnTo>
                    <a:pt x="6184" y="21385"/>
                  </a:lnTo>
                  <a:lnTo>
                    <a:pt x="6184" y="21505"/>
                  </a:lnTo>
                  <a:lnTo>
                    <a:pt x="6184" y="21505"/>
                  </a:lnTo>
                  <a:cubicBezTo>
                    <a:pt x="6184" y="21591"/>
                    <a:pt x="6184" y="21505"/>
                    <a:pt x="6184" y="21505"/>
                  </a:cubicBezTo>
                  <a:lnTo>
                    <a:pt x="6184" y="21505"/>
                  </a:lnTo>
                  <a:cubicBezTo>
                    <a:pt x="6184" y="21505"/>
                    <a:pt x="6184" y="21505"/>
                    <a:pt x="6184" y="21505"/>
                  </a:cubicBezTo>
                  <a:lnTo>
                    <a:pt x="6184" y="21505"/>
                  </a:lnTo>
                  <a:cubicBezTo>
                    <a:pt x="6184" y="21505"/>
                    <a:pt x="6184" y="21608"/>
                    <a:pt x="6184" y="21608"/>
                  </a:cubicBezTo>
                  <a:lnTo>
                    <a:pt x="6184" y="21608"/>
                  </a:lnTo>
                  <a:cubicBezTo>
                    <a:pt x="6085" y="21918"/>
                    <a:pt x="6005" y="22233"/>
                    <a:pt x="5943" y="22553"/>
                  </a:cubicBezTo>
                  <a:cubicBezTo>
                    <a:pt x="5943" y="22553"/>
                    <a:pt x="5943" y="22433"/>
                    <a:pt x="5943" y="22398"/>
                  </a:cubicBezTo>
                  <a:cubicBezTo>
                    <a:pt x="5943" y="22364"/>
                    <a:pt x="5840" y="22862"/>
                    <a:pt x="5943" y="22621"/>
                  </a:cubicBezTo>
                  <a:cubicBezTo>
                    <a:pt x="5838" y="23115"/>
                    <a:pt x="5758" y="23614"/>
                    <a:pt x="5703" y="24116"/>
                  </a:cubicBezTo>
                  <a:cubicBezTo>
                    <a:pt x="5668" y="24579"/>
                    <a:pt x="5668" y="25044"/>
                    <a:pt x="5703" y="25507"/>
                  </a:cubicBezTo>
                  <a:cubicBezTo>
                    <a:pt x="5703" y="25507"/>
                    <a:pt x="5703" y="25507"/>
                    <a:pt x="5703" y="25507"/>
                  </a:cubicBezTo>
                  <a:cubicBezTo>
                    <a:pt x="5709" y="25479"/>
                    <a:pt x="5709" y="25449"/>
                    <a:pt x="5703" y="25421"/>
                  </a:cubicBezTo>
                  <a:lnTo>
                    <a:pt x="5703" y="25421"/>
                  </a:lnTo>
                  <a:cubicBezTo>
                    <a:pt x="5703" y="25421"/>
                    <a:pt x="5703" y="25421"/>
                    <a:pt x="5703" y="25421"/>
                  </a:cubicBezTo>
                  <a:lnTo>
                    <a:pt x="5703" y="25421"/>
                  </a:lnTo>
                  <a:cubicBezTo>
                    <a:pt x="5703" y="25421"/>
                    <a:pt x="5703" y="25559"/>
                    <a:pt x="5703" y="25627"/>
                  </a:cubicBezTo>
                  <a:lnTo>
                    <a:pt x="5703" y="25627"/>
                  </a:lnTo>
                  <a:lnTo>
                    <a:pt x="5703" y="25627"/>
                  </a:lnTo>
                  <a:cubicBezTo>
                    <a:pt x="5711" y="25553"/>
                    <a:pt x="5711" y="25478"/>
                    <a:pt x="5703" y="25404"/>
                  </a:cubicBezTo>
                  <a:lnTo>
                    <a:pt x="5703" y="25404"/>
                  </a:lnTo>
                  <a:cubicBezTo>
                    <a:pt x="5857" y="25249"/>
                    <a:pt x="5703" y="24511"/>
                    <a:pt x="5995" y="24665"/>
                  </a:cubicBezTo>
                  <a:cubicBezTo>
                    <a:pt x="5995" y="24665"/>
                    <a:pt x="5995" y="24562"/>
                    <a:pt x="5995" y="24665"/>
                  </a:cubicBezTo>
                  <a:cubicBezTo>
                    <a:pt x="5995" y="24769"/>
                    <a:pt x="5995" y="24665"/>
                    <a:pt x="5995" y="24665"/>
                  </a:cubicBezTo>
                  <a:cubicBezTo>
                    <a:pt x="5995" y="24665"/>
                    <a:pt x="5995" y="24820"/>
                    <a:pt x="5995" y="24665"/>
                  </a:cubicBezTo>
                  <a:cubicBezTo>
                    <a:pt x="6098" y="24957"/>
                    <a:pt x="5806" y="25284"/>
                    <a:pt x="5857" y="25593"/>
                  </a:cubicBezTo>
                  <a:cubicBezTo>
                    <a:pt x="5857" y="25593"/>
                    <a:pt x="5857" y="25868"/>
                    <a:pt x="5857" y="25919"/>
                  </a:cubicBezTo>
                  <a:cubicBezTo>
                    <a:pt x="5814" y="26294"/>
                    <a:pt x="5476" y="26563"/>
                    <a:pt x="5101" y="26521"/>
                  </a:cubicBezTo>
                  <a:cubicBezTo>
                    <a:pt x="4727" y="26478"/>
                    <a:pt x="4457" y="26140"/>
                    <a:pt x="4500" y="25765"/>
                  </a:cubicBezTo>
                  <a:cubicBezTo>
                    <a:pt x="4500" y="25954"/>
                    <a:pt x="4500" y="26349"/>
                    <a:pt x="4397" y="26658"/>
                  </a:cubicBezTo>
                  <a:lnTo>
                    <a:pt x="4397" y="26658"/>
                  </a:lnTo>
                  <a:cubicBezTo>
                    <a:pt x="4380" y="26726"/>
                    <a:pt x="4380" y="26796"/>
                    <a:pt x="4397" y="26864"/>
                  </a:cubicBezTo>
                  <a:lnTo>
                    <a:pt x="4397" y="26864"/>
                  </a:lnTo>
                  <a:cubicBezTo>
                    <a:pt x="4397" y="26864"/>
                    <a:pt x="4397" y="26864"/>
                    <a:pt x="4397" y="26950"/>
                  </a:cubicBezTo>
                  <a:cubicBezTo>
                    <a:pt x="4397" y="27036"/>
                    <a:pt x="4603" y="27139"/>
                    <a:pt x="4586" y="26950"/>
                  </a:cubicBezTo>
                  <a:cubicBezTo>
                    <a:pt x="4586" y="27053"/>
                    <a:pt x="4586" y="27105"/>
                    <a:pt x="4724" y="27190"/>
                  </a:cubicBezTo>
                  <a:lnTo>
                    <a:pt x="4724" y="27190"/>
                  </a:lnTo>
                  <a:cubicBezTo>
                    <a:pt x="4738" y="27241"/>
                    <a:pt x="4738" y="27295"/>
                    <a:pt x="4724" y="27345"/>
                  </a:cubicBezTo>
                  <a:cubicBezTo>
                    <a:pt x="4724" y="27208"/>
                    <a:pt x="4724" y="27345"/>
                    <a:pt x="4724" y="27448"/>
                  </a:cubicBezTo>
                  <a:lnTo>
                    <a:pt x="4724" y="27448"/>
                  </a:lnTo>
                  <a:cubicBezTo>
                    <a:pt x="4767" y="27681"/>
                    <a:pt x="4767" y="27920"/>
                    <a:pt x="4724" y="28152"/>
                  </a:cubicBezTo>
                  <a:lnTo>
                    <a:pt x="4724" y="28152"/>
                  </a:lnTo>
                  <a:cubicBezTo>
                    <a:pt x="4732" y="28307"/>
                    <a:pt x="4732" y="28462"/>
                    <a:pt x="4724" y="28616"/>
                  </a:cubicBezTo>
                  <a:cubicBezTo>
                    <a:pt x="4724" y="28616"/>
                    <a:pt x="4724" y="28513"/>
                    <a:pt x="4724" y="28444"/>
                  </a:cubicBezTo>
                  <a:cubicBezTo>
                    <a:pt x="4715" y="28564"/>
                    <a:pt x="4715" y="28685"/>
                    <a:pt x="4724" y="28805"/>
                  </a:cubicBezTo>
                  <a:cubicBezTo>
                    <a:pt x="4734" y="28777"/>
                    <a:pt x="4734" y="28747"/>
                    <a:pt x="4724" y="28719"/>
                  </a:cubicBezTo>
                  <a:cubicBezTo>
                    <a:pt x="4697" y="28861"/>
                    <a:pt x="4697" y="29007"/>
                    <a:pt x="4724" y="29149"/>
                  </a:cubicBezTo>
                  <a:cubicBezTo>
                    <a:pt x="4724" y="29063"/>
                    <a:pt x="4947" y="30042"/>
                    <a:pt x="4930" y="29733"/>
                  </a:cubicBezTo>
                  <a:cubicBezTo>
                    <a:pt x="5136" y="30265"/>
                    <a:pt x="5170" y="29131"/>
                    <a:pt x="5634" y="30471"/>
                  </a:cubicBezTo>
                  <a:cubicBezTo>
                    <a:pt x="5634" y="30368"/>
                    <a:pt x="5634" y="29337"/>
                    <a:pt x="5960" y="29595"/>
                  </a:cubicBezTo>
                  <a:cubicBezTo>
                    <a:pt x="5960" y="29818"/>
                    <a:pt x="5960" y="29595"/>
                    <a:pt x="5960" y="29475"/>
                  </a:cubicBezTo>
                  <a:cubicBezTo>
                    <a:pt x="5960" y="29355"/>
                    <a:pt x="6252" y="29303"/>
                    <a:pt x="6355" y="29234"/>
                  </a:cubicBezTo>
                  <a:cubicBezTo>
                    <a:pt x="6476" y="29458"/>
                    <a:pt x="6355" y="29836"/>
                    <a:pt x="6355" y="30145"/>
                  </a:cubicBezTo>
                  <a:cubicBezTo>
                    <a:pt x="6630" y="30901"/>
                    <a:pt x="6355" y="29681"/>
                    <a:pt x="6665" y="29664"/>
                  </a:cubicBezTo>
                  <a:cubicBezTo>
                    <a:pt x="6974" y="29647"/>
                    <a:pt x="6527" y="29544"/>
                    <a:pt x="6665" y="29441"/>
                  </a:cubicBezTo>
                  <a:cubicBezTo>
                    <a:pt x="6802" y="29337"/>
                    <a:pt x="6665" y="29664"/>
                    <a:pt x="6785" y="29733"/>
                  </a:cubicBezTo>
                  <a:cubicBezTo>
                    <a:pt x="6933" y="29741"/>
                    <a:pt x="7051" y="29859"/>
                    <a:pt x="7060" y="30007"/>
                  </a:cubicBezTo>
                  <a:cubicBezTo>
                    <a:pt x="6939" y="30213"/>
                    <a:pt x="7352" y="30145"/>
                    <a:pt x="7472" y="30196"/>
                  </a:cubicBezTo>
                  <a:cubicBezTo>
                    <a:pt x="7558" y="30660"/>
                    <a:pt x="8090" y="30042"/>
                    <a:pt x="8262" y="30402"/>
                  </a:cubicBezTo>
                  <a:cubicBezTo>
                    <a:pt x="8004" y="30402"/>
                    <a:pt x="8073" y="30402"/>
                    <a:pt x="8262" y="30643"/>
                  </a:cubicBezTo>
                  <a:cubicBezTo>
                    <a:pt x="8262" y="30471"/>
                    <a:pt x="8863" y="31107"/>
                    <a:pt x="8434" y="31107"/>
                  </a:cubicBezTo>
                  <a:cubicBezTo>
                    <a:pt x="8885" y="31152"/>
                    <a:pt x="9220" y="31547"/>
                    <a:pt x="9189" y="32000"/>
                  </a:cubicBezTo>
                  <a:cubicBezTo>
                    <a:pt x="9189" y="31673"/>
                    <a:pt x="9550" y="32154"/>
                    <a:pt x="9550" y="32309"/>
                  </a:cubicBezTo>
                  <a:cubicBezTo>
                    <a:pt x="9464" y="32103"/>
                    <a:pt x="10461" y="32309"/>
                    <a:pt x="10220" y="32532"/>
                  </a:cubicBezTo>
                  <a:cubicBezTo>
                    <a:pt x="10443" y="32361"/>
                    <a:pt x="10976" y="33030"/>
                    <a:pt x="10856" y="33151"/>
                  </a:cubicBezTo>
                  <a:cubicBezTo>
                    <a:pt x="11010" y="32893"/>
                    <a:pt x="11130" y="33735"/>
                    <a:pt x="11302" y="33924"/>
                  </a:cubicBezTo>
                  <a:cubicBezTo>
                    <a:pt x="11474" y="34113"/>
                    <a:pt x="10976" y="34559"/>
                    <a:pt x="11045" y="34868"/>
                  </a:cubicBezTo>
                  <a:cubicBezTo>
                    <a:pt x="11045" y="34611"/>
                    <a:pt x="11233" y="34628"/>
                    <a:pt x="11148" y="34868"/>
                  </a:cubicBezTo>
                  <a:cubicBezTo>
                    <a:pt x="11148" y="34868"/>
                    <a:pt x="11268" y="34559"/>
                    <a:pt x="11337" y="34731"/>
                  </a:cubicBezTo>
                  <a:cubicBezTo>
                    <a:pt x="11405" y="34903"/>
                    <a:pt x="11337" y="34731"/>
                    <a:pt x="11337" y="34731"/>
                  </a:cubicBezTo>
                  <a:cubicBezTo>
                    <a:pt x="11337" y="34216"/>
                    <a:pt x="12401" y="35143"/>
                    <a:pt x="11337" y="35092"/>
                  </a:cubicBezTo>
                  <a:cubicBezTo>
                    <a:pt x="11749" y="35092"/>
                    <a:pt x="11543" y="35315"/>
                    <a:pt x="11680" y="35624"/>
                  </a:cubicBezTo>
                  <a:cubicBezTo>
                    <a:pt x="11543" y="35074"/>
                    <a:pt x="12075" y="34576"/>
                    <a:pt x="12419" y="35074"/>
                  </a:cubicBezTo>
                  <a:cubicBezTo>
                    <a:pt x="12419" y="35074"/>
                    <a:pt x="12608" y="35177"/>
                    <a:pt x="12642" y="35263"/>
                  </a:cubicBezTo>
                  <a:cubicBezTo>
                    <a:pt x="12676" y="35349"/>
                    <a:pt x="12986" y="35366"/>
                    <a:pt x="12882" y="35469"/>
                  </a:cubicBezTo>
                  <a:cubicBezTo>
                    <a:pt x="12779" y="35573"/>
                    <a:pt x="12882" y="35727"/>
                    <a:pt x="12968" y="35830"/>
                  </a:cubicBezTo>
                  <a:cubicBezTo>
                    <a:pt x="13054" y="35933"/>
                    <a:pt x="12968" y="35487"/>
                    <a:pt x="12968" y="35710"/>
                  </a:cubicBezTo>
                  <a:cubicBezTo>
                    <a:pt x="12968" y="35555"/>
                    <a:pt x="13106" y="35607"/>
                    <a:pt x="12968" y="35504"/>
                  </a:cubicBezTo>
                  <a:cubicBezTo>
                    <a:pt x="12831" y="35401"/>
                    <a:pt x="13363" y="35761"/>
                    <a:pt x="13363" y="35641"/>
                  </a:cubicBezTo>
                  <a:cubicBezTo>
                    <a:pt x="13363" y="35521"/>
                    <a:pt x="13363" y="35641"/>
                    <a:pt x="13466" y="35744"/>
                  </a:cubicBezTo>
                  <a:cubicBezTo>
                    <a:pt x="13569" y="35847"/>
                    <a:pt x="13466" y="35744"/>
                    <a:pt x="13466" y="35744"/>
                  </a:cubicBezTo>
                  <a:lnTo>
                    <a:pt x="13466" y="35744"/>
                  </a:lnTo>
                  <a:lnTo>
                    <a:pt x="13466" y="35744"/>
                  </a:lnTo>
                  <a:cubicBezTo>
                    <a:pt x="14841" y="36157"/>
                    <a:pt x="16438" y="37462"/>
                    <a:pt x="14926" y="38922"/>
                  </a:cubicBezTo>
                  <a:cubicBezTo>
                    <a:pt x="14926" y="38836"/>
                    <a:pt x="14926" y="38682"/>
                    <a:pt x="14926" y="38819"/>
                  </a:cubicBezTo>
                  <a:cubicBezTo>
                    <a:pt x="14926" y="38956"/>
                    <a:pt x="14823" y="38819"/>
                    <a:pt x="14806" y="38819"/>
                  </a:cubicBezTo>
                  <a:lnTo>
                    <a:pt x="14806" y="38819"/>
                  </a:lnTo>
                  <a:cubicBezTo>
                    <a:pt x="15133" y="39386"/>
                    <a:pt x="15717" y="41619"/>
                    <a:pt x="14806" y="41447"/>
                  </a:cubicBezTo>
                  <a:cubicBezTo>
                    <a:pt x="14806" y="41447"/>
                    <a:pt x="14514" y="41447"/>
                    <a:pt x="14806" y="41447"/>
                  </a:cubicBezTo>
                  <a:cubicBezTo>
                    <a:pt x="15098" y="41447"/>
                    <a:pt x="14652" y="41447"/>
                    <a:pt x="14600" y="41447"/>
                  </a:cubicBezTo>
                  <a:cubicBezTo>
                    <a:pt x="14549" y="41447"/>
                    <a:pt x="14600" y="41533"/>
                    <a:pt x="14600" y="41687"/>
                  </a:cubicBezTo>
                  <a:cubicBezTo>
                    <a:pt x="14360" y="41498"/>
                    <a:pt x="14257" y="41997"/>
                    <a:pt x="14154" y="41962"/>
                  </a:cubicBezTo>
                  <a:cubicBezTo>
                    <a:pt x="14050" y="41928"/>
                    <a:pt x="14154" y="41962"/>
                    <a:pt x="14154" y="41962"/>
                  </a:cubicBezTo>
                  <a:cubicBezTo>
                    <a:pt x="14154" y="41962"/>
                    <a:pt x="14291" y="42048"/>
                    <a:pt x="14154" y="42048"/>
                  </a:cubicBezTo>
                  <a:cubicBezTo>
                    <a:pt x="14016" y="42048"/>
                    <a:pt x="14154" y="42048"/>
                    <a:pt x="14154" y="42048"/>
                  </a:cubicBezTo>
                  <a:cubicBezTo>
                    <a:pt x="14154" y="42048"/>
                    <a:pt x="14446" y="42426"/>
                    <a:pt x="14411" y="42529"/>
                  </a:cubicBezTo>
                  <a:cubicBezTo>
                    <a:pt x="14377" y="42632"/>
                    <a:pt x="14411" y="43697"/>
                    <a:pt x="14411" y="43336"/>
                  </a:cubicBezTo>
                  <a:cubicBezTo>
                    <a:pt x="14411" y="43336"/>
                    <a:pt x="14411" y="43336"/>
                    <a:pt x="14411" y="43250"/>
                  </a:cubicBezTo>
                  <a:cubicBezTo>
                    <a:pt x="14411" y="43165"/>
                    <a:pt x="14411" y="43113"/>
                    <a:pt x="14411" y="43113"/>
                  </a:cubicBezTo>
                  <a:cubicBezTo>
                    <a:pt x="14338" y="43042"/>
                    <a:pt x="14257" y="42979"/>
                    <a:pt x="14171" y="42924"/>
                  </a:cubicBezTo>
                  <a:cubicBezTo>
                    <a:pt x="14231" y="42979"/>
                    <a:pt x="14283" y="43043"/>
                    <a:pt x="14325" y="43113"/>
                  </a:cubicBezTo>
                  <a:cubicBezTo>
                    <a:pt x="14325" y="43113"/>
                    <a:pt x="14446" y="43354"/>
                    <a:pt x="14325" y="43250"/>
                  </a:cubicBezTo>
                  <a:cubicBezTo>
                    <a:pt x="14858" y="44041"/>
                    <a:pt x="14325" y="44264"/>
                    <a:pt x="13844" y="43817"/>
                  </a:cubicBezTo>
                  <a:lnTo>
                    <a:pt x="14549" y="44418"/>
                  </a:lnTo>
                  <a:lnTo>
                    <a:pt x="14549" y="44418"/>
                  </a:lnTo>
                  <a:cubicBezTo>
                    <a:pt x="14637" y="44494"/>
                    <a:pt x="14707" y="44587"/>
                    <a:pt x="14755" y="44693"/>
                  </a:cubicBezTo>
                  <a:lnTo>
                    <a:pt x="14755" y="44693"/>
                  </a:lnTo>
                  <a:cubicBezTo>
                    <a:pt x="14755" y="44693"/>
                    <a:pt x="14944" y="44951"/>
                    <a:pt x="14755" y="44882"/>
                  </a:cubicBezTo>
                  <a:cubicBezTo>
                    <a:pt x="14566" y="44814"/>
                    <a:pt x="14394" y="44882"/>
                    <a:pt x="14291" y="44882"/>
                  </a:cubicBezTo>
                  <a:cubicBezTo>
                    <a:pt x="14188" y="44882"/>
                    <a:pt x="14480" y="45037"/>
                    <a:pt x="14566" y="45123"/>
                  </a:cubicBezTo>
                  <a:lnTo>
                    <a:pt x="14566" y="45123"/>
                  </a:lnTo>
                  <a:cubicBezTo>
                    <a:pt x="14909" y="45466"/>
                    <a:pt x="14995" y="45569"/>
                    <a:pt x="14463" y="45294"/>
                  </a:cubicBezTo>
                  <a:cubicBezTo>
                    <a:pt x="14621" y="45462"/>
                    <a:pt x="14807" y="45602"/>
                    <a:pt x="15012" y="45707"/>
                  </a:cubicBezTo>
                  <a:cubicBezTo>
                    <a:pt x="15012" y="45707"/>
                    <a:pt x="15012" y="45707"/>
                    <a:pt x="15012" y="45707"/>
                  </a:cubicBezTo>
                  <a:lnTo>
                    <a:pt x="15012" y="45707"/>
                  </a:lnTo>
                  <a:cubicBezTo>
                    <a:pt x="15304" y="45930"/>
                    <a:pt x="15133" y="45947"/>
                    <a:pt x="15717" y="46359"/>
                  </a:cubicBezTo>
                  <a:lnTo>
                    <a:pt x="15717" y="46359"/>
                  </a:lnTo>
                  <a:lnTo>
                    <a:pt x="15717" y="46359"/>
                  </a:lnTo>
                  <a:lnTo>
                    <a:pt x="15717" y="46359"/>
                  </a:lnTo>
                  <a:cubicBezTo>
                    <a:pt x="15991" y="46669"/>
                    <a:pt x="16438" y="46737"/>
                    <a:pt x="16730" y="47012"/>
                  </a:cubicBezTo>
                  <a:lnTo>
                    <a:pt x="16730" y="47012"/>
                  </a:lnTo>
                  <a:lnTo>
                    <a:pt x="16730" y="47012"/>
                  </a:lnTo>
                  <a:lnTo>
                    <a:pt x="16730" y="47012"/>
                  </a:lnTo>
                  <a:lnTo>
                    <a:pt x="16885" y="47132"/>
                  </a:lnTo>
                  <a:lnTo>
                    <a:pt x="16885" y="47132"/>
                  </a:lnTo>
                  <a:lnTo>
                    <a:pt x="17091" y="47270"/>
                  </a:lnTo>
                  <a:cubicBezTo>
                    <a:pt x="17091" y="47270"/>
                    <a:pt x="17091" y="47270"/>
                    <a:pt x="16988" y="47270"/>
                  </a:cubicBezTo>
                  <a:cubicBezTo>
                    <a:pt x="17278" y="47454"/>
                    <a:pt x="17582" y="47614"/>
                    <a:pt x="17898" y="47751"/>
                  </a:cubicBezTo>
                  <a:lnTo>
                    <a:pt x="17898" y="47751"/>
                  </a:lnTo>
                  <a:cubicBezTo>
                    <a:pt x="17795" y="47751"/>
                    <a:pt x="17898" y="47751"/>
                    <a:pt x="17898" y="47751"/>
                  </a:cubicBezTo>
                  <a:lnTo>
                    <a:pt x="17898" y="47751"/>
                  </a:lnTo>
                  <a:cubicBezTo>
                    <a:pt x="18059" y="47847"/>
                    <a:pt x="18225" y="47933"/>
                    <a:pt x="18396" y="48008"/>
                  </a:cubicBezTo>
                  <a:lnTo>
                    <a:pt x="18173" y="48008"/>
                  </a:lnTo>
                  <a:close/>
                  <a:moveTo>
                    <a:pt x="20560" y="10117"/>
                  </a:moveTo>
                  <a:cubicBezTo>
                    <a:pt x="20286" y="10409"/>
                    <a:pt x="20560" y="10014"/>
                    <a:pt x="20560" y="9980"/>
                  </a:cubicBezTo>
                  <a:cubicBezTo>
                    <a:pt x="20560" y="9945"/>
                    <a:pt x="20423" y="10134"/>
                    <a:pt x="20286" y="10323"/>
                  </a:cubicBezTo>
                  <a:cubicBezTo>
                    <a:pt x="19822" y="10083"/>
                    <a:pt x="19581" y="10976"/>
                    <a:pt x="19289" y="10907"/>
                  </a:cubicBezTo>
                  <a:cubicBezTo>
                    <a:pt x="19530" y="11165"/>
                    <a:pt x="19100" y="10907"/>
                    <a:pt x="19152" y="11165"/>
                  </a:cubicBezTo>
                  <a:cubicBezTo>
                    <a:pt x="19014" y="10959"/>
                    <a:pt x="19152" y="11165"/>
                    <a:pt x="19152" y="11165"/>
                  </a:cubicBezTo>
                  <a:cubicBezTo>
                    <a:pt x="19152" y="10907"/>
                    <a:pt x="19152" y="11457"/>
                    <a:pt x="18997" y="11165"/>
                  </a:cubicBezTo>
                  <a:cubicBezTo>
                    <a:pt x="18688" y="11165"/>
                    <a:pt x="18997" y="11577"/>
                    <a:pt x="18585" y="11577"/>
                  </a:cubicBezTo>
                  <a:cubicBezTo>
                    <a:pt x="18585" y="11577"/>
                    <a:pt x="18327" y="12024"/>
                    <a:pt x="18259" y="11903"/>
                  </a:cubicBezTo>
                  <a:cubicBezTo>
                    <a:pt x="18190" y="11783"/>
                    <a:pt x="17846" y="12453"/>
                    <a:pt x="18001" y="12109"/>
                  </a:cubicBezTo>
                  <a:cubicBezTo>
                    <a:pt x="17537" y="12401"/>
                    <a:pt x="18104" y="11938"/>
                    <a:pt x="17743" y="12006"/>
                  </a:cubicBezTo>
                  <a:cubicBezTo>
                    <a:pt x="18173" y="11680"/>
                    <a:pt x="18070" y="11749"/>
                    <a:pt x="17503" y="11783"/>
                  </a:cubicBezTo>
                  <a:cubicBezTo>
                    <a:pt x="17588" y="11313"/>
                    <a:pt x="17763" y="10864"/>
                    <a:pt x="18018" y="10461"/>
                  </a:cubicBezTo>
                  <a:cubicBezTo>
                    <a:pt x="18018" y="10220"/>
                    <a:pt x="18224" y="10461"/>
                    <a:pt x="18448" y="10134"/>
                  </a:cubicBezTo>
                  <a:cubicBezTo>
                    <a:pt x="17984" y="10306"/>
                    <a:pt x="17984" y="10134"/>
                    <a:pt x="18448" y="9739"/>
                  </a:cubicBezTo>
                  <a:cubicBezTo>
                    <a:pt x="18345" y="9739"/>
                    <a:pt x="18207" y="9739"/>
                    <a:pt x="18345" y="9739"/>
                  </a:cubicBezTo>
                  <a:cubicBezTo>
                    <a:pt x="18482" y="9739"/>
                    <a:pt x="18345" y="9636"/>
                    <a:pt x="18963" y="9344"/>
                  </a:cubicBezTo>
                  <a:cubicBezTo>
                    <a:pt x="17709" y="9808"/>
                    <a:pt x="19392" y="8966"/>
                    <a:pt x="18774" y="9104"/>
                  </a:cubicBezTo>
                  <a:cubicBezTo>
                    <a:pt x="19272" y="8657"/>
                    <a:pt x="19152" y="9293"/>
                    <a:pt x="19324" y="9104"/>
                  </a:cubicBezTo>
                  <a:cubicBezTo>
                    <a:pt x="18997" y="9104"/>
                    <a:pt x="19667" y="8863"/>
                    <a:pt x="19324" y="8966"/>
                  </a:cubicBezTo>
                  <a:cubicBezTo>
                    <a:pt x="19444" y="8846"/>
                    <a:pt x="19169" y="8966"/>
                    <a:pt x="18946" y="8966"/>
                  </a:cubicBezTo>
                  <a:cubicBezTo>
                    <a:pt x="19427" y="8537"/>
                    <a:pt x="19238" y="9086"/>
                    <a:pt x="19598" y="8674"/>
                  </a:cubicBezTo>
                  <a:cubicBezTo>
                    <a:pt x="19289" y="8846"/>
                    <a:pt x="19341" y="8554"/>
                    <a:pt x="19598" y="8674"/>
                  </a:cubicBezTo>
                  <a:cubicBezTo>
                    <a:pt x="19808" y="8533"/>
                    <a:pt x="20004" y="8372"/>
                    <a:pt x="20182" y="8193"/>
                  </a:cubicBezTo>
                  <a:cubicBezTo>
                    <a:pt x="19994" y="8193"/>
                    <a:pt x="20182" y="7266"/>
                    <a:pt x="20354" y="7953"/>
                  </a:cubicBezTo>
                  <a:cubicBezTo>
                    <a:pt x="20354" y="7953"/>
                    <a:pt x="20509" y="7712"/>
                    <a:pt x="20560" y="7764"/>
                  </a:cubicBezTo>
                  <a:cubicBezTo>
                    <a:pt x="20612" y="7815"/>
                    <a:pt x="21144" y="6991"/>
                    <a:pt x="20681" y="7386"/>
                  </a:cubicBezTo>
                  <a:cubicBezTo>
                    <a:pt x="20217" y="7781"/>
                    <a:pt x="21162" y="6922"/>
                    <a:pt x="21746" y="6338"/>
                  </a:cubicBezTo>
                  <a:cubicBezTo>
                    <a:pt x="23154" y="5256"/>
                    <a:pt x="21746" y="5497"/>
                    <a:pt x="22914" y="4981"/>
                  </a:cubicBezTo>
                  <a:cubicBezTo>
                    <a:pt x="23085" y="4981"/>
                    <a:pt x="23206" y="5067"/>
                    <a:pt x="23326" y="4844"/>
                  </a:cubicBezTo>
                  <a:cubicBezTo>
                    <a:pt x="26332" y="3556"/>
                    <a:pt x="25576" y="4260"/>
                    <a:pt x="26761" y="3693"/>
                  </a:cubicBezTo>
                  <a:cubicBezTo>
                    <a:pt x="26418" y="3882"/>
                    <a:pt x="26761" y="3693"/>
                    <a:pt x="26881" y="3693"/>
                  </a:cubicBezTo>
                  <a:cubicBezTo>
                    <a:pt x="26503" y="3951"/>
                    <a:pt x="26710" y="3693"/>
                    <a:pt x="26607" y="3951"/>
                  </a:cubicBezTo>
                  <a:cubicBezTo>
                    <a:pt x="26761" y="4140"/>
                    <a:pt x="25765" y="4243"/>
                    <a:pt x="26211" y="4208"/>
                  </a:cubicBezTo>
                  <a:cubicBezTo>
                    <a:pt x="26658" y="4174"/>
                    <a:pt x="26057" y="4346"/>
                    <a:pt x="26211" y="4329"/>
                  </a:cubicBezTo>
                  <a:cubicBezTo>
                    <a:pt x="26555" y="4054"/>
                    <a:pt x="26211" y="4483"/>
                    <a:pt x="26074" y="4500"/>
                  </a:cubicBezTo>
                  <a:cubicBezTo>
                    <a:pt x="25284" y="5119"/>
                    <a:pt x="27036" y="3744"/>
                    <a:pt x="26383" y="4621"/>
                  </a:cubicBezTo>
                  <a:cubicBezTo>
                    <a:pt x="26108" y="4844"/>
                    <a:pt x="25816" y="4861"/>
                    <a:pt x="26057" y="4947"/>
                  </a:cubicBezTo>
                  <a:cubicBezTo>
                    <a:pt x="25672" y="5283"/>
                    <a:pt x="25406" y="5735"/>
                    <a:pt x="25301" y="6235"/>
                  </a:cubicBezTo>
                  <a:cubicBezTo>
                    <a:pt x="25198" y="5874"/>
                    <a:pt x="24751" y="6424"/>
                    <a:pt x="25112" y="6373"/>
                  </a:cubicBezTo>
                  <a:cubicBezTo>
                    <a:pt x="24837" y="6596"/>
                    <a:pt x="25112" y="6373"/>
                    <a:pt x="25009" y="6596"/>
                  </a:cubicBezTo>
                  <a:cubicBezTo>
                    <a:pt x="24906" y="6819"/>
                    <a:pt x="24837" y="6596"/>
                    <a:pt x="24751" y="6596"/>
                  </a:cubicBezTo>
                  <a:cubicBezTo>
                    <a:pt x="24666" y="6596"/>
                    <a:pt x="24751" y="6957"/>
                    <a:pt x="24751" y="6768"/>
                  </a:cubicBezTo>
                  <a:cubicBezTo>
                    <a:pt x="24751" y="6871"/>
                    <a:pt x="25061" y="7128"/>
                    <a:pt x="24751" y="7180"/>
                  </a:cubicBezTo>
                  <a:cubicBezTo>
                    <a:pt x="24271" y="6750"/>
                    <a:pt x="24751" y="7575"/>
                    <a:pt x="24442" y="7489"/>
                  </a:cubicBezTo>
                  <a:cubicBezTo>
                    <a:pt x="23961" y="7729"/>
                    <a:pt x="24442" y="7060"/>
                    <a:pt x="24133" y="7489"/>
                  </a:cubicBezTo>
                  <a:cubicBezTo>
                    <a:pt x="24133" y="7283"/>
                    <a:pt x="23807" y="7609"/>
                    <a:pt x="23738" y="7626"/>
                  </a:cubicBezTo>
                  <a:cubicBezTo>
                    <a:pt x="24150" y="7626"/>
                    <a:pt x="23738" y="7764"/>
                    <a:pt x="23738" y="7781"/>
                  </a:cubicBezTo>
                  <a:cubicBezTo>
                    <a:pt x="24236" y="7781"/>
                    <a:pt x="23738" y="7918"/>
                    <a:pt x="23824" y="7987"/>
                  </a:cubicBezTo>
                  <a:cubicBezTo>
                    <a:pt x="24442" y="8090"/>
                    <a:pt x="23515" y="9705"/>
                    <a:pt x="23583" y="8262"/>
                  </a:cubicBezTo>
                  <a:cubicBezTo>
                    <a:pt x="23034" y="7901"/>
                    <a:pt x="23978" y="8657"/>
                    <a:pt x="23137" y="8520"/>
                  </a:cubicBezTo>
                  <a:cubicBezTo>
                    <a:pt x="23291" y="8640"/>
                    <a:pt x="22673" y="8777"/>
                    <a:pt x="22931" y="8726"/>
                  </a:cubicBezTo>
                  <a:cubicBezTo>
                    <a:pt x="23188" y="8674"/>
                    <a:pt x="23326" y="8915"/>
                    <a:pt x="22931" y="8846"/>
                  </a:cubicBezTo>
                  <a:cubicBezTo>
                    <a:pt x="22536" y="8777"/>
                    <a:pt x="24082" y="8846"/>
                    <a:pt x="23446" y="9121"/>
                  </a:cubicBezTo>
                  <a:cubicBezTo>
                    <a:pt x="23446" y="9121"/>
                    <a:pt x="23171" y="9327"/>
                    <a:pt x="23137" y="9275"/>
                  </a:cubicBezTo>
                  <a:cubicBezTo>
                    <a:pt x="23103" y="9224"/>
                    <a:pt x="21866" y="9859"/>
                    <a:pt x="21952" y="9396"/>
                  </a:cubicBezTo>
                  <a:cubicBezTo>
                    <a:pt x="22038" y="8932"/>
                    <a:pt x="21952" y="9636"/>
                    <a:pt x="21831" y="9653"/>
                  </a:cubicBezTo>
                  <a:cubicBezTo>
                    <a:pt x="21385" y="9688"/>
                    <a:pt x="20612" y="10529"/>
                    <a:pt x="20560" y="10117"/>
                  </a:cubicBezTo>
                  <a:close/>
                  <a:moveTo>
                    <a:pt x="23669" y="11440"/>
                  </a:moveTo>
                  <a:cubicBezTo>
                    <a:pt x="23669" y="11577"/>
                    <a:pt x="23463" y="11543"/>
                    <a:pt x="23412" y="11440"/>
                  </a:cubicBezTo>
                  <a:cubicBezTo>
                    <a:pt x="23360" y="11337"/>
                    <a:pt x="23223" y="11440"/>
                    <a:pt x="23274" y="11319"/>
                  </a:cubicBezTo>
                  <a:cubicBezTo>
                    <a:pt x="23326" y="11199"/>
                    <a:pt x="23188" y="11319"/>
                    <a:pt x="23274" y="11319"/>
                  </a:cubicBezTo>
                  <a:cubicBezTo>
                    <a:pt x="23173" y="11345"/>
                    <a:pt x="23067" y="11345"/>
                    <a:pt x="22965" y="11319"/>
                  </a:cubicBezTo>
                  <a:cubicBezTo>
                    <a:pt x="22965" y="11319"/>
                    <a:pt x="22965" y="11319"/>
                    <a:pt x="22965" y="11319"/>
                  </a:cubicBezTo>
                  <a:cubicBezTo>
                    <a:pt x="22965" y="11319"/>
                    <a:pt x="22965" y="11319"/>
                    <a:pt x="22965" y="11233"/>
                  </a:cubicBezTo>
                  <a:cubicBezTo>
                    <a:pt x="22965" y="11148"/>
                    <a:pt x="22965" y="11233"/>
                    <a:pt x="22965" y="11233"/>
                  </a:cubicBezTo>
                  <a:cubicBezTo>
                    <a:pt x="22965" y="11233"/>
                    <a:pt x="23120" y="11096"/>
                    <a:pt x="23206" y="11148"/>
                  </a:cubicBezTo>
                  <a:cubicBezTo>
                    <a:pt x="23291" y="11199"/>
                    <a:pt x="22948" y="11251"/>
                    <a:pt x="23206" y="11027"/>
                  </a:cubicBezTo>
                  <a:cubicBezTo>
                    <a:pt x="23206" y="11113"/>
                    <a:pt x="23051" y="11027"/>
                    <a:pt x="23206" y="10941"/>
                  </a:cubicBezTo>
                  <a:cubicBezTo>
                    <a:pt x="23360" y="10856"/>
                    <a:pt x="22948" y="10941"/>
                    <a:pt x="22948" y="10821"/>
                  </a:cubicBezTo>
                  <a:cubicBezTo>
                    <a:pt x="22948" y="10701"/>
                    <a:pt x="23206" y="10735"/>
                    <a:pt x="23223" y="10821"/>
                  </a:cubicBezTo>
                  <a:cubicBezTo>
                    <a:pt x="23240" y="10907"/>
                    <a:pt x="23395" y="10821"/>
                    <a:pt x="23412" y="10718"/>
                  </a:cubicBezTo>
                  <a:cubicBezTo>
                    <a:pt x="23429" y="10615"/>
                    <a:pt x="23291" y="10718"/>
                    <a:pt x="23412" y="10718"/>
                  </a:cubicBezTo>
                  <a:cubicBezTo>
                    <a:pt x="23532" y="10718"/>
                    <a:pt x="23291" y="10718"/>
                    <a:pt x="23412" y="10632"/>
                  </a:cubicBezTo>
                  <a:cubicBezTo>
                    <a:pt x="23532" y="10546"/>
                    <a:pt x="23412" y="10632"/>
                    <a:pt x="23412" y="10632"/>
                  </a:cubicBezTo>
                  <a:cubicBezTo>
                    <a:pt x="23412" y="10632"/>
                    <a:pt x="23412" y="10718"/>
                    <a:pt x="23412" y="10632"/>
                  </a:cubicBezTo>
                  <a:cubicBezTo>
                    <a:pt x="23412" y="10546"/>
                    <a:pt x="23412" y="10632"/>
                    <a:pt x="23412" y="10632"/>
                  </a:cubicBezTo>
                  <a:cubicBezTo>
                    <a:pt x="23223" y="10873"/>
                    <a:pt x="23120" y="10478"/>
                    <a:pt x="23291" y="10632"/>
                  </a:cubicBezTo>
                  <a:cubicBezTo>
                    <a:pt x="23463" y="10787"/>
                    <a:pt x="23291" y="10478"/>
                    <a:pt x="23291" y="10632"/>
                  </a:cubicBezTo>
                  <a:cubicBezTo>
                    <a:pt x="23291" y="10787"/>
                    <a:pt x="23291" y="10632"/>
                    <a:pt x="23291" y="10632"/>
                  </a:cubicBezTo>
                  <a:cubicBezTo>
                    <a:pt x="23291" y="10632"/>
                    <a:pt x="23291" y="10529"/>
                    <a:pt x="23291" y="10632"/>
                  </a:cubicBezTo>
                  <a:cubicBezTo>
                    <a:pt x="23291" y="10735"/>
                    <a:pt x="23291" y="10478"/>
                    <a:pt x="23291" y="10632"/>
                  </a:cubicBezTo>
                  <a:cubicBezTo>
                    <a:pt x="23291" y="10787"/>
                    <a:pt x="23412" y="10632"/>
                    <a:pt x="23291" y="10632"/>
                  </a:cubicBezTo>
                  <a:cubicBezTo>
                    <a:pt x="23171" y="10632"/>
                    <a:pt x="23395" y="10632"/>
                    <a:pt x="23291" y="10632"/>
                  </a:cubicBezTo>
                  <a:cubicBezTo>
                    <a:pt x="23188" y="10632"/>
                    <a:pt x="23120" y="10478"/>
                    <a:pt x="23291" y="10478"/>
                  </a:cubicBezTo>
                  <a:cubicBezTo>
                    <a:pt x="22999" y="10375"/>
                    <a:pt x="23395" y="10375"/>
                    <a:pt x="23291" y="10581"/>
                  </a:cubicBezTo>
                  <a:cubicBezTo>
                    <a:pt x="23291" y="10581"/>
                    <a:pt x="23291" y="10581"/>
                    <a:pt x="23291" y="10581"/>
                  </a:cubicBezTo>
                  <a:cubicBezTo>
                    <a:pt x="23291" y="10581"/>
                    <a:pt x="23291" y="10701"/>
                    <a:pt x="23291" y="10581"/>
                  </a:cubicBezTo>
                  <a:cubicBezTo>
                    <a:pt x="23302" y="10608"/>
                    <a:pt x="23302" y="10639"/>
                    <a:pt x="23291" y="10667"/>
                  </a:cubicBezTo>
                  <a:cubicBezTo>
                    <a:pt x="23291" y="10667"/>
                    <a:pt x="23291" y="10753"/>
                    <a:pt x="23291" y="10787"/>
                  </a:cubicBezTo>
                  <a:cubicBezTo>
                    <a:pt x="23291" y="10821"/>
                    <a:pt x="23291" y="10787"/>
                    <a:pt x="23291" y="10873"/>
                  </a:cubicBezTo>
                  <a:cubicBezTo>
                    <a:pt x="23311" y="10799"/>
                    <a:pt x="23361" y="10737"/>
                    <a:pt x="23429" y="10701"/>
                  </a:cubicBezTo>
                  <a:cubicBezTo>
                    <a:pt x="23429" y="10907"/>
                    <a:pt x="23429" y="10478"/>
                    <a:pt x="23601" y="10461"/>
                  </a:cubicBezTo>
                  <a:cubicBezTo>
                    <a:pt x="23772" y="10443"/>
                    <a:pt x="23601" y="10581"/>
                    <a:pt x="23601" y="10598"/>
                  </a:cubicBezTo>
                  <a:cubicBezTo>
                    <a:pt x="23601" y="10615"/>
                    <a:pt x="23687" y="10461"/>
                    <a:pt x="23790" y="10478"/>
                  </a:cubicBezTo>
                  <a:cubicBezTo>
                    <a:pt x="23832" y="10576"/>
                    <a:pt x="23832" y="10688"/>
                    <a:pt x="23790" y="10787"/>
                  </a:cubicBezTo>
                  <a:cubicBezTo>
                    <a:pt x="23893" y="10701"/>
                    <a:pt x="23790" y="10461"/>
                    <a:pt x="23961" y="10512"/>
                  </a:cubicBezTo>
                  <a:cubicBezTo>
                    <a:pt x="24133" y="10564"/>
                    <a:pt x="24116" y="10375"/>
                    <a:pt x="24099" y="10512"/>
                  </a:cubicBezTo>
                  <a:cubicBezTo>
                    <a:pt x="24082" y="10649"/>
                    <a:pt x="24356" y="10220"/>
                    <a:pt x="24322" y="10512"/>
                  </a:cubicBezTo>
                  <a:cubicBezTo>
                    <a:pt x="24288" y="10804"/>
                    <a:pt x="24442" y="10357"/>
                    <a:pt x="24528" y="10512"/>
                  </a:cubicBezTo>
                  <a:cubicBezTo>
                    <a:pt x="24614" y="10667"/>
                    <a:pt x="24356" y="10667"/>
                    <a:pt x="24528" y="10632"/>
                  </a:cubicBezTo>
                  <a:cubicBezTo>
                    <a:pt x="24700" y="10598"/>
                    <a:pt x="24425" y="10632"/>
                    <a:pt x="24528" y="10804"/>
                  </a:cubicBezTo>
                  <a:cubicBezTo>
                    <a:pt x="24631" y="10976"/>
                    <a:pt x="24528" y="10804"/>
                    <a:pt x="24528" y="10804"/>
                  </a:cubicBezTo>
                  <a:cubicBezTo>
                    <a:pt x="24751" y="10804"/>
                    <a:pt x="24614" y="10804"/>
                    <a:pt x="24528" y="10924"/>
                  </a:cubicBezTo>
                  <a:cubicBezTo>
                    <a:pt x="24442" y="11045"/>
                    <a:pt x="24528" y="11079"/>
                    <a:pt x="24528" y="11148"/>
                  </a:cubicBezTo>
                  <a:cubicBezTo>
                    <a:pt x="24374" y="10924"/>
                    <a:pt x="24528" y="11440"/>
                    <a:pt x="24288" y="11148"/>
                  </a:cubicBezTo>
                  <a:cubicBezTo>
                    <a:pt x="24288" y="11268"/>
                    <a:pt x="24064" y="11268"/>
                    <a:pt x="23978" y="11388"/>
                  </a:cubicBezTo>
                  <a:lnTo>
                    <a:pt x="23978" y="11388"/>
                  </a:lnTo>
                  <a:cubicBezTo>
                    <a:pt x="23978" y="11388"/>
                    <a:pt x="23841" y="11388"/>
                    <a:pt x="23790" y="11388"/>
                  </a:cubicBezTo>
                  <a:cubicBezTo>
                    <a:pt x="23738" y="11388"/>
                    <a:pt x="23790" y="11388"/>
                    <a:pt x="23790" y="11388"/>
                  </a:cubicBezTo>
                  <a:cubicBezTo>
                    <a:pt x="23790" y="11388"/>
                    <a:pt x="23738" y="11594"/>
                    <a:pt x="23669" y="11440"/>
                  </a:cubicBezTo>
                  <a:close/>
                  <a:moveTo>
                    <a:pt x="38184" y="41533"/>
                  </a:moveTo>
                  <a:cubicBezTo>
                    <a:pt x="38063" y="41224"/>
                    <a:pt x="38579" y="40880"/>
                    <a:pt x="38802" y="40640"/>
                  </a:cubicBezTo>
                  <a:cubicBezTo>
                    <a:pt x="39025" y="40399"/>
                    <a:pt x="39025" y="39729"/>
                    <a:pt x="39540" y="39523"/>
                  </a:cubicBezTo>
                  <a:lnTo>
                    <a:pt x="39540" y="39523"/>
                  </a:lnTo>
                  <a:cubicBezTo>
                    <a:pt x="39540" y="39523"/>
                    <a:pt x="39540" y="39523"/>
                    <a:pt x="39540" y="39523"/>
                  </a:cubicBezTo>
                  <a:cubicBezTo>
                    <a:pt x="39540" y="39523"/>
                    <a:pt x="39644" y="39523"/>
                    <a:pt x="39781" y="39386"/>
                  </a:cubicBezTo>
                  <a:cubicBezTo>
                    <a:pt x="39661" y="39678"/>
                    <a:pt x="40073" y="39077"/>
                    <a:pt x="39953" y="39386"/>
                  </a:cubicBezTo>
                  <a:cubicBezTo>
                    <a:pt x="39832" y="39695"/>
                    <a:pt x="39953" y="39386"/>
                    <a:pt x="39953" y="39386"/>
                  </a:cubicBezTo>
                  <a:cubicBezTo>
                    <a:pt x="39953" y="39386"/>
                    <a:pt x="39953" y="39386"/>
                    <a:pt x="39953" y="39248"/>
                  </a:cubicBezTo>
                  <a:cubicBezTo>
                    <a:pt x="39953" y="39111"/>
                    <a:pt x="40073" y="39248"/>
                    <a:pt x="39953" y="39248"/>
                  </a:cubicBezTo>
                  <a:lnTo>
                    <a:pt x="39953" y="39248"/>
                  </a:lnTo>
                  <a:cubicBezTo>
                    <a:pt x="39953" y="39248"/>
                    <a:pt x="39953" y="39248"/>
                    <a:pt x="39953" y="39369"/>
                  </a:cubicBezTo>
                  <a:cubicBezTo>
                    <a:pt x="39953" y="39489"/>
                    <a:pt x="40090" y="39197"/>
                    <a:pt x="40107" y="39266"/>
                  </a:cubicBezTo>
                  <a:cubicBezTo>
                    <a:pt x="40124" y="39334"/>
                    <a:pt x="40107" y="39266"/>
                    <a:pt x="40107" y="39145"/>
                  </a:cubicBezTo>
                  <a:cubicBezTo>
                    <a:pt x="40107" y="39025"/>
                    <a:pt x="40262" y="39145"/>
                    <a:pt x="40107" y="39042"/>
                  </a:cubicBezTo>
                  <a:cubicBezTo>
                    <a:pt x="39953" y="38939"/>
                    <a:pt x="40107" y="39145"/>
                    <a:pt x="40262" y="38939"/>
                  </a:cubicBezTo>
                  <a:cubicBezTo>
                    <a:pt x="40416" y="38733"/>
                    <a:pt x="40537" y="38733"/>
                    <a:pt x="40485" y="38561"/>
                  </a:cubicBezTo>
                  <a:cubicBezTo>
                    <a:pt x="40434" y="38389"/>
                    <a:pt x="40588" y="38561"/>
                    <a:pt x="40674" y="38441"/>
                  </a:cubicBezTo>
                  <a:cubicBezTo>
                    <a:pt x="40760" y="38321"/>
                    <a:pt x="40674" y="38664"/>
                    <a:pt x="40674" y="38664"/>
                  </a:cubicBezTo>
                  <a:cubicBezTo>
                    <a:pt x="41344" y="38922"/>
                    <a:pt x="37514" y="43560"/>
                    <a:pt x="38184" y="41533"/>
                  </a:cubicBezTo>
                  <a:close/>
                  <a:moveTo>
                    <a:pt x="49159" y="26589"/>
                  </a:moveTo>
                  <a:cubicBezTo>
                    <a:pt x="49159" y="26589"/>
                    <a:pt x="49159" y="26589"/>
                    <a:pt x="49159" y="26589"/>
                  </a:cubicBezTo>
                  <a:cubicBezTo>
                    <a:pt x="48810" y="27921"/>
                    <a:pt x="48552" y="29276"/>
                    <a:pt x="48386" y="30643"/>
                  </a:cubicBezTo>
                  <a:cubicBezTo>
                    <a:pt x="48386" y="30540"/>
                    <a:pt x="48215" y="30780"/>
                    <a:pt x="48215" y="30849"/>
                  </a:cubicBezTo>
                  <a:cubicBezTo>
                    <a:pt x="48026" y="31570"/>
                    <a:pt x="47579" y="26864"/>
                    <a:pt x="47613" y="26452"/>
                  </a:cubicBezTo>
                  <a:cubicBezTo>
                    <a:pt x="47459" y="26452"/>
                    <a:pt x="47613" y="26263"/>
                    <a:pt x="47613" y="26160"/>
                  </a:cubicBezTo>
                  <a:cubicBezTo>
                    <a:pt x="47613" y="26057"/>
                    <a:pt x="47528" y="26160"/>
                    <a:pt x="47528" y="26160"/>
                  </a:cubicBezTo>
                  <a:cubicBezTo>
                    <a:pt x="47528" y="26555"/>
                    <a:pt x="47373" y="27362"/>
                    <a:pt x="47098" y="26606"/>
                  </a:cubicBezTo>
                  <a:cubicBezTo>
                    <a:pt x="47098" y="26606"/>
                    <a:pt x="46909" y="26332"/>
                    <a:pt x="46995" y="26383"/>
                  </a:cubicBezTo>
                  <a:lnTo>
                    <a:pt x="46995" y="26383"/>
                  </a:lnTo>
                  <a:cubicBezTo>
                    <a:pt x="46995" y="26538"/>
                    <a:pt x="46995" y="26383"/>
                    <a:pt x="46995" y="26383"/>
                  </a:cubicBezTo>
                  <a:cubicBezTo>
                    <a:pt x="46995" y="26383"/>
                    <a:pt x="47201" y="26074"/>
                    <a:pt x="47081" y="26040"/>
                  </a:cubicBezTo>
                  <a:cubicBezTo>
                    <a:pt x="47081" y="26383"/>
                    <a:pt x="46583" y="26040"/>
                    <a:pt x="46806" y="25833"/>
                  </a:cubicBezTo>
                  <a:cubicBezTo>
                    <a:pt x="46806" y="25833"/>
                    <a:pt x="46806" y="25937"/>
                    <a:pt x="46686" y="25971"/>
                  </a:cubicBezTo>
                  <a:cubicBezTo>
                    <a:pt x="46566" y="26005"/>
                    <a:pt x="46686" y="25885"/>
                    <a:pt x="46549" y="25971"/>
                  </a:cubicBezTo>
                  <a:cubicBezTo>
                    <a:pt x="46411" y="26057"/>
                    <a:pt x="46549" y="25696"/>
                    <a:pt x="46428" y="25559"/>
                  </a:cubicBezTo>
                  <a:cubicBezTo>
                    <a:pt x="46239" y="25730"/>
                    <a:pt x="46428" y="25318"/>
                    <a:pt x="46119" y="25438"/>
                  </a:cubicBezTo>
                  <a:cubicBezTo>
                    <a:pt x="46119" y="25438"/>
                    <a:pt x="45965" y="25524"/>
                    <a:pt x="45913" y="25610"/>
                  </a:cubicBezTo>
                  <a:cubicBezTo>
                    <a:pt x="45861" y="25696"/>
                    <a:pt x="45810" y="25610"/>
                    <a:pt x="45741" y="25610"/>
                  </a:cubicBezTo>
                  <a:cubicBezTo>
                    <a:pt x="45673" y="25610"/>
                    <a:pt x="45604" y="25610"/>
                    <a:pt x="45552" y="25765"/>
                  </a:cubicBezTo>
                  <a:cubicBezTo>
                    <a:pt x="45501" y="25919"/>
                    <a:pt x="45552" y="25765"/>
                    <a:pt x="45432" y="25765"/>
                  </a:cubicBezTo>
                  <a:cubicBezTo>
                    <a:pt x="45312" y="25765"/>
                    <a:pt x="45260" y="25885"/>
                    <a:pt x="45209" y="25679"/>
                  </a:cubicBezTo>
                  <a:cubicBezTo>
                    <a:pt x="45209" y="25782"/>
                    <a:pt x="44814" y="25679"/>
                    <a:pt x="44728" y="25679"/>
                  </a:cubicBezTo>
                  <a:cubicBezTo>
                    <a:pt x="44642" y="25679"/>
                    <a:pt x="44573" y="25679"/>
                    <a:pt x="44453" y="25679"/>
                  </a:cubicBezTo>
                  <a:cubicBezTo>
                    <a:pt x="44178" y="24683"/>
                    <a:pt x="44144" y="25541"/>
                    <a:pt x="43663" y="25404"/>
                  </a:cubicBezTo>
                  <a:cubicBezTo>
                    <a:pt x="43560" y="25404"/>
                    <a:pt x="43251" y="25284"/>
                    <a:pt x="43285" y="25146"/>
                  </a:cubicBezTo>
                  <a:cubicBezTo>
                    <a:pt x="43319" y="25009"/>
                    <a:pt x="42838" y="25146"/>
                    <a:pt x="42804" y="24803"/>
                  </a:cubicBezTo>
                  <a:cubicBezTo>
                    <a:pt x="42804" y="24803"/>
                    <a:pt x="42684" y="24803"/>
                    <a:pt x="42804" y="24803"/>
                  </a:cubicBezTo>
                  <a:cubicBezTo>
                    <a:pt x="42632" y="24803"/>
                    <a:pt x="42564" y="24185"/>
                    <a:pt x="42375" y="24425"/>
                  </a:cubicBezTo>
                  <a:cubicBezTo>
                    <a:pt x="42375" y="24339"/>
                    <a:pt x="42220" y="24425"/>
                    <a:pt x="42272" y="24270"/>
                  </a:cubicBezTo>
                  <a:cubicBezTo>
                    <a:pt x="42323" y="24116"/>
                    <a:pt x="42272" y="24270"/>
                    <a:pt x="42272" y="24270"/>
                  </a:cubicBezTo>
                  <a:cubicBezTo>
                    <a:pt x="42272" y="24270"/>
                    <a:pt x="42272" y="24494"/>
                    <a:pt x="42272" y="24270"/>
                  </a:cubicBezTo>
                  <a:cubicBezTo>
                    <a:pt x="42272" y="24047"/>
                    <a:pt x="42272" y="24580"/>
                    <a:pt x="42100" y="24597"/>
                  </a:cubicBezTo>
                  <a:lnTo>
                    <a:pt x="42220" y="24597"/>
                  </a:lnTo>
                  <a:lnTo>
                    <a:pt x="42220" y="24597"/>
                  </a:lnTo>
                  <a:cubicBezTo>
                    <a:pt x="42220" y="24597"/>
                    <a:pt x="42220" y="24700"/>
                    <a:pt x="42220" y="24734"/>
                  </a:cubicBezTo>
                  <a:cubicBezTo>
                    <a:pt x="42220" y="24769"/>
                    <a:pt x="42220" y="24837"/>
                    <a:pt x="42220" y="24734"/>
                  </a:cubicBezTo>
                  <a:cubicBezTo>
                    <a:pt x="42259" y="24896"/>
                    <a:pt x="42365" y="25033"/>
                    <a:pt x="42512" y="25112"/>
                  </a:cubicBezTo>
                  <a:cubicBezTo>
                    <a:pt x="42512" y="25112"/>
                    <a:pt x="42821" y="25438"/>
                    <a:pt x="42770" y="25610"/>
                  </a:cubicBezTo>
                  <a:lnTo>
                    <a:pt x="42770" y="25610"/>
                  </a:lnTo>
                  <a:cubicBezTo>
                    <a:pt x="42993" y="25851"/>
                    <a:pt x="43027" y="26314"/>
                    <a:pt x="43045" y="25782"/>
                  </a:cubicBezTo>
                  <a:cubicBezTo>
                    <a:pt x="43045" y="25645"/>
                    <a:pt x="43045" y="25438"/>
                    <a:pt x="43165" y="25627"/>
                  </a:cubicBezTo>
                  <a:cubicBezTo>
                    <a:pt x="43133" y="25786"/>
                    <a:pt x="43133" y="25950"/>
                    <a:pt x="43165" y="26108"/>
                  </a:cubicBezTo>
                  <a:cubicBezTo>
                    <a:pt x="43165" y="26108"/>
                    <a:pt x="43165" y="26297"/>
                    <a:pt x="43165" y="26211"/>
                  </a:cubicBezTo>
                  <a:lnTo>
                    <a:pt x="43165" y="26366"/>
                  </a:lnTo>
                  <a:cubicBezTo>
                    <a:pt x="43371" y="26177"/>
                    <a:pt x="43646" y="26366"/>
                    <a:pt x="43766" y="26091"/>
                  </a:cubicBezTo>
                  <a:lnTo>
                    <a:pt x="43766" y="26091"/>
                  </a:lnTo>
                  <a:cubicBezTo>
                    <a:pt x="43766" y="25833"/>
                    <a:pt x="44024" y="25593"/>
                    <a:pt x="44058" y="25318"/>
                  </a:cubicBezTo>
                  <a:lnTo>
                    <a:pt x="44058" y="25318"/>
                  </a:lnTo>
                  <a:cubicBezTo>
                    <a:pt x="44058" y="25318"/>
                    <a:pt x="44058" y="25146"/>
                    <a:pt x="44058" y="25215"/>
                  </a:cubicBezTo>
                  <a:cubicBezTo>
                    <a:pt x="44058" y="25284"/>
                    <a:pt x="44058" y="25559"/>
                    <a:pt x="44058" y="25507"/>
                  </a:cubicBezTo>
                  <a:cubicBezTo>
                    <a:pt x="44058" y="25851"/>
                    <a:pt x="44247" y="26280"/>
                    <a:pt x="44642" y="26091"/>
                  </a:cubicBezTo>
                  <a:cubicBezTo>
                    <a:pt x="44947" y="26440"/>
                    <a:pt x="44947" y="26961"/>
                    <a:pt x="44642" y="27311"/>
                  </a:cubicBezTo>
                  <a:cubicBezTo>
                    <a:pt x="44642" y="27105"/>
                    <a:pt x="44487" y="27757"/>
                    <a:pt x="44642" y="27877"/>
                  </a:cubicBezTo>
                  <a:cubicBezTo>
                    <a:pt x="44230" y="27877"/>
                    <a:pt x="44505" y="28290"/>
                    <a:pt x="44109" y="28376"/>
                  </a:cubicBezTo>
                  <a:cubicBezTo>
                    <a:pt x="44109" y="28496"/>
                    <a:pt x="44109" y="28599"/>
                    <a:pt x="44109" y="28719"/>
                  </a:cubicBezTo>
                  <a:cubicBezTo>
                    <a:pt x="43847" y="28757"/>
                    <a:pt x="43612" y="28900"/>
                    <a:pt x="43457" y="29114"/>
                  </a:cubicBezTo>
                  <a:cubicBezTo>
                    <a:pt x="43457" y="29475"/>
                    <a:pt x="42924" y="29595"/>
                    <a:pt x="42684" y="29767"/>
                  </a:cubicBezTo>
                  <a:cubicBezTo>
                    <a:pt x="42443" y="29939"/>
                    <a:pt x="42495" y="30042"/>
                    <a:pt x="42357" y="29990"/>
                  </a:cubicBezTo>
                  <a:cubicBezTo>
                    <a:pt x="42248" y="30193"/>
                    <a:pt x="42016" y="30299"/>
                    <a:pt x="41791" y="30248"/>
                  </a:cubicBezTo>
                  <a:cubicBezTo>
                    <a:pt x="41649" y="30457"/>
                    <a:pt x="41423" y="30595"/>
                    <a:pt x="41172" y="30626"/>
                  </a:cubicBezTo>
                  <a:cubicBezTo>
                    <a:pt x="41035" y="30317"/>
                    <a:pt x="41172" y="29904"/>
                    <a:pt x="40897" y="29629"/>
                  </a:cubicBezTo>
                  <a:cubicBezTo>
                    <a:pt x="41155" y="29011"/>
                    <a:pt x="40262" y="28204"/>
                    <a:pt x="39850" y="27706"/>
                  </a:cubicBezTo>
                  <a:cubicBezTo>
                    <a:pt x="39850" y="27293"/>
                    <a:pt x="39747" y="26589"/>
                    <a:pt x="39283" y="26606"/>
                  </a:cubicBezTo>
                  <a:cubicBezTo>
                    <a:pt x="39111" y="25799"/>
                    <a:pt x="38166" y="25370"/>
                    <a:pt x="38338" y="24751"/>
                  </a:cubicBezTo>
                  <a:cubicBezTo>
                    <a:pt x="38218" y="24975"/>
                    <a:pt x="38338" y="25249"/>
                    <a:pt x="38201" y="25438"/>
                  </a:cubicBezTo>
                  <a:cubicBezTo>
                    <a:pt x="37948" y="25233"/>
                    <a:pt x="37727" y="24989"/>
                    <a:pt x="37548" y="24717"/>
                  </a:cubicBezTo>
                  <a:cubicBezTo>
                    <a:pt x="37840" y="25370"/>
                    <a:pt x="38304" y="26022"/>
                    <a:pt x="38682" y="26692"/>
                  </a:cubicBezTo>
                  <a:lnTo>
                    <a:pt x="38682" y="26692"/>
                  </a:lnTo>
                  <a:cubicBezTo>
                    <a:pt x="38718" y="26746"/>
                    <a:pt x="38765" y="26793"/>
                    <a:pt x="38819" y="26830"/>
                  </a:cubicBezTo>
                  <a:cubicBezTo>
                    <a:pt x="38819" y="26830"/>
                    <a:pt x="38716" y="26830"/>
                    <a:pt x="38699" y="26830"/>
                  </a:cubicBezTo>
                  <a:cubicBezTo>
                    <a:pt x="38699" y="27328"/>
                    <a:pt x="39231" y="27311"/>
                    <a:pt x="39317" y="27826"/>
                  </a:cubicBezTo>
                  <a:cubicBezTo>
                    <a:pt x="39180" y="27826"/>
                    <a:pt x="39420" y="28187"/>
                    <a:pt x="39317" y="28376"/>
                  </a:cubicBezTo>
                  <a:cubicBezTo>
                    <a:pt x="39214" y="28565"/>
                    <a:pt x="39644" y="28719"/>
                    <a:pt x="39712" y="28891"/>
                  </a:cubicBezTo>
                  <a:cubicBezTo>
                    <a:pt x="39781" y="29063"/>
                    <a:pt x="39884" y="29561"/>
                    <a:pt x="40021" y="29715"/>
                  </a:cubicBezTo>
                  <a:cubicBezTo>
                    <a:pt x="40159" y="29870"/>
                    <a:pt x="40142" y="30007"/>
                    <a:pt x="40021" y="29801"/>
                  </a:cubicBezTo>
                  <a:cubicBezTo>
                    <a:pt x="39901" y="29595"/>
                    <a:pt x="40021" y="30042"/>
                    <a:pt x="40193" y="29939"/>
                  </a:cubicBezTo>
                  <a:cubicBezTo>
                    <a:pt x="40571" y="29939"/>
                    <a:pt x="40708" y="30591"/>
                    <a:pt x="40932" y="30626"/>
                  </a:cubicBezTo>
                  <a:cubicBezTo>
                    <a:pt x="41155" y="30660"/>
                    <a:pt x="40932" y="30746"/>
                    <a:pt x="41035" y="30746"/>
                  </a:cubicBezTo>
                  <a:cubicBezTo>
                    <a:pt x="41037" y="30889"/>
                    <a:pt x="40935" y="31013"/>
                    <a:pt x="40794" y="31038"/>
                  </a:cubicBezTo>
                  <a:cubicBezTo>
                    <a:pt x="41035" y="31038"/>
                    <a:pt x="41086" y="31364"/>
                    <a:pt x="41327" y="31450"/>
                  </a:cubicBezTo>
                  <a:cubicBezTo>
                    <a:pt x="41782" y="31205"/>
                    <a:pt x="42267" y="31020"/>
                    <a:pt x="42770" y="30901"/>
                  </a:cubicBezTo>
                  <a:cubicBezTo>
                    <a:pt x="42857" y="30834"/>
                    <a:pt x="42933" y="30752"/>
                    <a:pt x="42993" y="30660"/>
                  </a:cubicBezTo>
                  <a:cubicBezTo>
                    <a:pt x="43165" y="30660"/>
                    <a:pt x="42993" y="31021"/>
                    <a:pt x="42993" y="31210"/>
                  </a:cubicBezTo>
                  <a:cubicBezTo>
                    <a:pt x="42993" y="31399"/>
                    <a:pt x="42993" y="31210"/>
                    <a:pt x="42993" y="31210"/>
                  </a:cubicBezTo>
                  <a:cubicBezTo>
                    <a:pt x="42684" y="33580"/>
                    <a:pt x="39163" y="34989"/>
                    <a:pt x="38922" y="37033"/>
                  </a:cubicBezTo>
                  <a:cubicBezTo>
                    <a:pt x="38922" y="37033"/>
                    <a:pt x="38716" y="37204"/>
                    <a:pt x="38802" y="37307"/>
                  </a:cubicBezTo>
                  <a:cubicBezTo>
                    <a:pt x="38888" y="37410"/>
                    <a:pt x="38596" y="37874"/>
                    <a:pt x="38802" y="38012"/>
                  </a:cubicBezTo>
                  <a:cubicBezTo>
                    <a:pt x="38630" y="38407"/>
                    <a:pt x="38493" y="38991"/>
                    <a:pt x="38355" y="39248"/>
                  </a:cubicBezTo>
                  <a:cubicBezTo>
                    <a:pt x="38218" y="39506"/>
                    <a:pt x="38149" y="39369"/>
                    <a:pt x="38355" y="39351"/>
                  </a:cubicBezTo>
                  <a:cubicBezTo>
                    <a:pt x="38063" y="39781"/>
                    <a:pt x="37514" y="39901"/>
                    <a:pt x="37119" y="40193"/>
                  </a:cubicBezTo>
                  <a:lnTo>
                    <a:pt x="37119" y="40193"/>
                  </a:lnTo>
                  <a:cubicBezTo>
                    <a:pt x="36902" y="40432"/>
                    <a:pt x="36622" y="40604"/>
                    <a:pt x="36311" y="40691"/>
                  </a:cubicBezTo>
                  <a:cubicBezTo>
                    <a:pt x="36339" y="40751"/>
                    <a:pt x="36339" y="40820"/>
                    <a:pt x="36311" y="40880"/>
                  </a:cubicBezTo>
                  <a:cubicBezTo>
                    <a:pt x="36311" y="40880"/>
                    <a:pt x="36311" y="41000"/>
                    <a:pt x="36311" y="41035"/>
                  </a:cubicBezTo>
                  <a:cubicBezTo>
                    <a:pt x="36311" y="41069"/>
                    <a:pt x="36311" y="41292"/>
                    <a:pt x="36311" y="41395"/>
                  </a:cubicBezTo>
                  <a:cubicBezTo>
                    <a:pt x="36311" y="41498"/>
                    <a:pt x="36311" y="41310"/>
                    <a:pt x="36311" y="41292"/>
                  </a:cubicBezTo>
                  <a:lnTo>
                    <a:pt x="36311" y="41292"/>
                  </a:lnTo>
                  <a:lnTo>
                    <a:pt x="36311" y="41292"/>
                  </a:lnTo>
                  <a:cubicBezTo>
                    <a:pt x="36311" y="41447"/>
                    <a:pt x="36122" y="41567"/>
                    <a:pt x="36054" y="41705"/>
                  </a:cubicBezTo>
                  <a:lnTo>
                    <a:pt x="36054" y="41705"/>
                  </a:lnTo>
                  <a:cubicBezTo>
                    <a:pt x="35865" y="42117"/>
                    <a:pt x="35126" y="41997"/>
                    <a:pt x="35006" y="42392"/>
                  </a:cubicBezTo>
                  <a:lnTo>
                    <a:pt x="35126" y="42392"/>
                  </a:lnTo>
                  <a:cubicBezTo>
                    <a:pt x="35084" y="42471"/>
                    <a:pt x="35025" y="42542"/>
                    <a:pt x="34954" y="42598"/>
                  </a:cubicBezTo>
                  <a:lnTo>
                    <a:pt x="34954" y="42598"/>
                  </a:lnTo>
                  <a:cubicBezTo>
                    <a:pt x="34162" y="43425"/>
                    <a:pt x="33158" y="44019"/>
                    <a:pt x="32051" y="44315"/>
                  </a:cubicBezTo>
                  <a:cubicBezTo>
                    <a:pt x="31588" y="44161"/>
                    <a:pt x="31124" y="44453"/>
                    <a:pt x="30660" y="44418"/>
                  </a:cubicBezTo>
                  <a:cubicBezTo>
                    <a:pt x="30660" y="44333"/>
                    <a:pt x="30660" y="44418"/>
                    <a:pt x="30660" y="44418"/>
                  </a:cubicBezTo>
                  <a:cubicBezTo>
                    <a:pt x="30660" y="44418"/>
                    <a:pt x="30557" y="44333"/>
                    <a:pt x="30660" y="44418"/>
                  </a:cubicBezTo>
                  <a:cubicBezTo>
                    <a:pt x="30763" y="44504"/>
                    <a:pt x="30798" y="44230"/>
                    <a:pt x="30660" y="44092"/>
                  </a:cubicBezTo>
                  <a:cubicBezTo>
                    <a:pt x="30987" y="43938"/>
                    <a:pt x="30660" y="43508"/>
                    <a:pt x="30660" y="43199"/>
                  </a:cubicBezTo>
                  <a:cubicBezTo>
                    <a:pt x="30128" y="42392"/>
                    <a:pt x="30437" y="41189"/>
                    <a:pt x="29836" y="40296"/>
                  </a:cubicBezTo>
                  <a:cubicBezTo>
                    <a:pt x="29836" y="39369"/>
                    <a:pt x="31210" y="38956"/>
                    <a:pt x="30591" y="38046"/>
                  </a:cubicBezTo>
                  <a:cubicBezTo>
                    <a:pt x="30866" y="37840"/>
                    <a:pt x="30591" y="37428"/>
                    <a:pt x="30471" y="37204"/>
                  </a:cubicBezTo>
                  <a:lnTo>
                    <a:pt x="30574" y="37204"/>
                  </a:lnTo>
                  <a:cubicBezTo>
                    <a:pt x="30574" y="37204"/>
                    <a:pt x="30334" y="37204"/>
                    <a:pt x="30454" y="37050"/>
                  </a:cubicBezTo>
                  <a:cubicBezTo>
                    <a:pt x="30248" y="36449"/>
                    <a:pt x="29561" y="36242"/>
                    <a:pt x="29423" y="35607"/>
                  </a:cubicBezTo>
                  <a:cubicBezTo>
                    <a:pt x="29578" y="35607"/>
                    <a:pt x="29612" y="35487"/>
                    <a:pt x="29630" y="35298"/>
                  </a:cubicBezTo>
                  <a:cubicBezTo>
                    <a:pt x="29647" y="35109"/>
                    <a:pt x="29767" y="35298"/>
                    <a:pt x="29819" y="35298"/>
                  </a:cubicBezTo>
                  <a:cubicBezTo>
                    <a:pt x="29741" y="35301"/>
                    <a:pt x="29670" y="35252"/>
                    <a:pt x="29647" y="35177"/>
                  </a:cubicBezTo>
                  <a:cubicBezTo>
                    <a:pt x="29767" y="35177"/>
                    <a:pt x="29750" y="35057"/>
                    <a:pt x="29647" y="35040"/>
                  </a:cubicBezTo>
                  <a:cubicBezTo>
                    <a:pt x="29897" y="34793"/>
                    <a:pt x="29972" y="34419"/>
                    <a:pt x="29836" y="34095"/>
                  </a:cubicBezTo>
                  <a:cubicBezTo>
                    <a:pt x="29681" y="34198"/>
                    <a:pt x="29612" y="34095"/>
                    <a:pt x="29612" y="33906"/>
                  </a:cubicBezTo>
                  <a:cubicBezTo>
                    <a:pt x="29559" y="33957"/>
                    <a:pt x="29477" y="33957"/>
                    <a:pt x="29423" y="33906"/>
                  </a:cubicBezTo>
                  <a:cubicBezTo>
                    <a:pt x="29269" y="34095"/>
                    <a:pt x="28771" y="34078"/>
                    <a:pt x="28496" y="34044"/>
                  </a:cubicBezTo>
                  <a:cubicBezTo>
                    <a:pt x="28118" y="32807"/>
                    <a:pt x="26778" y="33529"/>
                    <a:pt x="25937" y="33821"/>
                  </a:cubicBezTo>
                  <a:cubicBezTo>
                    <a:pt x="24219" y="33305"/>
                    <a:pt x="23961" y="34490"/>
                    <a:pt x="22501" y="32687"/>
                  </a:cubicBezTo>
                  <a:cubicBezTo>
                    <a:pt x="22330" y="32687"/>
                    <a:pt x="22364" y="32429"/>
                    <a:pt x="22226" y="32361"/>
                  </a:cubicBezTo>
                  <a:cubicBezTo>
                    <a:pt x="22089" y="32292"/>
                    <a:pt x="22226" y="32240"/>
                    <a:pt x="22226" y="32137"/>
                  </a:cubicBezTo>
                  <a:cubicBezTo>
                    <a:pt x="22226" y="32034"/>
                    <a:pt x="21883" y="31897"/>
                    <a:pt x="21986" y="31828"/>
                  </a:cubicBezTo>
                  <a:cubicBezTo>
                    <a:pt x="21608" y="31828"/>
                    <a:pt x="21814" y="31485"/>
                    <a:pt x="21591" y="31536"/>
                  </a:cubicBezTo>
                  <a:cubicBezTo>
                    <a:pt x="21368" y="31588"/>
                    <a:pt x="21591" y="31450"/>
                    <a:pt x="21436" y="31450"/>
                  </a:cubicBezTo>
                  <a:lnTo>
                    <a:pt x="21436" y="31450"/>
                  </a:lnTo>
                  <a:lnTo>
                    <a:pt x="21436" y="31450"/>
                  </a:lnTo>
                  <a:cubicBezTo>
                    <a:pt x="21436" y="31450"/>
                    <a:pt x="21436" y="31450"/>
                    <a:pt x="21436" y="31347"/>
                  </a:cubicBezTo>
                  <a:cubicBezTo>
                    <a:pt x="21436" y="31244"/>
                    <a:pt x="21625" y="31347"/>
                    <a:pt x="21642" y="31347"/>
                  </a:cubicBezTo>
                  <a:cubicBezTo>
                    <a:pt x="21660" y="31347"/>
                    <a:pt x="21076" y="31347"/>
                    <a:pt x="21247" y="31158"/>
                  </a:cubicBezTo>
                  <a:cubicBezTo>
                    <a:pt x="21110" y="31158"/>
                    <a:pt x="21076" y="31158"/>
                    <a:pt x="21041" y="30986"/>
                  </a:cubicBezTo>
                  <a:cubicBezTo>
                    <a:pt x="21007" y="30815"/>
                    <a:pt x="21162" y="30986"/>
                    <a:pt x="21213" y="30986"/>
                  </a:cubicBezTo>
                  <a:cubicBezTo>
                    <a:pt x="21265" y="30986"/>
                    <a:pt x="21076" y="30986"/>
                    <a:pt x="21024" y="30986"/>
                  </a:cubicBezTo>
                  <a:cubicBezTo>
                    <a:pt x="20973" y="30986"/>
                    <a:pt x="21024" y="30849"/>
                    <a:pt x="21024" y="30780"/>
                  </a:cubicBezTo>
                  <a:cubicBezTo>
                    <a:pt x="21024" y="30712"/>
                    <a:pt x="21179" y="30935"/>
                    <a:pt x="21299" y="30780"/>
                  </a:cubicBezTo>
                  <a:cubicBezTo>
                    <a:pt x="21419" y="30626"/>
                    <a:pt x="21024" y="30694"/>
                    <a:pt x="21144" y="30626"/>
                  </a:cubicBezTo>
                  <a:lnTo>
                    <a:pt x="21144" y="30626"/>
                  </a:lnTo>
                  <a:cubicBezTo>
                    <a:pt x="21144" y="30626"/>
                    <a:pt x="20990" y="30368"/>
                    <a:pt x="20921" y="30299"/>
                  </a:cubicBezTo>
                  <a:cubicBezTo>
                    <a:pt x="21365" y="29847"/>
                    <a:pt x="21523" y="29187"/>
                    <a:pt x="21333" y="28582"/>
                  </a:cubicBezTo>
                  <a:cubicBezTo>
                    <a:pt x="21471" y="28582"/>
                    <a:pt x="21333" y="28393"/>
                    <a:pt x="21436" y="28358"/>
                  </a:cubicBezTo>
                  <a:cubicBezTo>
                    <a:pt x="21539" y="28324"/>
                    <a:pt x="21265" y="28255"/>
                    <a:pt x="21247" y="28135"/>
                  </a:cubicBezTo>
                  <a:lnTo>
                    <a:pt x="21247" y="28221"/>
                  </a:lnTo>
                  <a:cubicBezTo>
                    <a:pt x="21228" y="27927"/>
                    <a:pt x="21357" y="27644"/>
                    <a:pt x="21591" y="27465"/>
                  </a:cubicBezTo>
                  <a:cubicBezTo>
                    <a:pt x="21952" y="26297"/>
                    <a:pt x="23103" y="25833"/>
                    <a:pt x="23927" y="25043"/>
                  </a:cubicBezTo>
                  <a:cubicBezTo>
                    <a:pt x="23935" y="24883"/>
                    <a:pt x="23935" y="24723"/>
                    <a:pt x="23927" y="24562"/>
                  </a:cubicBezTo>
                  <a:cubicBezTo>
                    <a:pt x="23927" y="24373"/>
                    <a:pt x="24288" y="24288"/>
                    <a:pt x="24133" y="24081"/>
                  </a:cubicBezTo>
                  <a:cubicBezTo>
                    <a:pt x="24677" y="23812"/>
                    <a:pt x="25139" y="23403"/>
                    <a:pt x="25473" y="22896"/>
                  </a:cubicBezTo>
                  <a:cubicBezTo>
                    <a:pt x="25473" y="23240"/>
                    <a:pt x="26005" y="23223"/>
                    <a:pt x="26194" y="23102"/>
                  </a:cubicBezTo>
                  <a:cubicBezTo>
                    <a:pt x="26521" y="23497"/>
                    <a:pt x="27225" y="22828"/>
                    <a:pt x="27586" y="22725"/>
                  </a:cubicBezTo>
                  <a:cubicBezTo>
                    <a:pt x="27946" y="22621"/>
                    <a:pt x="28771" y="22725"/>
                    <a:pt x="29063" y="22587"/>
                  </a:cubicBezTo>
                  <a:cubicBezTo>
                    <a:pt x="29355" y="22450"/>
                    <a:pt x="29286" y="22828"/>
                    <a:pt x="29372" y="22587"/>
                  </a:cubicBezTo>
                  <a:cubicBezTo>
                    <a:pt x="29647" y="22828"/>
                    <a:pt x="29939" y="22450"/>
                    <a:pt x="30162" y="22587"/>
                  </a:cubicBezTo>
                  <a:cubicBezTo>
                    <a:pt x="30162" y="22398"/>
                    <a:pt x="30299" y="22725"/>
                    <a:pt x="30385" y="22776"/>
                  </a:cubicBezTo>
                  <a:cubicBezTo>
                    <a:pt x="30746" y="22415"/>
                    <a:pt x="30488" y="22862"/>
                    <a:pt x="30385" y="23017"/>
                  </a:cubicBezTo>
                  <a:cubicBezTo>
                    <a:pt x="31021" y="23446"/>
                    <a:pt x="29956" y="23618"/>
                    <a:pt x="30385" y="23910"/>
                  </a:cubicBezTo>
                  <a:cubicBezTo>
                    <a:pt x="30385" y="23910"/>
                    <a:pt x="30385" y="23910"/>
                    <a:pt x="30506" y="23910"/>
                  </a:cubicBezTo>
                  <a:cubicBezTo>
                    <a:pt x="30626" y="23910"/>
                    <a:pt x="30506" y="23824"/>
                    <a:pt x="30506" y="23910"/>
                  </a:cubicBezTo>
                  <a:cubicBezTo>
                    <a:pt x="30677" y="24322"/>
                    <a:pt x="31313" y="24013"/>
                    <a:pt x="31622" y="24236"/>
                  </a:cubicBezTo>
                  <a:cubicBezTo>
                    <a:pt x="34851" y="26469"/>
                    <a:pt x="32343" y="23566"/>
                    <a:pt x="34473" y="24236"/>
                  </a:cubicBezTo>
                  <a:cubicBezTo>
                    <a:pt x="34834" y="24580"/>
                    <a:pt x="35641" y="24477"/>
                    <a:pt x="36191" y="24700"/>
                  </a:cubicBezTo>
                  <a:cubicBezTo>
                    <a:pt x="36741" y="24923"/>
                    <a:pt x="36724" y="24597"/>
                    <a:pt x="37084" y="24494"/>
                  </a:cubicBezTo>
                  <a:cubicBezTo>
                    <a:pt x="36844" y="24580"/>
                    <a:pt x="37084" y="24494"/>
                    <a:pt x="37187" y="24494"/>
                  </a:cubicBezTo>
                  <a:cubicBezTo>
                    <a:pt x="37290" y="24494"/>
                    <a:pt x="37187" y="24494"/>
                    <a:pt x="37187" y="24494"/>
                  </a:cubicBezTo>
                  <a:cubicBezTo>
                    <a:pt x="37187" y="24494"/>
                    <a:pt x="37411" y="24494"/>
                    <a:pt x="37462" y="24494"/>
                  </a:cubicBezTo>
                  <a:cubicBezTo>
                    <a:pt x="37514" y="24494"/>
                    <a:pt x="37565" y="24614"/>
                    <a:pt x="37565" y="24665"/>
                  </a:cubicBezTo>
                  <a:cubicBezTo>
                    <a:pt x="37565" y="24717"/>
                    <a:pt x="37565" y="24562"/>
                    <a:pt x="37565" y="24494"/>
                  </a:cubicBezTo>
                  <a:cubicBezTo>
                    <a:pt x="38733" y="24889"/>
                    <a:pt x="38338" y="22776"/>
                    <a:pt x="38407" y="22381"/>
                  </a:cubicBezTo>
                  <a:cubicBezTo>
                    <a:pt x="38218" y="22536"/>
                    <a:pt x="37892" y="22381"/>
                    <a:pt x="37840" y="22656"/>
                  </a:cubicBezTo>
                  <a:cubicBezTo>
                    <a:pt x="37496" y="23051"/>
                    <a:pt x="36775" y="22106"/>
                    <a:pt x="36775" y="22656"/>
                  </a:cubicBezTo>
                  <a:cubicBezTo>
                    <a:pt x="36620" y="22656"/>
                    <a:pt x="36225" y="22828"/>
                    <a:pt x="36277" y="22536"/>
                  </a:cubicBezTo>
                  <a:cubicBezTo>
                    <a:pt x="36277" y="22536"/>
                    <a:pt x="36277" y="22536"/>
                    <a:pt x="36140" y="22536"/>
                  </a:cubicBezTo>
                  <a:cubicBezTo>
                    <a:pt x="36002" y="22536"/>
                    <a:pt x="35951" y="22690"/>
                    <a:pt x="35933" y="22536"/>
                  </a:cubicBezTo>
                  <a:lnTo>
                    <a:pt x="35727" y="22536"/>
                  </a:lnTo>
                  <a:cubicBezTo>
                    <a:pt x="35727" y="22450"/>
                    <a:pt x="35951" y="22536"/>
                    <a:pt x="35951" y="22398"/>
                  </a:cubicBezTo>
                  <a:cubicBezTo>
                    <a:pt x="35951" y="22261"/>
                    <a:pt x="35556" y="22501"/>
                    <a:pt x="35762" y="22398"/>
                  </a:cubicBezTo>
                  <a:cubicBezTo>
                    <a:pt x="35521" y="22244"/>
                    <a:pt x="35762" y="22106"/>
                    <a:pt x="35401" y="22020"/>
                  </a:cubicBezTo>
                  <a:cubicBezTo>
                    <a:pt x="35040" y="21934"/>
                    <a:pt x="35401" y="21883"/>
                    <a:pt x="35401" y="21831"/>
                  </a:cubicBezTo>
                  <a:cubicBezTo>
                    <a:pt x="35401" y="21780"/>
                    <a:pt x="35401" y="21952"/>
                    <a:pt x="35573" y="21831"/>
                  </a:cubicBezTo>
                  <a:lnTo>
                    <a:pt x="35573" y="21831"/>
                  </a:lnTo>
                  <a:cubicBezTo>
                    <a:pt x="35573" y="21831"/>
                    <a:pt x="35710" y="21831"/>
                    <a:pt x="35676" y="21694"/>
                  </a:cubicBezTo>
                  <a:cubicBezTo>
                    <a:pt x="35641" y="21557"/>
                    <a:pt x="35504" y="21522"/>
                    <a:pt x="35676" y="21488"/>
                  </a:cubicBezTo>
                  <a:cubicBezTo>
                    <a:pt x="35195" y="21660"/>
                    <a:pt x="35435" y="20938"/>
                    <a:pt x="35779" y="21179"/>
                  </a:cubicBezTo>
                  <a:cubicBezTo>
                    <a:pt x="35779" y="21041"/>
                    <a:pt x="36071" y="21179"/>
                    <a:pt x="36225" y="21179"/>
                  </a:cubicBezTo>
                  <a:cubicBezTo>
                    <a:pt x="35916" y="21058"/>
                    <a:pt x="36363" y="21076"/>
                    <a:pt x="36397" y="20990"/>
                  </a:cubicBezTo>
                  <a:cubicBezTo>
                    <a:pt x="35676" y="20766"/>
                    <a:pt x="36775" y="20869"/>
                    <a:pt x="36827" y="20784"/>
                  </a:cubicBezTo>
                  <a:cubicBezTo>
                    <a:pt x="36964" y="20406"/>
                    <a:pt x="37479" y="20457"/>
                    <a:pt x="37788" y="20371"/>
                  </a:cubicBezTo>
                  <a:cubicBezTo>
                    <a:pt x="37788" y="20543"/>
                    <a:pt x="37960" y="20560"/>
                    <a:pt x="38063" y="20371"/>
                  </a:cubicBezTo>
                  <a:cubicBezTo>
                    <a:pt x="38166" y="20182"/>
                    <a:pt x="38201" y="20663"/>
                    <a:pt x="38287" y="20526"/>
                  </a:cubicBezTo>
                  <a:cubicBezTo>
                    <a:pt x="40760" y="21024"/>
                    <a:pt x="38991" y="19324"/>
                    <a:pt x="37857" y="19049"/>
                  </a:cubicBezTo>
                  <a:cubicBezTo>
                    <a:pt x="37857" y="19049"/>
                    <a:pt x="37857" y="19049"/>
                    <a:pt x="37857" y="18911"/>
                  </a:cubicBezTo>
                  <a:cubicBezTo>
                    <a:pt x="37857" y="18774"/>
                    <a:pt x="38063" y="18911"/>
                    <a:pt x="37977" y="18791"/>
                  </a:cubicBezTo>
                  <a:cubicBezTo>
                    <a:pt x="37892" y="18671"/>
                    <a:pt x="38201" y="18637"/>
                    <a:pt x="37977" y="18551"/>
                  </a:cubicBezTo>
                  <a:cubicBezTo>
                    <a:pt x="37754" y="18465"/>
                    <a:pt x="37874" y="18551"/>
                    <a:pt x="37857" y="18448"/>
                  </a:cubicBezTo>
                  <a:cubicBezTo>
                    <a:pt x="37840" y="18345"/>
                    <a:pt x="38029" y="18448"/>
                    <a:pt x="38029" y="18448"/>
                  </a:cubicBezTo>
                  <a:cubicBezTo>
                    <a:pt x="38029" y="18448"/>
                    <a:pt x="38166" y="18310"/>
                    <a:pt x="38132" y="18224"/>
                  </a:cubicBezTo>
                  <a:cubicBezTo>
                    <a:pt x="38098" y="18138"/>
                    <a:pt x="37651" y="18224"/>
                    <a:pt x="37548" y="18499"/>
                  </a:cubicBezTo>
                  <a:cubicBezTo>
                    <a:pt x="37548" y="18499"/>
                    <a:pt x="37445" y="18585"/>
                    <a:pt x="37359" y="18499"/>
                  </a:cubicBezTo>
                  <a:cubicBezTo>
                    <a:pt x="37273" y="18413"/>
                    <a:pt x="37256" y="18499"/>
                    <a:pt x="37204" y="18499"/>
                  </a:cubicBezTo>
                  <a:cubicBezTo>
                    <a:pt x="37153" y="18499"/>
                    <a:pt x="37204" y="18774"/>
                    <a:pt x="37204" y="18705"/>
                  </a:cubicBezTo>
                  <a:cubicBezTo>
                    <a:pt x="37204" y="18637"/>
                    <a:pt x="37204" y="18585"/>
                    <a:pt x="37204" y="18568"/>
                  </a:cubicBezTo>
                  <a:cubicBezTo>
                    <a:pt x="37204" y="18551"/>
                    <a:pt x="36964" y="18722"/>
                    <a:pt x="36878" y="18791"/>
                  </a:cubicBezTo>
                  <a:cubicBezTo>
                    <a:pt x="36792" y="18860"/>
                    <a:pt x="37170" y="18791"/>
                    <a:pt x="37136" y="18946"/>
                  </a:cubicBezTo>
                  <a:cubicBezTo>
                    <a:pt x="37101" y="19100"/>
                    <a:pt x="37136" y="18946"/>
                    <a:pt x="37136" y="18946"/>
                  </a:cubicBezTo>
                  <a:cubicBezTo>
                    <a:pt x="37136" y="18946"/>
                    <a:pt x="37136" y="19066"/>
                    <a:pt x="37325" y="19049"/>
                  </a:cubicBezTo>
                  <a:cubicBezTo>
                    <a:pt x="37514" y="19032"/>
                    <a:pt x="37016" y="18825"/>
                    <a:pt x="37084" y="18705"/>
                  </a:cubicBezTo>
                  <a:cubicBezTo>
                    <a:pt x="37153" y="18585"/>
                    <a:pt x="37273" y="18980"/>
                    <a:pt x="37393" y="19014"/>
                  </a:cubicBezTo>
                  <a:cubicBezTo>
                    <a:pt x="37514" y="19049"/>
                    <a:pt x="37393" y="19014"/>
                    <a:pt x="37514" y="19014"/>
                  </a:cubicBezTo>
                  <a:cubicBezTo>
                    <a:pt x="37634" y="19014"/>
                    <a:pt x="37617" y="18929"/>
                    <a:pt x="37685" y="18929"/>
                  </a:cubicBezTo>
                  <a:cubicBezTo>
                    <a:pt x="37754" y="18929"/>
                    <a:pt x="37685" y="19152"/>
                    <a:pt x="37462" y="19100"/>
                  </a:cubicBezTo>
                  <a:cubicBezTo>
                    <a:pt x="37239" y="19049"/>
                    <a:pt x="36861" y="19650"/>
                    <a:pt x="36912" y="19100"/>
                  </a:cubicBezTo>
                  <a:cubicBezTo>
                    <a:pt x="36775" y="18980"/>
                    <a:pt x="36466" y="19100"/>
                    <a:pt x="36758" y="18860"/>
                  </a:cubicBezTo>
                  <a:cubicBezTo>
                    <a:pt x="37050" y="18619"/>
                    <a:pt x="36620" y="18602"/>
                    <a:pt x="36500" y="18740"/>
                  </a:cubicBezTo>
                  <a:cubicBezTo>
                    <a:pt x="36380" y="18877"/>
                    <a:pt x="36311" y="18740"/>
                    <a:pt x="36380" y="18619"/>
                  </a:cubicBezTo>
                  <a:cubicBezTo>
                    <a:pt x="36449" y="18499"/>
                    <a:pt x="36191" y="18619"/>
                    <a:pt x="36157" y="18619"/>
                  </a:cubicBezTo>
                  <a:cubicBezTo>
                    <a:pt x="36122" y="18619"/>
                    <a:pt x="36380" y="18619"/>
                    <a:pt x="36449" y="18619"/>
                  </a:cubicBezTo>
                  <a:cubicBezTo>
                    <a:pt x="36396" y="18670"/>
                    <a:pt x="36313" y="18670"/>
                    <a:pt x="36260" y="18619"/>
                  </a:cubicBezTo>
                  <a:cubicBezTo>
                    <a:pt x="36260" y="18791"/>
                    <a:pt x="36122" y="18619"/>
                    <a:pt x="36088" y="18740"/>
                  </a:cubicBezTo>
                  <a:cubicBezTo>
                    <a:pt x="36054" y="18860"/>
                    <a:pt x="36088" y="18929"/>
                    <a:pt x="35916" y="18946"/>
                  </a:cubicBezTo>
                  <a:cubicBezTo>
                    <a:pt x="35744" y="18963"/>
                    <a:pt x="35916" y="19221"/>
                    <a:pt x="35796" y="19083"/>
                  </a:cubicBezTo>
                  <a:cubicBezTo>
                    <a:pt x="35916" y="19392"/>
                    <a:pt x="35796" y="19409"/>
                    <a:pt x="35607" y="19598"/>
                  </a:cubicBezTo>
                  <a:cubicBezTo>
                    <a:pt x="35418" y="19787"/>
                    <a:pt x="35607" y="19856"/>
                    <a:pt x="35607" y="19993"/>
                  </a:cubicBezTo>
                  <a:cubicBezTo>
                    <a:pt x="35607" y="20131"/>
                    <a:pt x="35401" y="20097"/>
                    <a:pt x="35470" y="20251"/>
                  </a:cubicBezTo>
                  <a:cubicBezTo>
                    <a:pt x="35538" y="20406"/>
                    <a:pt x="35607" y="20440"/>
                    <a:pt x="35607" y="20698"/>
                  </a:cubicBezTo>
                  <a:cubicBezTo>
                    <a:pt x="35607" y="20955"/>
                    <a:pt x="36054" y="20835"/>
                    <a:pt x="35899" y="20990"/>
                  </a:cubicBezTo>
                  <a:cubicBezTo>
                    <a:pt x="35744" y="21144"/>
                    <a:pt x="35435" y="21144"/>
                    <a:pt x="35212" y="21333"/>
                  </a:cubicBezTo>
                  <a:cubicBezTo>
                    <a:pt x="35212" y="21230"/>
                    <a:pt x="35212" y="21179"/>
                    <a:pt x="35315" y="21144"/>
                  </a:cubicBezTo>
                  <a:cubicBezTo>
                    <a:pt x="35109" y="21144"/>
                    <a:pt x="34851" y="20887"/>
                    <a:pt x="34731" y="21144"/>
                  </a:cubicBezTo>
                  <a:cubicBezTo>
                    <a:pt x="34559" y="21144"/>
                    <a:pt x="34611" y="21144"/>
                    <a:pt x="34491" y="21230"/>
                  </a:cubicBezTo>
                  <a:cubicBezTo>
                    <a:pt x="34370" y="21316"/>
                    <a:pt x="34491" y="21333"/>
                    <a:pt x="34611" y="21385"/>
                  </a:cubicBezTo>
                  <a:cubicBezTo>
                    <a:pt x="34731" y="21436"/>
                    <a:pt x="34422" y="21299"/>
                    <a:pt x="34439" y="21385"/>
                  </a:cubicBezTo>
                  <a:cubicBezTo>
                    <a:pt x="34456" y="21471"/>
                    <a:pt x="34559" y="21385"/>
                    <a:pt x="34439" y="21471"/>
                  </a:cubicBezTo>
                  <a:cubicBezTo>
                    <a:pt x="34319" y="21557"/>
                    <a:pt x="34164" y="21350"/>
                    <a:pt x="34439" y="21471"/>
                  </a:cubicBezTo>
                  <a:cubicBezTo>
                    <a:pt x="34302" y="21471"/>
                    <a:pt x="34250" y="21333"/>
                    <a:pt x="34164" y="21282"/>
                  </a:cubicBezTo>
                  <a:cubicBezTo>
                    <a:pt x="34078" y="21230"/>
                    <a:pt x="33924" y="21402"/>
                    <a:pt x="34164" y="21522"/>
                  </a:cubicBezTo>
                  <a:cubicBezTo>
                    <a:pt x="34405" y="21642"/>
                    <a:pt x="34542" y="21986"/>
                    <a:pt x="34164" y="21728"/>
                  </a:cubicBezTo>
                  <a:cubicBezTo>
                    <a:pt x="34164" y="21728"/>
                    <a:pt x="34164" y="21728"/>
                    <a:pt x="34164" y="21728"/>
                  </a:cubicBezTo>
                  <a:cubicBezTo>
                    <a:pt x="34164" y="21728"/>
                    <a:pt x="34164" y="21849"/>
                    <a:pt x="34164" y="21831"/>
                  </a:cubicBezTo>
                  <a:cubicBezTo>
                    <a:pt x="34353" y="21969"/>
                    <a:pt x="34680" y="22020"/>
                    <a:pt x="34662" y="22295"/>
                  </a:cubicBezTo>
                  <a:cubicBezTo>
                    <a:pt x="34542" y="22295"/>
                    <a:pt x="34473" y="22175"/>
                    <a:pt x="34336" y="22295"/>
                  </a:cubicBezTo>
                  <a:cubicBezTo>
                    <a:pt x="34199" y="22415"/>
                    <a:pt x="34645" y="22536"/>
                    <a:pt x="34456" y="22467"/>
                  </a:cubicBezTo>
                  <a:cubicBezTo>
                    <a:pt x="34267" y="22398"/>
                    <a:pt x="34456" y="22467"/>
                    <a:pt x="34456" y="22467"/>
                  </a:cubicBezTo>
                  <a:cubicBezTo>
                    <a:pt x="34456" y="22467"/>
                    <a:pt x="34456" y="22707"/>
                    <a:pt x="34456" y="22776"/>
                  </a:cubicBezTo>
                  <a:cubicBezTo>
                    <a:pt x="34456" y="22845"/>
                    <a:pt x="34216" y="22587"/>
                    <a:pt x="34250" y="22776"/>
                  </a:cubicBezTo>
                  <a:cubicBezTo>
                    <a:pt x="34250" y="22621"/>
                    <a:pt x="34147" y="22639"/>
                    <a:pt x="34078" y="22518"/>
                  </a:cubicBezTo>
                  <a:cubicBezTo>
                    <a:pt x="34010" y="22398"/>
                    <a:pt x="34078" y="22604"/>
                    <a:pt x="34078" y="22656"/>
                  </a:cubicBezTo>
                  <a:cubicBezTo>
                    <a:pt x="33988" y="22604"/>
                    <a:pt x="33946" y="22498"/>
                    <a:pt x="33975" y="22398"/>
                  </a:cubicBezTo>
                  <a:cubicBezTo>
                    <a:pt x="33855" y="22295"/>
                    <a:pt x="33666" y="22226"/>
                    <a:pt x="33855" y="22089"/>
                  </a:cubicBezTo>
                  <a:cubicBezTo>
                    <a:pt x="34044" y="21952"/>
                    <a:pt x="34199" y="22261"/>
                    <a:pt x="34353" y="22089"/>
                  </a:cubicBezTo>
                  <a:cubicBezTo>
                    <a:pt x="34216" y="22089"/>
                    <a:pt x="34061" y="21917"/>
                    <a:pt x="33958" y="22089"/>
                  </a:cubicBezTo>
                  <a:cubicBezTo>
                    <a:pt x="33855" y="22261"/>
                    <a:pt x="33838" y="21969"/>
                    <a:pt x="33786" y="22089"/>
                  </a:cubicBezTo>
                  <a:cubicBezTo>
                    <a:pt x="33546" y="21849"/>
                    <a:pt x="33374" y="21471"/>
                    <a:pt x="33065" y="21316"/>
                  </a:cubicBezTo>
                  <a:cubicBezTo>
                    <a:pt x="33065" y="21127"/>
                    <a:pt x="33065" y="20921"/>
                    <a:pt x="33065" y="20732"/>
                  </a:cubicBezTo>
                  <a:cubicBezTo>
                    <a:pt x="32859" y="20732"/>
                    <a:pt x="32739" y="20457"/>
                    <a:pt x="32584" y="20320"/>
                  </a:cubicBezTo>
                  <a:cubicBezTo>
                    <a:pt x="32429" y="20182"/>
                    <a:pt x="32326" y="20320"/>
                    <a:pt x="32275" y="20320"/>
                  </a:cubicBezTo>
                  <a:cubicBezTo>
                    <a:pt x="32223" y="20320"/>
                    <a:pt x="32275" y="20320"/>
                    <a:pt x="32395" y="20320"/>
                  </a:cubicBezTo>
                  <a:cubicBezTo>
                    <a:pt x="32515" y="20320"/>
                    <a:pt x="32103" y="20062"/>
                    <a:pt x="31931" y="20131"/>
                  </a:cubicBezTo>
                  <a:cubicBezTo>
                    <a:pt x="31759" y="20200"/>
                    <a:pt x="31416" y="19839"/>
                    <a:pt x="31742" y="19856"/>
                  </a:cubicBezTo>
                  <a:cubicBezTo>
                    <a:pt x="31347" y="19616"/>
                    <a:pt x="31536" y="19135"/>
                    <a:pt x="31175" y="19633"/>
                  </a:cubicBezTo>
                  <a:cubicBezTo>
                    <a:pt x="31175" y="19530"/>
                    <a:pt x="31038" y="19409"/>
                    <a:pt x="31175" y="19306"/>
                  </a:cubicBezTo>
                  <a:cubicBezTo>
                    <a:pt x="31313" y="19203"/>
                    <a:pt x="30832" y="19306"/>
                    <a:pt x="30746" y="19427"/>
                  </a:cubicBezTo>
                  <a:cubicBezTo>
                    <a:pt x="30746" y="19942"/>
                    <a:pt x="31347" y="20268"/>
                    <a:pt x="31656" y="20681"/>
                  </a:cubicBezTo>
                  <a:cubicBezTo>
                    <a:pt x="31811" y="20681"/>
                    <a:pt x="32223" y="20681"/>
                    <a:pt x="31983" y="20887"/>
                  </a:cubicBezTo>
                  <a:cubicBezTo>
                    <a:pt x="32223" y="21024"/>
                    <a:pt x="32979" y="21161"/>
                    <a:pt x="32807" y="21539"/>
                  </a:cubicBezTo>
                  <a:cubicBezTo>
                    <a:pt x="32653" y="21539"/>
                    <a:pt x="32807" y="21282"/>
                    <a:pt x="32532" y="21333"/>
                  </a:cubicBezTo>
                  <a:cubicBezTo>
                    <a:pt x="32258" y="21385"/>
                    <a:pt x="32258" y="21539"/>
                    <a:pt x="32309" y="21625"/>
                  </a:cubicBezTo>
                  <a:cubicBezTo>
                    <a:pt x="32670" y="21728"/>
                    <a:pt x="32309" y="21934"/>
                    <a:pt x="32309" y="22141"/>
                  </a:cubicBezTo>
                  <a:cubicBezTo>
                    <a:pt x="32309" y="22347"/>
                    <a:pt x="31845" y="22415"/>
                    <a:pt x="32086" y="22141"/>
                  </a:cubicBezTo>
                  <a:cubicBezTo>
                    <a:pt x="32197" y="21856"/>
                    <a:pt x="32069" y="21534"/>
                    <a:pt x="31794" y="21402"/>
                  </a:cubicBezTo>
                  <a:cubicBezTo>
                    <a:pt x="31639" y="21402"/>
                    <a:pt x="31794" y="21282"/>
                    <a:pt x="31656" y="21230"/>
                  </a:cubicBezTo>
                  <a:cubicBezTo>
                    <a:pt x="31518" y="21226"/>
                    <a:pt x="31393" y="21147"/>
                    <a:pt x="31330" y="21024"/>
                  </a:cubicBezTo>
                  <a:cubicBezTo>
                    <a:pt x="30317" y="21024"/>
                    <a:pt x="30145" y="18980"/>
                    <a:pt x="29080" y="20217"/>
                  </a:cubicBezTo>
                  <a:cubicBezTo>
                    <a:pt x="29080" y="20423"/>
                    <a:pt x="28736" y="20217"/>
                    <a:pt x="28633" y="20114"/>
                  </a:cubicBezTo>
                  <a:cubicBezTo>
                    <a:pt x="27568" y="19993"/>
                    <a:pt x="28633" y="20921"/>
                    <a:pt x="27448" y="21093"/>
                  </a:cubicBezTo>
                  <a:cubicBezTo>
                    <a:pt x="27534" y="21093"/>
                    <a:pt x="27448" y="21265"/>
                    <a:pt x="27448" y="21213"/>
                  </a:cubicBezTo>
                  <a:cubicBezTo>
                    <a:pt x="26744" y="21763"/>
                    <a:pt x="27448" y="21728"/>
                    <a:pt x="27191" y="22003"/>
                  </a:cubicBezTo>
                  <a:cubicBezTo>
                    <a:pt x="26950" y="22003"/>
                    <a:pt x="27070" y="22450"/>
                    <a:pt x="26847" y="22398"/>
                  </a:cubicBezTo>
                  <a:cubicBezTo>
                    <a:pt x="26418" y="22862"/>
                    <a:pt x="25919" y="22398"/>
                    <a:pt x="25421" y="22896"/>
                  </a:cubicBezTo>
                  <a:cubicBezTo>
                    <a:pt x="25095" y="22896"/>
                    <a:pt x="25147" y="22192"/>
                    <a:pt x="24700" y="22501"/>
                  </a:cubicBezTo>
                  <a:cubicBezTo>
                    <a:pt x="24700" y="22501"/>
                    <a:pt x="24494" y="22364"/>
                    <a:pt x="24408" y="22501"/>
                  </a:cubicBezTo>
                  <a:cubicBezTo>
                    <a:pt x="24426" y="22310"/>
                    <a:pt x="24460" y="22120"/>
                    <a:pt x="24511" y="21934"/>
                  </a:cubicBezTo>
                  <a:cubicBezTo>
                    <a:pt x="24185" y="21934"/>
                    <a:pt x="24511" y="21934"/>
                    <a:pt x="24511" y="21763"/>
                  </a:cubicBezTo>
                  <a:cubicBezTo>
                    <a:pt x="24099" y="22020"/>
                    <a:pt x="24614" y="21299"/>
                    <a:pt x="24631" y="21144"/>
                  </a:cubicBezTo>
                  <a:cubicBezTo>
                    <a:pt x="24648" y="20990"/>
                    <a:pt x="24631" y="20595"/>
                    <a:pt x="24734" y="20457"/>
                  </a:cubicBezTo>
                  <a:lnTo>
                    <a:pt x="24734" y="20457"/>
                  </a:lnTo>
                  <a:cubicBezTo>
                    <a:pt x="24734" y="20457"/>
                    <a:pt x="24734" y="20457"/>
                    <a:pt x="24734" y="20337"/>
                  </a:cubicBezTo>
                  <a:cubicBezTo>
                    <a:pt x="24734" y="20217"/>
                    <a:pt x="24734" y="20337"/>
                    <a:pt x="24734" y="20234"/>
                  </a:cubicBezTo>
                  <a:cubicBezTo>
                    <a:pt x="24734" y="20131"/>
                    <a:pt x="24940" y="20097"/>
                    <a:pt x="25026" y="20045"/>
                  </a:cubicBezTo>
                  <a:cubicBezTo>
                    <a:pt x="25112" y="19993"/>
                    <a:pt x="25404" y="20045"/>
                    <a:pt x="25490" y="20045"/>
                  </a:cubicBezTo>
                  <a:cubicBezTo>
                    <a:pt x="25851" y="20045"/>
                    <a:pt x="26246" y="20217"/>
                    <a:pt x="26607" y="20131"/>
                  </a:cubicBezTo>
                  <a:cubicBezTo>
                    <a:pt x="27242" y="20629"/>
                    <a:pt x="26847" y="18911"/>
                    <a:pt x="27276" y="19564"/>
                  </a:cubicBezTo>
                  <a:cubicBezTo>
                    <a:pt x="27276" y="19461"/>
                    <a:pt x="27173" y="19306"/>
                    <a:pt x="27053" y="19289"/>
                  </a:cubicBezTo>
                  <a:cubicBezTo>
                    <a:pt x="27225" y="19066"/>
                    <a:pt x="26899" y="19014"/>
                    <a:pt x="26813" y="18860"/>
                  </a:cubicBezTo>
                  <a:cubicBezTo>
                    <a:pt x="26727" y="18705"/>
                    <a:pt x="26813" y="18619"/>
                    <a:pt x="26950" y="18722"/>
                  </a:cubicBezTo>
                  <a:cubicBezTo>
                    <a:pt x="26847" y="18568"/>
                    <a:pt x="26727" y="18825"/>
                    <a:pt x="26727" y="18551"/>
                  </a:cubicBezTo>
                  <a:cubicBezTo>
                    <a:pt x="26607" y="18551"/>
                    <a:pt x="26400" y="18345"/>
                    <a:pt x="26229" y="18465"/>
                  </a:cubicBezTo>
                  <a:cubicBezTo>
                    <a:pt x="26057" y="18585"/>
                    <a:pt x="26229" y="18465"/>
                    <a:pt x="26229" y="18345"/>
                  </a:cubicBezTo>
                  <a:cubicBezTo>
                    <a:pt x="26229" y="18224"/>
                    <a:pt x="26332" y="18190"/>
                    <a:pt x="26229" y="18345"/>
                  </a:cubicBezTo>
                  <a:cubicBezTo>
                    <a:pt x="26126" y="18499"/>
                    <a:pt x="26229" y="18345"/>
                    <a:pt x="26229" y="18345"/>
                  </a:cubicBezTo>
                  <a:cubicBezTo>
                    <a:pt x="25851" y="18224"/>
                    <a:pt x="26435" y="18207"/>
                    <a:pt x="26555" y="18121"/>
                  </a:cubicBezTo>
                  <a:cubicBezTo>
                    <a:pt x="26692" y="18293"/>
                    <a:pt x="26795" y="18121"/>
                    <a:pt x="27019" y="18241"/>
                  </a:cubicBezTo>
                  <a:cubicBezTo>
                    <a:pt x="26989" y="18096"/>
                    <a:pt x="26949" y="17952"/>
                    <a:pt x="26899" y="17812"/>
                  </a:cubicBezTo>
                  <a:cubicBezTo>
                    <a:pt x="26899" y="17812"/>
                    <a:pt x="27053" y="17812"/>
                    <a:pt x="27105" y="17812"/>
                  </a:cubicBezTo>
                  <a:cubicBezTo>
                    <a:pt x="27156" y="17812"/>
                    <a:pt x="27397" y="18001"/>
                    <a:pt x="27500" y="17812"/>
                  </a:cubicBezTo>
                  <a:cubicBezTo>
                    <a:pt x="27259" y="17623"/>
                    <a:pt x="27775" y="17709"/>
                    <a:pt x="27775" y="17606"/>
                  </a:cubicBezTo>
                  <a:cubicBezTo>
                    <a:pt x="27775" y="17503"/>
                    <a:pt x="27860" y="17383"/>
                    <a:pt x="27895" y="17280"/>
                  </a:cubicBezTo>
                  <a:cubicBezTo>
                    <a:pt x="27929" y="17177"/>
                    <a:pt x="28204" y="16988"/>
                    <a:pt x="28444" y="17125"/>
                  </a:cubicBezTo>
                  <a:cubicBezTo>
                    <a:pt x="28273" y="17125"/>
                    <a:pt x="28221" y="16919"/>
                    <a:pt x="28444" y="17125"/>
                  </a:cubicBezTo>
                  <a:cubicBezTo>
                    <a:pt x="28668" y="17331"/>
                    <a:pt x="28324" y="17005"/>
                    <a:pt x="28547" y="17022"/>
                  </a:cubicBezTo>
                  <a:cubicBezTo>
                    <a:pt x="28187" y="16764"/>
                    <a:pt x="28925" y="16112"/>
                    <a:pt x="29286" y="16438"/>
                  </a:cubicBezTo>
                  <a:cubicBezTo>
                    <a:pt x="29028" y="16249"/>
                    <a:pt x="29389" y="16112"/>
                    <a:pt x="29458" y="16438"/>
                  </a:cubicBezTo>
                  <a:cubicBezTo>
                    <a:pt x="29458" y="16197"/>
                    <a:pt x="29458" y="16438"/>
                    <a:pt x="29595" y="16438"/>
                  </a:cubicBezTo>
                  <a:cubicBezTo>
                    <a:pt x="29441" y="16026"/>
                    <a:pt x="29750" y="16232"/>
                    <a:pt x="29956" y="16301"/>
                  </a:cubicBezTo>
                  <a:cubicBezTo>
                    <a:pt x="29389" y="16043"/>
                    <a:pt x="29544" y="15493"/>
                    <a:pt x="29389" y="15115"/>
                  </a:cubicBezTo>
                  <a:cubicBezTo>
                    <a:pt x="29630" y="15115"/>
                    <a:pt x="29527" y="14961"/>
                    <a:pt x="29664" y="15115"/>
                  </a:cubicBezTo>
                  <a:cubicBezTo>
                    <a:pt x="29664" y="14634"/>
                    <a:pt x="29836" y="15115"/>
                    <a:pt x="30025" y="15115"/>
                  </a:cubicBezTo>
                  <a:cubicBezTo>
                    <a:pt x="30025" y="15373"/>
                    <a:pt x="29527" y="15528"/>
                    <a:pt x="29922" y="16009"/>
                  </a:cubicBezTo>
                  <a:cubicBezTo>
                    <a:pt x="29922" y="15888"/>
                    <a:pt x="30334" y="16009"/>
                    <a:pt x="30059" y="16094"/>
                  </a:cubicBezTo>
                  <a:cubicBezTo>
                    <a:pt x="30591" y="16094"/>
                    <a:pt x="30385" y="15768"/>
                    <a:pt x="30883" y="16094"/>
                  </a:cubicBezTo>
                  <a:cubicBezTo>
                    <a:pt x="31124" y="16472"/>
                    <a:pt x="31656" y="15356"/>
                    <a:pt x="32103" y="15768"/>
                  </a:cubicBezTo>
                  <a:cubicBezTo>
                    <a:pt x="31828" y="15768"/>
                    <a:pt x="32103" y="16043"/>
                    <a:pt x="32326" y="15768"/>
                  </a:cubicBezTo>
                  <a:cubicBezTo>
                    <a:pt x="32299" y="15829"/>
                    <a:pt x="32250" y="15878"/>
                    <a:pt x="32189" y="15905"/>
                  </a:cubicBezTo>
                  <a:cubicBezTo>
                    <a:pt x="34078" y="15820"/>
                    <a:pt x="31656" y="15270"/>
                    <a:pt x="32704" y="14497"/>
                  </a:cubicBezTo>
                  <a:cubicBezTo>
                    <a:pt x="33082" y="15081"/>
                    <a:pt x="33202" y="14686"/>
                    <a:pt x="33031" y="14222"/>
                  </a:cubicBezTo>
                  <a:cubicBezTo>
                    <a:pt x="33031" y="14428"/>
                    <a:pt x="32739" y="14222"/>
                    <a:pt x="32842" y="14068"/>
                  </a:cubicBezTo>
                  <a:cubicBezTo>
                    <a:pt x="32532" y="14068"/>
                    <a:pt x="32842" y="13758"/>
                    <a:pt x="32842" y="13690"/>
                  </a:cubicBezTo>
                  <a:cubicBezTo>
                    <a:pt x="32842" y="13621"/>
                    <a:pt x="33082" y="13690"/>
                    <a:pt x="32979" y="13690"/>
                  </a:cubicBezTo>
                  <a:lnTo>
                    <a:pt x="33615" y="13793"/>
                  </a:lnTo>
                  <a:cubicBezTo>
                    <a:pt x="33426" y="13501"/>
                    <a:pt x="33615" y="13690"/>
                    <a:pt x="33752" y="13466"/>
                  </a:cubicBezTo>
                  <a:cubicBezTo>
                    <a:pt x="33889" y="13243"/>
                    <a:pt x="33305" y="13363"/>
                    <a:pt x="33546" y="13192"/>
                  </a:cubicBezTo>
                  <a:cubicBezTo>
                    <a:pt x="33546" y="13192"/>
                    <a:pt x="33426" y="13295"/>
                    <a:pt x="33408" y="13192"/>
                  </a:cubicBezTo>
                  <a:cubicBezTo>
                    <a:pt x="33408" y="13346"/>
                    <a:pt x="33099" y="13363"/>
                    <a:pt x="33031" y="13312"/>
                  </a:cubicBezTo>
                  <a:cubicBezTo>
                    <a:pt x="32962" y="13260"/>
                    <a:pt x="33031" y="13312"/>
                    <a:pt x="33031" y="13312"/>
                  </a:cubicBezTo>
                  <a:cubicBezTo>
                    <a:pt x="33031" y="13312"/>
                    <a:pt x="33031" y="13552"/>
                    <a:pt x="33031" y="13312"/>
                  </a:cubicBezTo>
                  <a:cubicBezTo>
                    <a:pt x="33031" y="13449"/>
                    <a:pt x="32601" y="13466"/>
                    <a:pt x="32567" y="13621"/>
                  </a:cubicBezTo>
                  <a:cubicBezTo>
                    <a:pt x="32567" y="13312"/>
                    <a:pt x="32412" y="13415"/>
                    <a:pt x="32172" y="13260"/>
                  </a:cubicBezTo>
                  <a:cubicBezTo>
                    <a:pt x="31931" y="13106"/>
                    <a:pt x="31691" y="12144"/>
                    <a:pt x="31914" y="12058"/>
                  </a:cubicBezTo>
                  <a:cubicBezTo>
                    <a:pt x="32137" y="11972"/>
                    <a:pt x="31914" y="11972"/>
                    <a:pt x="32017" y="12058"/>
                  </a:cubicBezTo>
                  <a:cubicBezTo>
                    <a:pt x="32120" y="12144"/>
                    <a:pt x="32017" y="11921"/>
                    <a:pt x="32017" y="11817"/>
                  </a:cubicBezTo>
                  <a:cubicBezTo>
                    <a:pt x="32017" y="11714"/>
                    <a:pt x="32240" y="11354"/>
                    <a:pt x="32309" y="11457"/>
                  </a:cubicBezTo>
                  <a:cubicBezTo>
                    <a:pt x="32103" y="11010"/>
                    <a:pt x="31708" y="11148"/>
                    <a:pt x="31502" y="11182"/>
                  </a:cubicBezTo>
                  <a:cubicBezTo>
                    <a:pt x="31622" y="11354"/>
                    <a:pt x="31502" y="11577"/>
                    <a:pt x="31656" y="11714"/>
                  </a:cubicBezTo>
                  <a:cubicBezTo>
                    <a:pt x="31532" y="12056"/>
                    <a:pt x="31318" y="12359"/>
                    <a:pt x="31038" y="12590"/>
                  </a:cubicBezTo>
                  <a:cubicBezTo>
                    <a:pt x="31158" y="12676"/>
                    <a:pt x="31038" y="12848"/>
                    <a:pt x="31175" y="12968"/>
                  </a:cubicBezTo>
                  <a:cubicBezTo>
                    <a:pt x="30883" y="13123"/>
                    <a:pt x="32189" y="13999"/>
                    <a:pt x="31382" y="13793"/>
                  </a:cubicBezTo>
                  <a:cubicBezTo>
                    <a:pt x="31382" y="13793"/>
                    <a:pt x="30901" y="13793"/>
                    <a:pt x="31210" y="13913"/>
                  </a:cubicBezTo>
                  <a:cubicBezTo>
                    <a:pt x="31519" y="14033"/>
                    <a:pt x="31811" y="14119"/>
                    <a:pt x="31485" y="14050"/>
                  </a:cubicBezTo>
                  <a:cubicBezTo>
                    <a:pt x="31485" y="14050"/>
                    <a:pt x="31485" y="14257"/>
                    <a:pt x="31364" y="14188"/>
                  </a:cubicBezTo>
                  <a:cubicBezTo>
                    <a:pt x="31244" y="14119"/>
                    <a:pt x="31467" y="14325"/>
                    <a:pt x="31364" y="14342"/>
                  </a:cubicBezTo>
                  <a:cubicBezTo>
                    <a:pt x="31485" y="14342"/>
                    <a:pt x="31519" y="14600"/>
                    <a:pt x="31364" y="14514"/>
                  </a:cubicBezTo>
                  <a:cubicBezTo>
                    <a:pt x="31502" y="14789"/>
                    <a:pt x="31519" y="15510"/>
                    <a:pt x="31090" y="15236"/>
                  </a:cubicBezTo>
                  <a:cubicBezTo>
                    <a:pt x="30815" y="16301"/>
                    <a:pt x="30059" y="14153"/>
                    <a:pt x="30162" y="14050"/>
                  </a:cubicBezTo>
                  <a:cubicBezTo>
                    <a:pt x="29990" y="13947"/>
                    <a:pt x="29939" y="13844"/>
                    <a:pt x="29939" y="13810"/>
                  </a:cubicBezTo>
                  <a:cubicBezTo>
                    <a:pt x="29958" y="13906"/>
                    <a:pt x="29958" y="14006"/>
                    <a:pt x="29939" y="14102"/>
                  </a:cubicBezTo>
                  <a:cubicBezTo>
                    <a:pt x="29939" y="14102"/>
                    <a:pt x="29939" y="14102"/>
                    <a:pt x="29733" y="13965"/>
                  </a:cubicBezTo>
                  <a:cubicBezTo>
                    <a:pt x="29733" y="14119"/>
                    <a:pt x="29733" y="14360"/>
                    <a:pt x="29595" y="14291"/>
                  </a:cubicBezTo>
                  <a:cubicBezTo>
                    <a:pt x="29733" y="14463"/>
                    <a:pt x="29286" y="14583"/>
                    <a:pt x="29183" y="14428"/>
                  </a:cubicBezTo>
                  <a:cubicBezTo>
                    <a:pt x="29080" y="14549"/>
                    <a:pt x="28651" y="14050"/>
                    <a:pt x="29183" y="14102"/>
                  </a:cubicBezTo>
                  <a:cubicBezTo>
                    <a:pt x="28960" y="14102"/>
                    <a:pt x="29183" y="13999"/>
                    <a:pt x="29011" y="13879"/>
                  </a:cubicBezTo>
                  <a:cubicBezTo>
                    <a:pt x="29011" y="14188"/>
                    <a:pt x="28771" y="13690"/>
                    <a:pt x="29011" y="13879"/>
                  </a:cubicBezTo>
                  <a:cubicBezTo>
                    <a:pt x="29252" y="14068"/>
                    <a:pt x="29011" y="13879"/>
                    <a:pt x="29166" y="13776"/>
                  </a:cubicBezTo>
                  <a:cubicBezTo>
                    <a:pt x="28960" y="13776"/>
                    <a:pt x="29166" y="13449"/>
                    <a:pt x="29166" y="13655"/>
                  </a:cubicBezTo>
                  <a:cubicBezTo>
                    <a:pt x="29118" y="13609"/>
                    <a:pt x="29118" y="13533"/>
                    <a:pt x="29164" y="13485"/>
                  </a:cubicBezTo>
                  <a:cubicBezTo>
                    <a:pt x="29165" y="13485"/>
                    <a:pt x="29165" y="13484"/>
                    <a:pt x="29166" y="13484"/>
                  </a:cubicBezTo>
                  <a:cubicBezTo>
                    <a:pt x="28943" y="13569"/>
                    <a:pt x="28822" y="13724"/>
                    <a:pt x="28943" y="13484"/>
                  </a:cubicBezTo>
                  <a:cubicBezTo>
                    <a:pt x="28788" y="13484"/>
                    <a:pt x="28736" y="13569"/>
                    <a:pt x="28943" y="13381"/>
                  </a:cubicBezTo>
                  <a:cubicBezTo>
                    <a:pt x="28599" y="13243"/>
                    <a:pt x="29544" y="13484"/>
                    <a:pt x="29355" y="13157"/>
                  </a:cubicBezTo>
                  <a:cubicBezTo>
                    <a:pt x="29355" y="13329"/>
                    <a:pt x="28582" y="13295"/>
                    <a:pt x="28994" y="13157"/>
                  </a:cubicBezTo>
                  <a:cubicBezTo>
                    <a:pt x="28651" y="13157"/>
                    <a:pt x="28994" y="13037"/>
                    <a:pt x="29183" y="13020"/>
                  </a:cubicBezTo>
                  <a:cubicBezTo>
                    <a:pt x="28822" y="13020"/>
                    <a:pt x="28754" y="12831"/>
                    <a:pt x="29046" y="12917"/>
                  </a:cubicBezTo>
                  <a:cubicBezTo>
                    <a:pt x="28960" y="12917"/>
                    <a:pt x="29046" y="12779"/>
                    <a:pt x="29183" y="12917"/>
                  </a:cubicBezTo>
                  <a:lnTo>
                    <a:pt x="29183" y="12797"/>
                  </a:lnTo>
                  <a:cubicBezTo>
                    <a:pt x="29183" y="12797"/>
                    <a:pt x="29183" y="12797"/>
                    <a:pt x="29441" y="12797"/>
                  </a:cubicBezTo>
                  <a:cubicBezTo>
                    <a:pt x="29114" y="12797"/>
                    <a:pt x="29303" y="12590"/>
                    <a:pt x="29578" y="12797"/>
                  </a:cubicBezTo>
                  <a:cubicBezTo>
                    <a:pt x="29217" y="12505"/>
                    <a:pt x="29578" y="12797"/>
                    <a:pt x="29578" y="12676"/>
                  </a:cubicBezTo>
                  <a:cubicBezTo>
                    <a:pt x="29578" y="12556"/>
                    <a:pt x="29922" y="12213"/>
                    <a:pt x="29767" y="12676"/>
                  </a:cubicBezTo>
                  <a:cubicBezTo>
                    <a:pt x="30007" y="12539"/>
                    <a:pt x="29973" y="12539"/>
                    <a:pt x="30059" y="12298"/>
                  </a:cubicBezTo>
                  <a:cubicBezTo>
                    <a:pt x="30145" y="12058"/>
                    <a:pt x="29784" y="12814"/>
                    <a:pt x="29801" y="12419"/>
                  </a:cubicBezTo>
                  <a:cubicBezTo>
                    <a:pt x="29664" y="12522"/>
                    <a:pt x="29801" y="12161"/>
                    <a:pt x="29801" y="12195"/>
                  </a:cubicBezTo>
                  <a:cubicBezTo>
                    <a:pt x="29801" y="12230"/>
                    <a:pt x="29990" y="12006"/>
                    <a:pt x="30145" y="11766"/>
                  </a:cubicBezTo>
                  <a:cubicBezTo>
                    <a:pt x="29990" y="11886"/>
                    <a:pt x="30059" y="11525"/>
                    <a:pt x="30145" y="11611"/>
                  </a:cubicBezTo>
                  <a:cubicBezTo>
                    <a:pt x="30231" y="11697"/>
                    <a:pt x="30145" y="11440"/>
                    <a:pt x="30145" y="11525"/>
                  </a:cubicBezTo>
                  <a:cubicBezTo>
                    <a:pt x="30042" y="11319"/>
                    <a:pt x="30145" y="11440"/>
                    <a:pt x="30145" y="11337"/>
                  </a:cubicBezTo>
                  <a:cubicBezTo>
                    <a:pt x="29939" y="11337"/>
                    <a:pt x="30145" y="11233"/>
                    <a:pt x="30025" y="11148"/>
                  </a:cubicBezTo>
                  <a:cubicBezTo>
                    <a:pt x="29904" y="11062"/>
                    <a:pt x="30025" y="10821"/>
                    <a:pt x="30334" y="10976"/>
                  </a:cubicBezTo>
                  <a:cubicBezTo>
                    <a:pt x="30179" y="10890"/>
                    <a:pt x="30111" y="10735"/>
                    <a:pt x="30334" y="10838"/>
                  </a:cubicBezTo>
                  <a:cubicBezTo>
                    <a:pt x="30557" y="10941"/>
                    <a:pt x="30162" y="10701"/>
                    <a:pt x="30334" y="10684"/>
                  </a:cubicBezTo>
                  <a:cubicBezTo>
                    <a:pt x="30042" y="10684"/>
                    <a:pt x="30334" y="10684"/>
                    <a:pt x="30334" y="10478"/>
                  </a:cubicBezTo>
                  <a:cubicBezTo>
                    <a:pt x="30523" y="10478"/>
                    <a:pt x="30488" y="10478"/>
                    <a:pt x="30506" y="10478"/>
                  </a:cubicBezTo>
                  <a:cubicBezTo>
                    <a:pt x="30918" y="10564"/>
                    <a:pt x="30214" y="10323"/>
                    <a:pt x="30506" y="10323"/>
                  </a:cubicBezTo>
                  <a:cubicBezTo>
                    <a:pt x="30506" y="10323"/>
                    <a:pt x="30506" y="10220"/>
                    <a:pt x="30506" y="10220"/>
                  </a:cubicBezTo>
                  <a:cubicBezTo>
                    <a:pt x="30506" y="10220"/>
                    <a:pt x="30506" y="9911"/>
                    <a:pt x="30609" y="10117"/>
                  </a:cubicBezTo>
                  <a:cubicBezTo>
                    <a:pt x="30712" y="10323"/>
                    <a:pt x="30609" y="10117"/>
                    <a:pt x="30609" y="10117"/>
                  </a:cubicBezTo>
                  <a:cubicBezTo>
                    <a:pt x="30385" y="9980"/>
                    <a:pt x="30609" y="10014"/>
                    <a:pt x="30609" y="10117"/>
                  </a:cubicBezTo>
                  <a:cubicBezTo>
                    <a:pt x="30609" y="10220"/>
                    <a:pt x="30609" y="9773"/>
                    <a:pt x="30609" y="10117"/>
                  </a:cubicBezTo>
                  <a:cubicBezTo>
                    <a:pt x="30609" y="9670"/>
                    <a:pt x="30609" y="10237"/>
                    <a:pt x="30798" y="10117"/>
                  </a:cubicBezTo>
                  <a:cubicBezTo>
                    <a:pt x="30609" y="9773"/>
                    <a:pt x="31021" y="10117"/>
                    <a:pt x="30798" y="9739"/>
                  </a:cubicBezTo>
                  <a:cubicBezTo>
                    <a:pt x="30901" y="9739"/>
                    <a:pt x="31038" y="9911"/>
                    <a:pt x="31124" y="9894"/>
                  </a:cubicBezTo>
                  <a:cubicBezTo>
                    <a:pt x="31210" y="9877"/>
                    <a:pt x="31124" y="9602"/>
                    <a:pt x="31124" y="9619"/>
                  </a:cubicBezTo>
                  <a:cubicBezTo>
                    <a:pt x="31124" y="9636"/>
                    <a:pt x="30969" y="9464"/>
                    <a:pt x="31124" y="9619"/>
                  </a:cubicBezTo>
                  <a:cubicBezTo>
                    <a:pt x="31279" y="9773"/>
                    <a:pt x="31124" y="9499"/>
                    <a:pt x="31124" y="9619"/>
                  </a:cubicBezTo>
                  <a:cubicBezTo>
                    <a:pt x="31244" y="9447"/>
                    <a:pt x="31279" y="10426"/>
                    <a:pt x="31261" y="9619"/>
                  </a:cubicBezTo>
                  <a:cubicBezTo>
                    <a:pt x="31536" y="10134"/>
                    <a:pt x="31261" y="9516"/>
                    <a:pt x="31450" y="9499"/>
                  </a:cubicBezTo>
                  <a:cubicBezTo>
                    <a:pt x="31639" y="9481"/>
                    <a:pt x="31450" y="9653"/>
                    <a:pt x="31553" y="9842"/>
                  </a:cubicBezTo>
                  <a:cubicBezTo>
                    <a:pt x="31656" y="10031"/>
                    <a:pt x="31639" y="9842"/>
                    <a:pt x="31674" y="9842"/>
                  </a:cubicBezTo>
                  <a:cubicBezTo>
                    <a:pt x="31502" y="9499"/>
                    <a:pt x="31863" y="9688"/>
                    <a:pt x="31845" y="9842"/>
                  </a:cubicBezTo>
                  <a:cubicBezTo>
                    <a:pt x="32172" y="9842"/>
                    <a:pt x="32051" y="10134"/>
                    <a:pt x="31742" y="10031"/>
                  </a:cubicBezTo>
                  <a:cubicBezTo>
                    <a:pt x="31845" y="10031"/>
                    <a:pt x="31948" y="10031"/>
                    <a:pt x="32000" y="10220"/>
                  </a:cubicBezTo>
                  <a:cubicBezTo>
                    <a:pt x="32051" y="10409"/>
                    <a:pt x="32120" y="10083"/>
                    <a:pt x="32275" y="10220"/>
                  </a:cubicBezTo>
                  <a:cubicBezTo>
                    <a:pt x="32275" y="10100"/>
                    <a:pt x="32275" y="10117"/>
                    <a:pt x="32275" y="10048"/>
                  </a:cubicBezTo>
                  <a:cubicBezTo>
                    <a:pt x="32275" y="9980"/>
                    <a:pt x="32653" y="10306"/>
                    <a:pt x="32378" y="10048"/>
                  </a:cubicBezTo>
                  <a:cubicBezTo>
                    <a:pt x="32378" y="10237"/>
                    <a:pt x="32567" y="10048"/>
                    <a:pt x="32584" y="10220"/>
                  </a:cubicBezTo>
                  <a:cubicBezTo>
                    <a:pt x="32601" y="10392"/>
                    <a:pt x="33220" y="10220"/>
                    <a:pt x="33683" y="10529"/>
                  </a:cubicBezTo>
                  <a:cubicBezTo>
                    <a:pt x="33563" y="10392"/>
                    <a:pt x="34044" y="10735"/>
                    <a:pt x="33804" y="10529"/>
                  </a:cubicBezTo>
                  <a:cubicBezTo>
                    <a:pt x="34697" y="10838"/>
                    <a:pt x="34611" y="11852"/>
                    <a:pt x="33597" y="11354"/>
                  </a:cubicBezTo>
                  <a:cubicBezTo>
                    <a:pt x="33477" y="11354"/>
                    <a:pt x="33477" y="11354"/>
                    <a:pt x="33426" y="11354"/>
                  </a:cubicBezTo>
                  <a:cubicBezTo>
                    <a:pt x="33374" y="11354"/>
                    <a:pt x="32910" y="11096"/>
                    <a:pt x="33065" y="11354"/>
                  </a:cubicBezTo>
                  <a:cubicBezTo>
                    <a:pt x="33220" y="11611"/>
                    <a:pt x="33460" y="11491"/>
                    <a:pt x="33357" y="11663"/>
                  </a:cubicBezTo>
                  <a:cubicBezTo>
                    <a:pt x="33632" y="11663"/>
                    <a:pt x="34834" y="13277"/>
                    <a:pt x="34576" y="12333"/>
                  </a:cubicBezTo>
                  <a:cubicBezTo>
                    <a:pt x="34388" y="12505"/>
                    <a:pt x="34113" y="12058"/>
                    <a:pt x="34250" y="12006"/>
                  </a:cubicBezTo>
                  <a:cubicBezTo>
                    <a:pt x="35693" y="12917"/>
                    <a:pt x="33975" y="11148"/>
                    <a:pt x="34972" y="11474"/>
                  </a:cubicBezTo>
                  <a:cubicBezTo>
                    <a:pt x="34972" y="11337"/>
                    <a:pt x="35092" y="11474"/>
                    <a:pt x="35143" y="11474"/>
                  </a:cubicBezTo>
                  <a:cubicBezTo>
                    <a:pt x="34895" y="11040"/>
                    <a:pt x="34569" y="10656"/>
                    <a:pt x="34181" y="10340"/>
                  </a:cubicBezTo>
                  <a:cubicBezTo>
                    <a:pt x="34491" y="10340"/>
                    <a:pt x="34972" y="10443"/>
                    <a:pt x="34800" y="10753"/>
                  </a:cubicBezTo>
                  <a:cubicBezTo>
                    <a:pt x="35195" y="11354"/>
                    <a:pt x="35349" y="10753"/>
                    <a:pt x="35143" y="10529"/>
                  </a:cubicBezTo>
                  <a:cubicBezTo>
                    <a:pt x="35315" y="10529"/>
                    <a:pt x="35143" y="9945"/>
                    <a:pt x="35401" y="10289"/>
                  </a:cubicBezTo>
                  <a:cubicBezTo>
                    <a:pt x="35401" y="10186"/>
                    <a:pt x="35178" y="9980"/>
                    <a:pt x="35401" y="10151"/>
                  </a:cubicBezTo>
                  <a:cubicBezTo>
                    <a:pt x="35229" y="9705"/>
                    <a:pt x="35521" y="10151"/>
                    <a:pt x="35727" y="10306"/>
                  </a:cubicBezTo>
                  <a:cubicBezTo>
                    <a:pt x="35727" y="10203"/>
                    <a:pt x="35727" y="10169"/>
                    <a:pt x="35727" y="10306"/>
                  </a:cubicBezTo>
                  <a:cubicBezTo>
                    <a:pt x="35504" y="10048"/>
                    <a:pt x="35882" y="10134"/>
                    <a:pt x="35830" y="9842"/>
                  </a:cubicBezTo>
                  <a:cubicBezTo>
                    <a:pt x="35951" y="9997"/>
                    <a:pt x="36311" y="10272"/>
                    <a:pt x="36019" y="9945"/>
                  </a:cubicBezTo>
                  <a:cubicBezTo>
                    <a:pt x="36191" y="9945"/>
                    <a:pt x="35916" y="9791"/>
                    <a:pt x="36122" y="9945"/>
                  </a:cubicBezTo>
                  <a:cubicBezTo>
                    <a:pt x="36035" y="9882"/>
                    <a:pt x="35943" y="9824"/>
                    <a:pt x="35848" y="9773"/>
                  </a:cubicBezTo>
                  <a:lnTo>
                    <a:pt x="35848" y="9773"/>
                  </a:lnTo>
                  <a:cubicBezTo>
                    <a:pt x="35057" y="9155"/>
                    <a:pt x="36586" y="9619"/>
                    <a:pt x="36981" y="9894"/>
                  </a:cubicBezTo>
                  <a:cubicBezTo>
                    <a:pt x="36792" y="9619"/>
                    <a:pt x="36517" y="9567"/>
                    <a:pt x="36260" y="9361"/>
                  </a:cubicBezTo>
                  <a:lnTo>
                    <a:pt x="36260" y="9361"/>
                  </a:lnTo>
                  <a:cubicBezTo>
                    <a:pt x="36260" y="9361"/>
                    <a:pt x="36260" y="9361"/>
                    <a:pt x="36140" y="9361"/>
                  </a:cubicBezTo>
                  <a:lnTo>
                    <a:pt x="36140" y="9361"/>
                  </a:lnTo>
                  <a:lnTo>
                    <a:pt x="35882" y="9155"/>
                  </a:lnTo>
                  <a:cubicBezTo>
                    <a:pt x="36019" y="9155"/>
                    <a:pt x="35624" y="8983"/>
                    <a:pt x="35727" y="8983"/>
                  </a:cubicBezTo>
                  <a:cubicBezTo>
                    <a:pt x="35504" y="8880"/>
                    <a:pt x="34353" y="7918"/>
                    <a:pt x="34594" y="7884"/>
                  </a:cubicBezTo>
                  <a:cubicBezTo>
                    <a:pt x="35435" y="8193"/>
                    <a:pt x="36311" y="9086"/>
                    <a:pt x="37136" y="9602"/>
                  </a:cubicBezTo>
                  <a:lnTo>
                    <a:pt x="37136" y="9602"/>
                  </a:lnTo>
                  <a:cubicBezTo>
                    <a:pt x="37389" y="9800"/>
                    <a:pt x="37614" y="10031"/>
                    <a:pt x="37806" y="10289"/>
                  </a:cubicBezTo>
                  <a:lnTo>
                    <a:pt x="37806" y="10289"/>
                  </a:lnTo>
                  <a:cubicBezTo>
                    <a:pt x="37995" y="10409"/>
                    <a:pt x="37977" y="10581"/>
                    <a:pt x="37806" y="10289"/>
                  </a:cubicBezTo>
                  <a:cubicBezTo>
                    <a:pt x="37806" y="10289"/>
                    <a:pt x="37479" y="10289"/>
                    <a:pt x="37703" y="10426"/>
                  </a:cubicBezTo>
                  <a:cubicBezTo>
                    <a:pt x="38939" y="10701"/>
                    <a:pt x="37256" y="9619"/>
                    <a:pt x="37101" y="9275"/>
                  </a:cubicBezTo>
                  <a:cubicBezTo>
                    <a:pt x="37101" y="9275"/>
                    <a:pt x="37101" y="9275"/>
                    <a:pt x="37101" y="9275"/>
                  </a:cubicBezTo>
                  <a:cubicBezTo>
                    <a:pt x="36284" y="8916"/>
                    <a:pt x="35525" y="8435"/>
                    <a:pt x="34851" y="7850"/>
                  </a:cubicBezTo>
                  <a:cubicBezTo>
                    <a:pt x="35229" y="8021"/>
                    <a:pt x="35573" y="8399"/>
                    <a:pt x="35933" y="8451"/>
                  </a:cubicBezTo>
                  <a:cubicBezTo>
                    <a:pt x="35796" y="8262"/>
                    <a:pt x="36208" y="8571"/>
                    <a:pt x="36105" y="8451"/>
                  </a:cubicBezTo>
                  <a:cubicBezTo>
                    <a:pt x="35827" y="8436"/>
                    <a:pt x="35564" y="8320"/>
                    <a:pt x="35367" y="8125"/>
                  </a:cubicBezTo>
                  <a:cubicBezTo>
                    <a:pt x="35727" y="8279"/>
                    <a:pt x="35367" y="8125"/>
                    <a:pt x="35367" y="8039"/>
                  </a:cubicBezTo>
                  <a:lnTo>
                    <a:pt x="35367" y="8039"/>
                  </a:lnTo>
                  <a:cubicBezTo>
                    <a:pt x="34886" y="7455"/>
                    <a:pt x="37084" y="8880"/>
                    <a:pt x="36363" y="8331"/>
                  </a:cubicBezTo>
                  <a:cubicBezTo>
                    <a:pt x="36637" y="8531"/>
                    <a:pt x="36938" y="8693"/>
                    <a:pt x="37256" y="8812"/>
                  </a:cubicBezTo>
                  <a:cubicBezTo>
                    <a:pt x="36947" y="8605"/>
                    <a:pt x="37256" y="8691"/>
                    <a:pt x="37428" y="8812"/>
                  </a:cubicBezTo>
                  <a:cubicBezTo>
                    <a:pt x="37325" y="8709"/>
                    <a:pt x="37033" y="8588"/>
                    <a:pt x="37101" y="8709"/>
                  </a:cubicBezTo>
                  <a:cubicBezTo>
                    <a:pt x="36569" y="8468"/>
                    <a:pt x="36019" y="8056"/>
                    <a:pt x="35384" y="7798"/>
                  </a:cubicBezTo>
                  <a:cubicBezTo>
                    <a:pt x="35212" y="7798"/>
                    <a:pt x="34405" y="7403"/>
                    <a:pt x="34525" y="7231"/>
                  </a:cubicBezTo>
                  <a:cubicBezTo>
                    <a:pt x="34284" y="6922"/>
                    <a:pt x="34697" y="7334"/>
                    <a:pt x="34851" y="7317"/>
                  </a:cubicBezTo>
                  <a:cubicBezTo>
                    <a:pt x="34628" y="7317"/>
                    <a:pt x="34491" y="7042"/>
                    <a:pt x="34267" y="7008"/>
                  </a:cubicBezTo>
                  <a:cubicBezTo>
                    <a:pt x="34044" y="6974"/>
                    <a:pt x="34061" y="7008"/>
                    <a:pt x="34027" y="6922"/>
                  </a:cubicBezTo>
                  <a:cubicBezTo>
                    <a:pt x="33992" y="6836"/>
                    <a:pt x="34130" y="6922"/>
                    <a:pt x="34027" y="6922"/>
                  </a:cubicBezTo>
                  <a:cubicBezTo>
                    <a:pt x="33924" y="6922"/>
                    <a:pt x="33838" y="6836"/>
                    <a:pt x="33872" y="6922"/>
                  </a:cubicBezTo>
                  <a:cubicBezTo>
                    <a:pt x="33907" y="7008"/>
                    <a:pt x="33683" y="6802"/>
                    <a:pt x="33872" y="6922"/>
                  </a:cubicBezTo>
                  <a:lnTo>
                    <a:pt x="33615" y="6768"/>
                  </a:lnTo>
                  <a:cubicBezTo>
                    <a:pt x="33615" y="6768"/>
                    <a:pt x="33615" y="6768"/>
                    <a:pt x="33615" y="6768"/>
                  </a:cubicBezTo>
                  <a:lnTo>
                    <a:pt x="33168" y="6458"/>
                  </a:lnTo>
                  <a:lnTo>
                    <a:pt x="33168" y="6458"/>
                  </a:lnTo>
                  <a:cubicBezTo>
                    <a:pt x="33086" y="6395"/>
                    <a:pt x="33000" y="6338"/>
                    <a:pt x="32910" y="6287"/>
                  </a:cubicBezTo>
                  <a:lnTo>
                    <a:pt x="32910" y="6287"/>
                  </a:lnTo>
                  <a:lnTo>
                    <a:pt x="32910" y="6287"/>
                  </a:lnTo>
                  <a:lnTo>
                    <a:pt x="32910" y="6287"/>
                  </a:lnTo>
                  <a:lnTo>
                    <a:pt x="32687" y="6184"/>
                  </a:lnTo>
                  <a:lnTo>
                    <a:pt x="32687" y="6184"/>
                  </a:lnTo>
                  <a:cubicBezTo>
                    <a:pt x="32687" y="6184"/>
                    <a:pt x="32515" y="6184"/>
                    <a:pt x="32687" y="6184"/>
                  </a:cubicBezTo>
                  <a:lnTo>
                    <a:pt x="32687" y="6184"/>
                  </a:lnTo>
                  <a:lnTo>
                    <a:pt x="32687" y="6184"/>
                  </a:lnTo>
                  <a:lnTo>
                    <a:pt x="32962" y="6287"/>
                  </a:lnTo>
                  <a:lnTo>
                    <a:pt x="32739" y="6184"/>
                  </a:lnTo>
                  <a:lnTo>
                    <a:pt x="32893" y="6184"/>
                  </a:lnTo>
                  <a:lnTo>
                    <a:pt x="32807" y="6184"/>
                  </a:lnTo>
                  <a:cubicBezTo>
                    <a:pt x="32762" y="6174"/>
                    <a:pt x="32715" y="6174"/>
                    <a:pt x="32670" y="6184"/>
                  </a:cubicBezTo>
                  <a:lnTo>
                    <a:pt x="32670" y="6184"/>
                  </a:lnTo>
                  <a:cubicBezTo>
                    <a:pt x="32625" y="6193"/>
                    <a:pt x="32578" y="6193"/>
                    <a:pt x="32532" y="6184"/>
                  </a:cubicBezTo>
                  <a:lnTo>
                    <a:pt x="32876" y="6304"/>
                  </a:lnTo>
                  <a:cubicBezTo>
                    <a:pt x="32750" y="6242"/>
                    <a:pt x="32618" y="6196"/>
                    <a:pt x="32481" y="6166"/>
                  </a:cubicBezTo>
                  <a:lnTo>
                    <a:pt x="32481" y="6166"/>
                  </a:lnTo>
                  <a:cubicBezTo>
                    <a:pt x="32481" y="6166"/>
                    <a:pt x="32292" y="6166"/>
                    <a:pt x="32343" y="6166"/>
                  </a:cubicBezTo>
                  <a:cubicBezTo>
                    <a:pt x="32395" y="6166"/>
                    <a:pt x="32343" y="6166"/>
                    <a:pt x="32343" y="6166"/>
                  </a:cubicBezTo>
                  <a:lnTo>
                    <a:pt x="32343" y="6166"/>
                  </a:lnTo>
                  <a:lnTo>
                    <a:pt x="32206" y="6166"/>
                  </a:lnTo>
                  <a:lnTo>
                    <a:pt x="32206" y="6166"/>
                  </a:lnTo>
                  <a:lnTo>
                    <a:pt x="31742" y="6029"/>
                  </a:lnTo>
                  <a:lnTo>
                    <a:pt x="31742" y="6029"/>
                  </a:lnTo>
                  <a:cubicBezTo>
                    <a:pt x="31571" y="6029"/>
                    <a:pt x="30763" y="5720"/>
                    <a:pt x="30952" y="5754"/>
                  </a:cubicBezTo>
                  <a:lnTo>
                    <a:pt x="30952" y="5754"/>
                  </a:lnTo>
                  <a:lnTo>
                    <a:pt x="31055" y="5754"/>
                  </a:lnTo>
                  <a:lnTo>
                    <a:pt x="31055" y="5754"/>
                  </a:lnTo>
                  <a:cubicBezTo>
                    <a:pt x="31244" y="5754"/>
                    <a:pt x="31416" y="5857"/>
                    <a:pt x="31605" y="5909"/>
                  </a:cubicBezTo>
                  <a:lnTo>
                    <a:pt x="31416" y="5909"/>
                  </a:lnTo>
                  <a:lnTo>
                    <a:pt x="31588" y="5909"/>
                  </a:lnTo>
                  <a:lnTo>
                    <a:pt x="31485" y="5909"/>
                  </a:lnTo>
                  <a:cubicBezTo>
                    <a:pt x="31588" y="5909"/>
                    <a:pt x="31364" y="5909"/>
                    <a:pt x="31485" y="5909"/>
                  </a:cubicBezTo>
                  <a:lnTo>
                    <a:pt x="31485" y="5909"/>
                  </a:lnTo>
                  <a:cubicBezTo>
                    <a:pt x="31794" y="5995"/>
                    <a:pt x="32481" y="6201"/>
                    <a:pt x="31811" y="5909"/>
                  </a:cubicBezTo>
                  <a:lnTo>
                    <a:pt x="31811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2292" y="6046"/>
                  </a:lnTo>
                  <a:lnTo>
                    <a:pt x="32051" y="6046"/>
                  </a:lnTo>
                  <a:lnTo>
                    <a:pt x="32378" y="6046"/>
                  </a:lnTo>
                  <a:lnTo>
                    <a:pt x="32635" y="6046"/>
                  </a:lnTo>
                  <a:lnTo>
                    <a:pt x="32635" y="6046"/>
                  </a:lnTo>
                  <a:cubicBezTo>
                    <a:pt x="32412" y="6046"/>
                    <a:pt x="32635" y="6046"/>
                    <a:pt x="32773" y="6046"/>
                  </a:cubicBezTo>
                  <a:lnTo>
                    <a:pt x="32773" y="6046"/>
                  </a:lnTo>
                  <a:lnTo>
                    <a:pt x="32773" y="6046"/>
                  </a:lnTo>
                  <a:cubicBezTo>
                    <a:pt x="33198" y="6156"/>
                    <a:pt x="33612" y="6306"/>
                    <a:pt x="34010" y="6493"/>
                  </a:cubicBezTo>
                  <a:cubicBezTo>
                    <a:pt x="34010" y="6493"/>
                    <a:pt x="34010" y="6493"/>
                    <a:pt x="34010" y="6493"/>
                  </a:cubicBezTo>
                  <a:cubicBezTo>
                    <a:pt x="34010" y="6493"/>
                    <a:pt x="34456" y="6665"/>
                    <a:pt x="34645" y="6768"/>
                  </a:cubicBezTo>
                  <a:lnTo>
                    <a:pt x="34645" y="6768"/>
                  </a:lnTo>
                  <a:lnTo>
                    <a:pt x="35470" y="7163"/>
                  </a:lnTo>
                  <a:cubicBezTo>
                    <a:pt x="35212" y="7025"/>
                    <a:pt x="34954" y="6871"/>
                    <a:pt x="34662" y="6733"/>
                  </a:cubicBezTo>
                  <a:lnTo>
                    <a:pt x="34662" y="6733"/>
                  </a:lnTo>
                  <a:lnTo>
                    <a:pt x="34353" y="6596"/>
                  </a:lnTo>
                  <a:lnTo>
                    <a:pt x="34491" y="6596"/>
                  </a:lnTo>
                  <a:cubicBezTo>
                    <a:pt x="34491" y="6596"/>
                    <a:pt x="34044" y="6441"/>
                    <a:pt x="34250" y="6493"/>
                  </a:cubicBezTo>
                  <a:lnTo>
                    <a:pt x="34113" y="6493"/>
                  </a:lnTo>
                  <a:lnTo>
                    <a:pt x="34422" y="6596"/>
                  </a:lnTo>
                  <a:cubicBezTo>
                    <a:pt x="34327" y="6538"/>
                    <a:pt x="34222" y="6497"/>
                    <a:pt x="34113" y="6476"/>
                  </a:cubicBezTo>
                  <a:cubicBezTo>
                    <a:pt x="34287" y="6517"/>
                    <a:pt x="34459" y="6568"/>
                    <a:pt x="34628" y="6630"/>
                  </a:cubicBezTo>
                  <a:lnTo>
                    <a:pt x="34473" y="6630"/>
                  </a:lnTo>
                  <a:lnTo>
                    <a:pt x="34473" y="6630"/>
                  </a:lnTo>
                  <a:lnTo>
                    <a:pt x="33700" y="4827"/>
                  </a:lnTo>
                  <a:cubicBezTo>
                    <a:pt x="42679" y="7791"/>
                    <a:pt x="48892" y="15993"/>
                    <a:pt x="49314" y="25438"/>
                  </a:cubicBezTo>
                  <a:cubicBezTo>
                    <a:pt x="49301" y="25780"/>
                    <a:pt x="49255" y="26119"/>
                    <a:pt x="49177" y="26452"/>
                  </a:cubicBezTo>
                  <a:cubicBezTo>
                    <a:pt x="49245" y="26349"/>
                    <a:pt x="49159" y="26538"/>
                    <a:pt x="49159" y="26589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20" name="Google Shape;220;p65"/>
            <p:cNvSpPr/>
            <p:nvPr/>
          </p:nvSpPr>
          <p:spPr>
            <a:xfrm rot="-5400000">
              <a:off x="12026199" y="6563439"/>
              <a:ext cx="13277" cy="68070"/>
            </a:xfrm>
            <a:custGeom>
              <a:avLst/>
              <a:gdLst/>
              <a:ahLst/>
              <a:cxnLst/>
              <a:rect l="l" t="t" r="r" b="b"/>
              <a:pathLst>
                <a:path w="13277" h="68070" extrusionOk="0">
                  <a:moveTo>
                    <a:pt x="13277" y="12024"/>
                  </a:moveTo>
                  <a:lnTo>
                    <a:pt x="0" y="12024"/>
                  </a:lnTo>
                  <a:lnTo>
                    <a:pt x="0" y="0"/>
                  </a:lnTo>
                  <a:lnTo>
                    <a:pt x="13277" y="0"/>
                  </a:lnTo>
                  <a:close/>
                  <a:moveTo>
                    <a:pt x="0" y="17984"/>
                  </a:moveTo>
                  <a:lnTo>
                    <a:pt x="13277" y="17984"/>
                  </a:lnTo>
                  <a:lnTo>
                    <a:pt x="13277" y="68070"/>
                  </a:lnTo>
                  <a:lnTo>
                    <a:pt x="0" y="6807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21" name="Google Shape;221;p65"/>
            <p:cNvSpPr/>
            <p:nvPr/>
          </p:nvSpPr>
          <p:spPr>
            <a:xfrm rot="-5400000">
              <a:off x="12018640" y="6529825"/>
              <a:ext cx="45208" cy="51256"/>
            </a:xfrm>
            <a:custGeom>
              <a:avLst/>
              <a:gdLst/>
              <a:ahLst/>
              <a:cxnLst/>
              <a:rect l="l" t="t" r="r" b="b"/>
              <a:pathLst>
                <a:path w="45208" h="51256" extrusionOk="0">
                  <a:moveTo>
                    <a:pt x="40279" y="4038"/>
                  </a:moveTo>
                  <a:cubicBezTo>
                    <a:pt x="43565" y="6752"/>
                    <a:pt x="45209" y="11246"/>
                    <a:pt x="45209" y="17521"/>
                  </a:cubicBezTo>
                  <a:lnTo>
                    <a:pt x="45209" y="51256"/>
                  </a:lnTo>
                  <a:lnTo>
                    <a:pt x="31794" y="51256"/>
                  </a:lnTo>
                  <a:lnTo>
                    <a:pt x="31794" y="20785"/>
                  </a:lnTo>
                  <a:cubicBezTo>
                    <a:pt x="31892" y="18712"/>
                    <a:pt x="31535" y="16642"/>
                    <a:pt x="30746" y="14722"/>
                  </a:cubicBezTo>
                  <a:cubicBezTo>
                    <a:pt x="29458" y="12162"/>
                    <a:pt x="27036" y="10874"/>
                    <a:pt x="23446" y="10874"/>
                  </a:cubicBezTo>
                  <a:cubicBezTo>
                    <a:pt x="19509" y="10574"/>
                    <a:pt x="15832" y="12861"/>
                    <a:pt x="14360" y="16525"/>
                  </a:cubicBezTo>
                  <a:cubicBezTo>
                    <a:pt x="13437" y="18959"/>
                    <a:pt x="13005" y="21550"/>
                    <a:pt x="13089" y="24152"/>
                  </a:cubicBezTo>
                  <a:lnTo>
                    <a:pt x="13089" y="51256"/>
                  </a:lnTo>
                  <a:lnTo>
                    <a:pt x="0" y="51256"/>
                  </a:lnTo>
                  <a:lnTo>
                    <a:pt x="0" y="1272"/>
                  </a:lnTo>
                  <a:lnTo>
                    <a:pt x="12676" y="1272"/>
                  </a:lnTo>
                  <a:lnTo>
                    <a:pt x="12676" y="8607"/>
                  </a:lnTo>
                  <a:cubicBezTo>
                    <a:pt x="13939" y="6498"/>
                    <a:pt x="15548" y="4617"/>
                    <a:pt x="17434" y="3042"/>
                  </a:cubicBezTo>
                  <a:cubicBezTo>
                    <a:pt x="20409" y="938"/>
                    <a:pt x="23996" y="-125"/>
                    <a:pt x="27637" y="19"/>
                  </a:cubicBezTo>
                  <a:cubicBezTo>
                    <a:pt x="32194" y="-181"/>
                    <a:pt x="36674" y="1243"/>
                    <a:pt x="40279" y="403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22" name="Google Shape;222;p65"/>
            <p:cNvSpPr/>
            <p:nvPr/>
          </p:nvSpPr>
          <p:spPr>
            <a:xfrm rot="-5400000">
              <a:off x="12018195" y="6477145"/>
              <a:ext cx="28942" cy="68414"/>
            </a:xfrm>
            <a:custGeom>
              <a:avLst/>
              <a:gdLst/>
              <a:ahLst/>
              <a:cxnLst/>
              <a:rect l="l" t="t" r="r" b="b"/>
              <a:pathLst>
                <a:path w="28942" h="68414" extrusionOk="0">
                  <a:moveTo>
                    <a:pt x="25868" y="0"/>
                  </a:moveTo>
                  <a:lnTo>
                    <a:pt x="28616" y="206"/>
                  </a:lnTo>
                  <a:lnTo>
                    <a:pt x="28616" y="10941"/>
                  </a:lnTo>
                  <a:cubicBezTo>
                    <a:pt x="27390" y="10808"/>
                    <a:pt x="26157" y="10739"/>
                    <a:pt x="24923" y="10735"/>
                  </a:cubicBezTo>
                  <a:cubicBezTo>
                    <a:pt x="23616" y="10538"/>
                    <a:pt x="22290" y="10956"/>
                    <a:pt x="21333" y="11869"/>
                  </a:cubicBezTo>
                  <a:cubicBezTo>
                    <a:pt x="20704" y="12627"/>
                    <a:pt x="20358" y="13580"/>
                    <a:pt x="20354" y="14566"/>
                  </a:cubicBezTo>
                  <a:lnTo>
                    <a:pt x="20354" y="18791"/>
                  </a:lnTo>
                  <a:lnTo>
                    <a:pt x="28943" y="18791"/>
                  </a:lnTo>
                  <a:lnTo>
                    <a:pt x="28943" y="28032"/>
                  </a:lnTo>
                  <a:lnTo>
                    <a:pt x="20354" y="28032"/>
                  </a:lnTo>
                  <a:lnTo>
                    <a:pt x="20354" y="68414"/>
                  </a:lnTo>
                  <a:lnTo>
                    <a:pt x="7352" y="68414"/>
                  </a:lnTo>
                  <a:lnTo>
                    <a:pt x="7352" y="28032"/>
                  </a:lnTo>
                  <a:lnTo>
                    <a:pt x="0" y="28032"/>
                  </a:lnTo>
                  <a:lnTo>
                    <a:pt x="0" y="18791"/>
                  </a:lnTo>
                  <a:lnTo>
                    <a:pt x="7163" y="18791"/>
                  </a:lnTo>
                  <a:lnTo>
                    <a:pt x="7163" y="15579"/>
                  </a:lnTo>
                  <a:cubicBezTo>
                    <a:pt x="7163" y="10220"/>
                    <a:pt x="8067" y="6527"/>
                    <a:pt x="9877" y="4500"/>
                  </a:cubicBezTo>
                  <a:cubicBezTo>
                    <a:pt x="11783" y="1494"/>
                    <a:pt x="16352" y="0"/>
                    <a:pt x="23618" y="0"/>
                  </a:cubicBezTo>
                  <a:cubicBezTo>
                    <a:pt x="24442" y="0"/>
                    <a:pt x="25198" y="0"/>
                    <a:pt x="25868" y="0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23" name="Google Shape;223;p65"/>
            <p:cNvSpPr/>
            <p:nvPr/>
          </p:nvSpPr>
          <p:spPr>
            <a:xfrm rot="-5400000">
              <a:off x="12016830" y="6161182"/>
              <a:ext cx="49036" cy="51048"/>
            </a:xfrm>
            <a:custGeom>
              <a:avLst/>
              <a:gdLst/>
              <a:ahLst/>
              <a:cxnLst/>
              <a:rect l="l" t="t" r="r" b="b"/>
              <a:pathLst>
                <a:path w="49036" h="51048" extrusionOk="0">
                  <a:moveTo>
                    <a:pt x="42949" y="43542"/>
                  </a:moveTo>
                  <a:cubicBezTo>
                    <a:pt x="38907" y="48535"/>
                    <a:pt x="32763" y="51037"/>
                    <a:pt x="24519" y="51049"/>
                  </a:cubicBezTo>
                  <a:cubicBezTo>
                    <a:pt x="16274" y="51060"/>
                    <a:pt x="10125" y="48558"/>
                    <a:pt x="6071" y="43542"/>
                  </a:cubicBezTo>
                  <a:cubicBezTo>
                    <a:pt x="2000" y="38452"/>
                    <a:pt x="-145" y="32091"/>
                    <a:pt x="8" y="25576"/>
                  </a:cubicBezTo>
                  <a:cubicBezTo>
                    <a:pt x="-130" y="19058"/>
                    <a:pt x="2016" y="12697"/>
                    <a:pt x="6071" y="7592"/>
                  </a:cubicBezTo>
                  <a:cubicBezTo>
                    <a:pt x="10125" y="2519"/>
                    <a:pt x="16274" y="-11"/>
                    <a:pt x="24519" y="0"/>
                  </a:cubicBezTo>
                  <a:cubicBezTo>
                    <a:pt x="32763" y="12"/>
                    <a:pt x="38907" y="2542"/>
                    <a:pt x="42949" y="7592"/>
                  </a:cubicBezTo>
                  <a:cubicBezTo>
                    <a:pt x="47010" y="12695"/>
                    <a:pt x="49160" y="19056"/>
                    <a:pt x="49030" y="25576"/>
                  </a:cubicBezTo>
                  <a:cubicBezTo>
                    <a:pt x="49177" y="32093"/>
                    <a:pt x="47023" y="38454"/>
                    <a:pt x="42949" y="43542"/>
                  </a:cubicBezTo>
                  <a:close/>
                  <a:moveTo>
                    <a:pt x="32918" y="36672"/>
                  </a:moveTo>
                  <a:cubicBezTo>
                    <a:pt x="35077" y="33390"/>
                    <a:pt x="36115" y="29497"/>
                    <a:pt x="35872" y="25576"/>
                  </a:cubicBezTo>
                  <a:cubicBezTo>
                    <a:pt x="36123" y="21654"/>
                    <a:pt x="35086" y="17758"/>
                    <a:pt x="32918" y="14480"/>
                  </a:cubicBezTo>
                  <a:cubicBezTo>
                    <a:pt x="28893" y="9808"/>
                    <a:pt x="21844" y="9283"/>
                    <a:pt x="17172" y="13307"/>
                  </a:cubicBezTo>
                  <a:cubicBezTo>
                    <a:pt x="16753" y="13668"/>
                    <a:pt x="16360" y="14060"/>
                    <a:pt x="15999" y="14480"/>
                  </a:cubicBezTo>
                  <a:cubicBezTo>
                    <a:pt x="13826" y="17756"/>
                    <a:pt x="12782" y="21652"/>
                    <a:pt x="13027" y="25576"/>
                  </a:cubicBezTo>
                  <a:cubicBezTo>
                    <a:pt x="12782" y="29510"/>
                    <a:pt x="13824" y="33418"/>
                    <a:pt x="15999" y="36706"/>
                  </a:cubicBezTo>
                  <a:cubicBezTo>
                    <a:pt x="19994" y="41378"/>
                    <a:pt x="27020" y="41927"/>
                    <a:pt x="31692" y="37932"/>
                  </a:cubicBezTo>
                  <a:cubicBezTo>
                    <a:pt x="32131" y="37556"/>
                    <a:pt x="32542" y="37146"/>
                    <a:pt x="32918" y="36706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24" name="Google Shape;224;p65"/>
            <p:cNvSpPr/>
            <p:nvPr/>
          </p:nvSpPr>
          <p:spPr>
            <a:xfrm rot="-5400000">
              <a:off x="12005374" y="6370523"/>
              <a:ext cx="71791" cy="51205"/>
            </a:xfrm>
            <a:custGeom>
              <a:avLst/>
              <a:gdLst/>
              <a:ahLst/>
              <a:cxnLst/>
              <a:rect l="l" t="t" r="r" b="b"/>
              <a:pathLst>
                <a:path w="71791" h="51205" extrusionOk="0">
                  <a:moveTo>
                    <a:pt x="62643" y="1307"/>
                  </a:moveTo>
                  <a:cubicBezTo>
                    <a:pt x="64938" y="2282"/>
                    <a:pt x="66944" y="3832"/>
                    <a:pt x="68466" y="5808"/>
                  </a:cubicBezTo>
                  <a:cubicBezTo>
                    <a:pt x="69936" y="7685"/>
                    <a:pt x="70917" y="9898"/>
                    <a:pt x="71317" y="12249"/>
                  </a:cubicBezTo>
                  <a:cubicBezTo>
                    <a:pt x="71680" y="14693"/>
                    <a:pt x="71834" y="17164"/>
                    <a:pt x="71781" y="19635"/>
                  </a:cubicBezTo>
                  <a:lnTo>
                    <a:pt x="71781" y="51205"/>
                  </a:lnTo>
                  <a:lnTo>
                    <a:pt x="58349" y="51205"/>
                  </a:lnTo>
                  <a:lnTo>
                    <a:pt x="58349" y="19308"/>
                  </a:lnTo>
                  <a:cubicBezTo>
                    <a:pt x="58414" y="17701"/>
                    <a:pt x="58101" y="16101"/>
                    <a:pt x="57438" y="14636"/>
                  </a:cubicBezTo>
                  <a:cubicBezTo>
                    <a:pt x="56188" y="12289"/>
                    <a:pt x="53642" y="10931"/>
                    <a:pt x="50997" y="11201"/>
                  </a:cubicBezTo>
                  <a:cubicBezTo>
                    <a:pt x="47802" y="10957"/>
                    <a:pt x="44803" y="12763"/>
                    <a:pt x="43525" y="15701"/>
                  </a:cubicBezTo>
                  <a:cubicBezTo>
                    <a:pt x="42766" y="17522"/>
                    <a:pt x="42404" y="19483"/>
                    <a:pt x="42460" y="21455"/>
                  </a:cubicBezTo>
                  <a:lnTo>
                    <a:pt x="42460" y="51205"/>
                  </a:lnTo>
                  <a:lnTo>
                    <a:pt x="29269" y="51205"/>
                  </a:lnTo>
                  <a:lnTo>
                    <a:pt x="29269" y="21387"/>
                  </a:lnTo>
                  <a:cubicBezTo>
                    <a:pt x="29389" y="19189"/>
                    <a:pt x="29080" y="16990"/>
                    <a:pt x="28359" y="14911"/>
                  </a:cubicBezTo>
                  <a:cubicBezTo>
                    <a:pt x="27192" y="12446"/>
                    <a:pt x="24595" y="10986"/>
                    <a:pt x="21883" y="11270"/>
                  </a:cubicBezTo>
                  <a:cubicBezTo>
                    <a:pt x="18138" y="11270"/>
                    <a:pt x="15626" y="12484"/>
                    <a:pt x="14342" y="14911"/>
                  </a:cubicBezTo>
                  <a:cubicBezTo>
                    <a:pt x="13527" y="16854"/>
                    <a:pt x="13162" y="18956"/>
                    <a:pt x="13277" y="21060"/>
                  </a:cubicBezTo>
                  <a:lnTo>
                    <a:pt x="13277" y="51205"/>
                  </a:lnTo>
                  <a:lnTo>
                    <a:pt x="0" y="51205"/>
                  </a:lnTo>
                  <a:lnTo>
                    <a:pt x="0" y="1221"/>
                  </a:lnTo>
                  <a:lnTo>
                    <a:pt x="12728" y="1221"/>
                  </a:lnTo>
                  <a:lnTo>
                    <a:pt x="12728" y="8556"/>
                  </a:lnTo>
                  <a:cubicBezTo>
                    <a:pt x="13930" y="6449"/>
                    <a:pt x="15488" y="4567"/>
                    <a:pt x="17331" y="2991"/>
                  </a:cubicBezTo>
                  <a:cubicBezTo>
                    <a:pt x="23120" y="-769"/>
                    <a:pt x="30538" y="-929"/>
                    <a:pt x="36483" y="2578"/>
                  </a:cubicBezTo>
                  <a:cubicBezTo>
                    <a:pt x="38381" y="4179"/>
                    <a:pt x="39841" y="6236"/>
                    <a:pt x="40726" y="8556"/>
                  </a:cubicBezTo>
                  <a:cubicBezTo>
                    <a:pt x="42206" y="5843"/>
                    <a:pt x="44413" y="3595"/>
                    <a:pt x="47098" y="2063"/>
                  </a:cubicBezTo>
                  <a:cubicBezTo>
                    <a:pt x="49896" y="665"/>
                    <a:pt x="52988" y="-42"/>
                    <a:pt x="56116" y="2"/>
                  </a:cubicBezTo>
                  <a:cubicBezTo>
                    <a:pt x="58356" y="15"/>
                    <a:pt x="60571" y="458"/>
                    <a:pt x="62643" y="1307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25" name="Google Shape;225;p65"/>
            <p:cNvSpPr/>
            <p:nvPr/>
          </p:nvSpPr>
          <p:spPr>
            <a:xfrm rot="-5400000">
              <a:off x="12026199" y="6307354"/>
              <a:ext cx="13277" cy="68070"/>
            </a:xfrm>
            <a:custGeom>
              <a:avLst/>
              <a:gdLst/>
              <a:ahLst/>
              <a:cxnLst/>
              <a:rect l="l" t="t" r="r" b="b"/>
              <a:pathLst>
                <a:path w="13277" h="68070" extrusionOk="0">
                  <a:moveTo>
                    <a:pt x="13278" y="12024"/>
                  </a:moveTo>
                  <a:lnTo>
                    <a:pt x="0" y="12024"/>
                  </a:lnTo>
                  <a:lnTo>
                    <a:pt x="0" y="0"/>
                  </a:lnTo>
                  <a:lnTo>
                    <a:pt x="13278" y="0"/>
                  </a:lnTo>
                  <a:close/>
                  <a:moveTo>
                    <a:pt x="0" y="17984"/>
                  </a:moveTo>
                  <a:lnTo>
                    <a:pt x="13278" y="17984"/>
                  </a:lnTo>
                  <a:lnTo>
                    <a:pt x="13278" y="68070"/>
                  </a:lnTo>
                  <a:lnTo>
                    <a:pt x="0" y="6807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26" name="Google Shape;226;p65"/>
            <p:cNvSpPr/>
            <p:nvPr/>
          </p:nvSpPr>
          <p:spPr>
            <a:xfrm rot="-5400000">
              <a:off x="12018641" y="6273739"/>
              <a:ext cx="45208" cy="51255"/>
            </a:xfrm>
            <a:custGeom>
              <a:avLst/>
              <a:gdLst/>
              <a:ahLst/>
              <a:cxnLst/>
              <a:rect l="l" t="t" r="r" b="b"/>
              <a:pathLst>
                <a:path w="45208" h="51255" extrusionOk="0">
                  <a:moveTo>
                    <a:pt x="40296" y="4038"/>
                  </a:moveTo>
                  <a:cubicBezTo>
                    <a:pt x="43560" y="6752"/>
                    <a:pt x="45209" y="11252"/>
                    <a:pt x="45209" y="17521"/>
                  </a:cubicBezTo>
                  <a:lnTo>
                    <a:pt x="45209" y="51256"/>
                  </a:lnTo>
                  <a:lnTo>
                    <a:pt x="31794" y="51256"/>
                  </a:lnTo>
                  <a:lnTo>
                    <a:pt x="31794" y="20785"/>
                  </a:lnTo>
                  <a:cubicBezTo>
                    <a:pt x="31900" y="18711"/>
                    <a:pt x="31543" y="16639"/>
                    <a:pt x="30746" y="14722"/>
                  </a:cubicBezTo>
                  <a:cubicBezTo>
                    <a:pt x="29458" y="12162"/>
                    <a:pt x="27036" y="10874"/>
                    <a:pt x="23446" y="10874"/>
                  </a:cubicBezTo>
                  <a:cubicBezTo>
                    <a:pt x="19511" y="10565"/>
                    <a:pt x="15833" y="12857"/>
                    <a:pt x="14377" y="16525"/>
                  </a:cubicBezTo>
                  <a:cubicBezTo>
                    <a:pt x="13439" y="18955"/>
                    <a:pt x="13001" y="21549"/>
                    <a:pt x="13089" y="24151"/>
                  </a:cubicBezTo>
                  <a:lnTo>
                    <a:pt x="13089" y="51256"/>
                  </a:lnTo>
                  <a:lnTo>
                    <a:pt x="0" y="51256"/>
                  </a:lnTo>
                  <a:lnTo>
                    <a:pt x="0" y="1272"/>
                  </a:lnTo>
                  <a:lnTo>
                    <a:pt x="12676" y="1272"/>
                  </a:lnTo>
                  <a:lnTo>
                    <a:pt x="12676" y="8607"/>
                  </a:lnTo>
                  <a:cubicBezTo>
                    <a:pt x="13946" y="6502"/>
                    <a:pt x="15553" y="4622"/>
                    <a:pt x="17434" y="3042"/>
                  </a:cubicBezTo>
                  <a:cubicBezTo>
                    <a:pt x="20409" y="938"/>
                    <a:pt x="23996" y="-125"/>
                    <a:pt x="27637" y="18"/>
                  </a:cubicBezTo>
                  <a:cubicBezTo>
                    <a:pt x="32199" y="-181"/>
                    <a:pt x="36684" y="1243"/>
                    <a:pt x="40296" y="403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27" name="Google Shape;227;p65"/>
            <p:cNvSpPr/>
            <p:nvPr/>
          </p:nvSpPr>
          <p:spPr>
            <a:xfrm rot="-5400000">
              <a:off x="12017163" y="6218687"/>
              <a:ext cx="48082" cy="51510"/>
            </a:xfrm>
            <a:custGeom>
              <a:avLst/>
              <a:gdLst/>
              <a:ahLst/>
              <a:cxnLst/>
              <a:rect l="l" t="t" r="r" b="b"/>
              <a:pathLst>
                <a:path w="48082" h="51510" extrusionOk="0">
                  <a:moveTo>
                    <a:pt x="35384" y="2281"/>
                  </a:moveTo>
                  <a:cubicBezTo>
                    <a:pt x="38804" y="3821"/>
                    <a:pt x="41712" y="6306"/>
                    <a:pt x="43766" y="9444"/>
                  </a:cubicBezTo>
                  <a:cubicBezTo>
                    <a:pt x="45803" y="12448"/>
                    <a:pt x="47126" y="15880"/>
                    <a:pt x="47631" y="19475"/>
                  </a:cubicBezTo>
                  <a:cubicBezTo>
                    <a:pt x="48021" y="22665"/>
                    <a:pt x="48160" y="25881"/>
                    <a:pt x="48043" y="29094"/>
                  </a:cubicBezTo>
                  <a:lnTo>
                    <a:pt x="12711" y="29094"/>
                  </a:lnTo>
                  <a:cubicBezTo>
                    <a:pt x="12900" y="33955"/>
                    <a:pt x="14600" y="37373"/>
                    <a:pt x="17778" y="39400"/>
                  </a:cubicBezTo>
                  <a:cubicBezTo>
                    <a:pt x="19884" y="40669"/>
                    <a:pt x="22311" y="41306"/>
                    <a:pt x="24769" y="41237"/>
                  </a:cubicBezTo>
                  <a:cubicBezTo>
                    <a:pt x="27307" y="41354"/>
                    <a:pt x="29803" y="40563"/>
                    <a:pt x="31811" y="39004"/>
                  </a:cubicBezTo>
                  <a:cubicBezTo>
                    <a:pt x="32891" y="38080"/>
                    <a:pt x="33774" y="36947"/>
                    <a:pt x="34405" y="35672"/>
                  </a:cubicBezTo>
                  <a:lnTo>
                    <a:pt x="47407" y="35672"/>
                  </a:lnTo>
                  <a:cubicBezTo>
                    <a:pt x="46818" y="39021"/>
                    <a:pt x="45169" y="42092"/>
                    <a:pt x="42701" y="44432"/>
                  </a:cubicBezTo>
                  <a:cubicBezTo>
                    <a:pt x="38355" y="49156"/>
                    <a:pt x="32292" y="51509"/>
                    <a:pt x="24459" y="51509"/>
                  </a:cubicBezTo>
                  <a:cubicBezTo>
                    <a:pt x="18245" y="51584"/>
                    <a:pt x="12202" y="49474"/>
                    <a:pt x="7386" y="45549"/>
                  </a:cubicBezTo>
                  <a:cubicBezTo>
                    <a:pt x="2461" y="41564"/>
                    <a:pt x="0" y="35094"/>
                    <a:pt x="0" y="26139"/>
                  </a:cubicBezTo>
                  <a:cubicBezTo>
                    <a:pt x="0" y="17746"/>
                    <a:pt x="2228" y="11304"/>
                    <a:pt x="6682" y="6816"/>
                  </a:cubicBezTo>
                  <a:cubicBezTo>
                    <a:pt x="11252" y="2254"/>
                    <a:pt x="17508" y="-208"/>
                    <a:pt x="23961" y="14"/>
                  </a:cubicBezTo>
                  <a:cubicBezTo>
                    <a:pt x="27886" y="-52"/>
                    <a:pt x="31782" y="721"/>
                    <a:pt x="35384" y="2281"/>
                  </a:cubicBezTo>
                  <a:close/>
                  <a:moveTo>
                    <a:pt x="16490" y="13223"/>
                  </a:moveTo>
                  <a:cubicBezTo>
                    <a:pt x="14554" y="15309"/>
                    <a:pt x="13350" y="17967"/>
                    <a:pt x="13054" y="20797"/>
                  </a:cubicBezTo>
                  <a:lnTo>
                    <a:pt x="34886" y="20797"/>
                  </a:lnTo>
                  <a:cubicBezTo>
                    <a:pt x="34844" y="17880"/>
                    <a:pt x="33601" y="15108"/>
                    <a:pt x="31450" y="13137"/>
                  </a:cubicBezTo>
                  <a:cubicBezTo>
                    <a:pt x="29363" y="11367"/>
                    <a:pt x="26698" y="10426"/>
                    <a:pt x="23961" y="10491"/>
                  </a:cubicBezTo>
                  <a:cubicBezTo>
                    <a:pt x="21201" y="10337"/>
                    <a:pt x="18499" y="11325"/>
                    <a:pt x="16490" y="13223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228" name="Google Shape;228;p65"/>
          <p:cNvSpPr txBox="1"/>
          <p:nvPr/>
        </p:nvSpPr>
        <p:spPr>
          <a:xfrm rot="-5400000">
            <a:off x="11250971" y="5290633"/>
            <a:ext cx="1567737" cy="110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</a:pPr>
            <a:r>
              <a:rPr lang="en-US" sz="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Copyright © 2020. All rights reserved.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29" name="Google Shape;229;p65"/>
          <p:cNvSpPr txBox="1">
            <a:spLocks noGrp="1"/>
          </p:cNvSpPr>
          <p:nvPr>
            <p:ph type="sldNum" idx="12"/>
          </p:nvPr>
        </p:nvSpPr>
        <p:spPr>
          <a:xfrm>
            <a:off x="11490153" y="6465614"/>
            <a:ext cx="150682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marL="0" marR="0" lvl="0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230" name="Google Shape;230;p65"/>
          <p:cNvSpPr txBox="1">
            <a:spLocks noGrp="1"/>
          </p:cNvSpPr>
          <p:nvPr>
            <p:ph type="ftr" idx="11"/>
          </p:nvPr>
        </p:nvSpPr>
        <p:spPr>
          <a:xfrm>
            <a:off x="550863" y="6465614"/>
            <a:ext cx="5545138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000" b="0" i="0" u="none" strike="noStrike" cap="none">
                <a:solidFill>
                  <a:schemeClr val="lt2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22439384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Header" type="secHead">
  <p:cSld name="SECTION_HEADER">
    <p:spTree>
      <p:nvGrpSpPr>
        <p:cNvPr id="1" name="Shape 3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Google Shape;32;p13"/>
          <p:cNvSpPr txBox="1"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6000"/>
              <a:buFont typeface="Calibri"/>
              <a:buNone/>
              <a:defRPr sz="60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3" name="Google Shape;33;p13"/>
          <p:cNvSpPr txBox="1"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888888"/>
              </a:buClr>
              <a:buSzPts val="2400"/>
              <a:buNone/>
              <a:defRPr sz="2400">
                <a:solidFill>
                  <a:srgbClr val="888888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2000"/>
              <a:buNone/>
              <a:defRPr sz="2000">
                <a:solidFill>
                  <a:srgbClr val="888888"/>
                </a:solidFill>
              </a:defRPr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800"/>
              <a:buNone/>
              <a:defRPr sz="1800">
                <a:solidFill>
                  <a:srgbClr val="888888"/>
                </a:solidFill>
              </a:defRPr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 sz="1600">
                <a:solidFill>
                  <a:srgbClr val="888888"/>
                </a:solidFill>
              </a:defRPr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 sz="1600">
                <a:solidFill>
                  <a:srgbClr val="888888"/>
                </a:solidFill>
              </a:defRPr>
            </a:lvl5pPr>
            <a:lvl6pPr marL="2743200" lvl="5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 sz="1600">
                <a:solidFill>
                  <a:srgbClr val="888888"/>
                </a:solidFill>
              </a:defRPr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 sz="1600">
                <a:solidFill>
                  <a:srgbClr val="888888"/>
                </a:solidFill>
              </a:defRPr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 sz="1600">
                <a:solidFill>
                  <a:srgbClr val="888888"/>
                </a:solidFill>
              </a:defRPr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 sz="1600">
                <a:solidFill>
                  <a:srgbClr val="888888"/>
                </a:solidFill>
              </a:defRPr>
            </a:lvl9pPr>
          </a:lstStyle>
          <a:p>
            <a:endParaRPr/>
          </a:p>
        </p:txBody>
      </p:sp>
      <p:sp>
        <p:nvSpPr>
          <p:cNvPr id="34" name="Google Shape;34;p13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5" name="Google Shape;35;p13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6" name="Google Shape;36;p13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1_Gradient BG (with Title)">
  <p:cSld name="1_Gradient BG (with Title)">
    <p:spTree>
      <p:nvGrpSpPr>
        <p:cNvPr id="1" name="Shape 23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2" name="Google Shape;232;p66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0">
                <a:srgbClr val="062379"/>
              </a:gs>
              <a:gs pos="16000">
                <a:srgbClr val="062379"/>
              </a:gs>
              <a:gs pos="45000">
                <a:srgbClr val="0934B6">
                  <a:alpha val="88235"/>
                </a:srgbClr>
              </a:gs>
              <a:gs pos="79000">
                <a:srgbClr val="036DFF">
                  <a:alpha val="80000"/>
                </a:srgbClr>
              </a:gs>
              <a:gs pos="100000">
                <a:srgbClr val="43E1D3"/>
              </a:gs>
            </a:gsLst>
            <a:lin ang="270000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grpSp>
        <p:nvGrpSpPr>
          <p:cNvPr id="233" name="Google Shape;233;p66"/>
          <p:cNvGrpSpPr/>
          <p:nvPr/>
        </p:nvGrpSpPr>
        <p:grpSpPr>
          <a:xfrm>
            <a:off x="11998459" y="6162188"/>
            <a:ext cx="68500" cy="441925"/>
            <a:chOff x="11998459" y="6162188"/>
            <a:chExt cx="68500" cy="441925"/>
          </a:xfrm>
        </p:grpSpPr>
        <p:sp>
          <p:nvSpPr>
            <p:cNvPr id="234" name="Google Shape;234;p66"/>
            <p:cNvSpPr/>
            <p:nvPr/>
          </p:nvSpPr>
          <p:spPr>
            <a:xfrm rot="-5400000">
              <a:off x="12063068" y="6476346"/>
              <a:ext cx="17" cy="1717"/>
            </a:xfrm>
            <a:custGeom>
              <a:avLst/>
              <a:gdLst/>
              <a:ahLst/>
              <a:cxnLst/>
              <a:rect l="l" t="t" r="r" b="b"/>
              <a:pathLst>
                <a:path w="17" h="1717" extrusionOk="0">
                  <a:moveTo>
                    <a:pt x="0" y="0"/>
                  </a:moveTo>
                  <a:lnTo>
                    <a:pt x="17" y="0"/>
                  </a:lnTo>
                  <a:lnTo>
                    <a:pt x="17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35" name="Google Shape;235;p66"/>
            <p:cNvSpPr/>
            <p:nvPr/>
          </p:nvSpPr>
          <p:spPr>
            <a:xfrm rot="-5400000">
              <a:off x="12023737" y="6455896"/>
              <a:ext cx="453" cy="271"/>
            </a:xfrm>
            <a:custGeom>
              <a:avLst/>
              <a:gdLst/>
              <a:ahLst/>
              <a:cxnLst/>
              <a:rect l="l" t="t" r="r" b="b"/>
              <a:pathLst>
                <a:path w="453" h="271" extrusionOk="0">
                  <a:moveTo>
                    <a:pt x="0" y="0"/>
                  </a:moveTo>
                  <a:cubicBezTo>
                    <a:pt x="258" y="172"/>
                    <a:pt x="498" y="344"/>
                    <a:pt x="447" y="240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36" name="Google Shape;236;p66"/>
            <p:cNvSpPr/>
            <p:nvPr/>
          </p:nvSpPr>
          <p:spPr>
            <a:xfrm rot="-5400000">
              <a:off x="12023907" y="6477766"/>
              <a:ext cx="15" cy="76"/>
            </a:xfrm>
            <a:custGeom>
              <a:avLst/>
              <a:gdLst/>
              <a:ahLst/>
              <a:cxnLst/>
              <a:rect l="l" t="t" r="r" b="b"/>
              <a:pathLst>
                <a:path w="15" h="76" extrusionOk="0">
                  <a:moveTo>
                    <a:pt x="15" y="38"/>
                  </a:moveTo>
                  <a:cubicBezTo>
                    <a:pt x="15" y="38"/>
                    <a:pt x="15" y="-48"/>
                    <a:pt x="15" y="38"/>
                  </a:cubicBezTo>
                  <a:cubicBezTo>
                    <a:pt x="15" y="124"/>
                    <a:pt x="-19" y="38"/>
                    <a:pt x="15" y="3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37" name="Google Shape;237;p66"/>
            <p:cNvSpPr/>
            <p:nvPr/>
          </p:nvSpPr>
          <p:spPr>
            <a:xfrm rot="-5400000">
              <a:off x="12021636" y="6473651"/>
              <a:ext cx="261" cy="103"/>
            </a:xfrm>
            <a:custGeom>
              <a:avLst/>
              <a:gdLst/>
              <a:ahLst/>
              <a:cxnLst/>
              <a:rect l="l" t="t" r="r" b="b"/>
              <a:pathLst>
                <a:path w="261" h="103" extrusionOk="0">
                  <a:moveTo>
                    <a:pt x="262" y="0"/>
                  </a:moveTo>
                  <a:lnTo>
                    <a:pt x="56" y="103"/>
                  </a:lnTo>
                  <a:cubicBezTo>
                    <a:pt x="176" y="103"/>
                    <a:pt x="-116" y="103"/>
                    <a:pt x="56" y="103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38" name="Google Shape;238;p66"/>
            <p:cNvSpPr/>
            <p:nvPr/>
          </p:nvSpPr>
          <p:spPr>
            <a:xfrm rot="-5400000">
              <a:off x="12015635" y="6442208"/>
              <a:ext cx="51323" cy="51323"/>
            </a:xfrm>
            <a:custGeom>
              <a:avLst/>
              <a:gdLst/>
              <a:ahLst/>
              <a:cxnLst/>
              <a:rect l="l" t="t" r="r" b="b"/>
              <a:pathLst>
                <a:path w="51323" h="51323" extrusionOk="0">
                  <a:moveTo>
                    <a:pt x="25662" y="0"/>
                  </a:moveTo>
                  <a:cubicBezTo>
                    <a:pt x="11489" y="0"/>
                    <a:pt x="0" y="11489"/>
                    <a:pt x="0" y="25662"/>
                  </a:cubicBezTo>
                  <a:cubicBezTo>
                    <a:pt x="0" y="39834"/>
                    <a:pt x="11489" y="51323"/>
                    <a:pt x="25662" y="51323"/>
                  </a:cubicBezTo>
                  <a:cubicBezTo>
                    <a:pt x="39835" y="51323"/>
                    <a:pt x="51324" y="39834"/>
                    <a:pt x="51324" y="25662"/>
                  </a:cubicBezTo>
                  <a:cubicBezTo>
                    <a:pt x="51324" y="25645"/>
                    <a:pt x="51324" y="25627"/>
                    <a:pt x="51324" y="25610"/>
                  </a:cubicBezTo>
                  <a:cubicBezTo>
                    <a:pt x="51314" y="11457"/>
                    <a:pt x="39833" y="-9"/>
                    <a:pt x="25679" y="0"/>
                  </a:cubicBezTo>
                  <a:cubicBezTo>
                    <a:pt x="25673" y="0"/>
                    <a:pt x="25667" y="0"/>
                    <a:pt x="25662" y="0"/>
                  </a:cubicBezTo>
                  <a:close/>
                  <a:moveTo>
                    <a:pt x="26967" y="15648"/>
                  </a:moveTo>
                  <a:cubicBezTo>
                    <a:pt x="26864" y="15648"/>
                    <a:pt x="26967" y="15785"/>
                    <a:pt x="26967" y="15837"/>
                  </a:cubicBezTo>
                  <a:cubicBezTo>
                    <a:pt x="26894" y="15820"/>
                    <a:pt x="26817" y="15820"/>
                    <a:pt x="26744" y="15837"/>
                  </a:cubicBezTo>
                  <a:cubicBezTo>
                    <a:pt x="26899" y="15837"/>
                    <a:pt x="27139" y="16043"/>
                    <a:pt x="26933" y="16163"/>
                  </a:cubicBezTo>
                  <a:cubicBezTo>
                    <a:pt x="26727" y="16283"/>
                    <a:pt x="27019" y="16163"/>
                    <a:pt x="27036" y="16163"/>
                  </a:cubicBezTo>
                  <a:cubicBezTo>
                    <a:pt x="27173" y="15854"/>
                    <a:pt x="27586" y="16283"/>
                    <a:pt x="27294" y="16489"/>
                  </a:cubicBezTo>
                  <a:lnTo>
                    <a:pt x="27294" y="16489"/>
                  </a:lnTo>
                  <a:cubicBezTo>
                    <a:pt x="27294" y="16489"/>
                    <a:pt x="27294" y="16489"/>
                    <a:pt x="27294" y="16489"/>
                  </a:cubicBezTo>
                  <a:lnTo>
                    <a:pt x="27294" y="16489"/>
                  </a:lnTo>
                  <a:cubicBezTo>
                    <a:pt x="27294" y="16489"/>
                    <a:pt x="27191" y="16489"/>
                    <a:pt x="27156" y="16489"/>
                  </a:cubicBezTo>
                  <a:cubicBezTo>
                    <a:pt x="27122" y="16489"/>
                    <a:pt x="27156" y="16489"/>
                    <a:pt x="27156" y="16593"/>
                  </a:cubicBezTo>
                  <a:cubicBezTo>
                    <a:pt x="27156" y="16696"/>
                    <a:pt x="27276" y="16593"/>
                    <a:pt x="27156" y="16593"/>
                  </a:cubicBezTo>
                  <a:cubicBezTo>
                    <a:pt x="27036" y="16593"/>
                    <a:pt x="27294" y="16593"/>
                    <a:pt x="27379" y="16593"/>
                  </a:cubicBezTo>
                  <a:cubicBezTo>
                    <a:pt x="27465" y="16593"/>
                    <a:pt x="27276" y="16713"/>
                    <a:pt x="27276" y="16799"/>
                  </a:cubicBezTo>
                  <a:cubicBezTo>
                    <a:pt x="27276" y="16885"/>
                    <a:pt x="26795" y="16936"/>
                    <a:pt x="26744" y="16799"/>
                  </a:cubicBezTo>
                  <a:cubicBezTo>
                    <a:pt x="26692" y="16661"/>
                    <a:pt x="26297" y="16799"/>
                    <a:pt x="26074" y="16902"/>
                  </a:cubicBezTo>
                  <a:cubicBezTo>
                    <a:pt x="25851" y="17005"/>
                    <a:pt x="26074" y="17125"/>
                    <a:pt x="25868" y="16988"/>
                  </a:cubicBezTo>
                  <a:cubicBezTo>
                    <a:pt x="25662" y="16850"/>
                    <a:pt x="25610" y="16988"/>
                    <a:pt x="25559" y="17142"/>
                  </a:cubicBezTo>
                  <a:cubicBezTo>
                    <a:pt x="25507" y="17297"/>
                    <a:pt x="25559" y="17142"/>
                    <a:pt x="25404" y="17142"/>
                  </a:cubicBezTo>
                  <a:cubicBezTo>
                    <a:pt x="25553" y="17029"/>
                    <a:pt x="25690" y="16902"/>
                    <a:pt x="25816" y="16764"/>
                  </a:cubicBezTo>
                  <a:cubicBezTo>
                    <a:pt x="25816" y="16593"/>
                    <a:pt x="26057" y="16764"/>
                    <a:pt x="26194" y="16764"/>
                  </a:cubicBezTo>
                  <a:cubicBezTo>
                    <a:pt x="26332" y="16764"/>
                    <a:pt x="26297" y="16610"/>
                    <a:pt x="26349" y="16541"/>
                  </a:cubicBezTo>
                  <a:cubicBezTo>
                    <a:pt x="26400" y="16472"/>
                    <a:pt x="26091" y="16764"/>
                    <a:pt x="26005" y="16627"/>
                  </a:cubicBezTo>
                  <a:cubicBezTo>
                    <a:pt x="25919" y="16489"/>
                    <a:pt x="25748" y="16627"/>
                    <a:pt x="25902" y="16627"/>
                  </a:cubicBezTo>
                  <a:cubicBezTo>
                    <a:pt x="26057" y="16627"/>
                    <a:pt x="25765" y="16627"/>
                    <a:pt x="25662" y="16627"/>
                  </a:cubicBezTo>
                  <a:lnTo>
                    <a:pt x="25662" y="16627"/>
                  </a:lnTo>
                  <a:cubicBezTo>
                    <a:pt x="25662" y="16627"/>
                    <a:pt x="25662" y="16627"/>
                    <a:pt x="25662" y="16627"/>
                  </a:cubicBezTo>
                  <a:cubicBezTo>
                    <a:pt x="25919" y="16541"/>
                    <a:pt x="26040" y="16472"/>
                    <a:pt x="26005" y="16215"/>
                  </a:cubicBezTo>
                  <a:lnTo>
                    <a:pt x="25834" y="16215"/>
                  </a:lnTo>
                  <a:cubicBezTo>
                    <a:pt x="25954" y="16094"/>
                    <a:pt x="26126" y="15940"/>
                    <a:pt x="26297" y="16060"/>
                  </a:cubicBezTo>
                  <a:cubicBezTo>
                    <a:pt x="26160" y="15888"/>
                    <a:pt x="26297" y="16060"/>
                    <a:pt x="26297" y="16060"/>
                  </a:cubicBezTo>
                  <a:cubicBezTo>
                    <a:pt x="26297" y="16060"/>
                    <a:pt x="26194" y="15837"/>
                    <a:pt x="26297" y="15785"/>
                  </a:cubicBezTo>
                  <a:cubicBezTo>
                    <a:pt x="26400" y="15734"/>
                    <a:pt x="26297" y="15648"/>
                    <a:pt x="26194" y="15785"/>
                  </a:cubicBezTo>
                  <a:lnTo>
                    <a:pt x="26194" y="15785"/>
                  </a:lnTo>
                  <a:cubicBezTo>
                    <a:pt x="26057" y="15785"/>
                    <a:pt x="26194" y="15476"/>
                    <a:pt x="26194" y="15493"/>
                  </a:cubicBezTo>
                  <a:cubicBezTo>
                    <a:pt x="26023" y="15493"/>
                    <a:pt x="25988" y="15613"/>
                    <a:pt x="25834" y="15493"/>
                  </a:cubicBezTo>
                  <a:cubicBezTo>
                    <a:pt x="25679" y="15373"/>
                    <a:pt x="25834" y="15493"/>
                    <a:pt x="25834" y="15596"/>
                  </a:cubicBezTo>
                  <a:cubicBezTo>
                    <a:pt x="25834" y="15699"/>
                    <a:pt x="25662" y="15459"/>
                    <a:pt x="25713" y="15596"/>
                  </a:cubicBezTo>
                  <a:cubicBezTo>
                    <a:pt x="25765" y="15734"/>
                    <a:pt x="25713" y="15493"/>
                    <a:pt x="25713" y="15459"/>
                  </a:cubicBezTo>
                  <a:lnTo>
                    <a:pt x="25713" y="15459"/>
                  </a:lnTo>
                  <a:cubicBezTo>
                    <a:pt x="25713" y="15459"/>
                    <a:pt x="25713" y="15287"/>
                    <a:pt x="25816" y="15236"/>
                  </a:cubicBezTo>
                  <a:cubicBezTo>
                    <a:pt x="25919" y="15184"/>
                    <a:pt x="25713" y="15029"/>
                    <a:pt x="25816" y="15064"/>
                  </a:cubicBezTo>
                  <a:cubicBezTo>
                    <a:pt x="25919" y="15098"/>
                    <a:pt x="25816" y="15064"/>
                    <a:pt x="25816" y="14961"/>
                  </a:cubicBezTo>
                  <a:cubicBezTo>
                    <a:pt x="25816" y="14858"/>
                    <a:pt x="25816" y="15047"/>
                    <a:pt x="25816" y="15081"/>
                  </a:cubicBezTo>
                  <a:lnTo>
                    <a:pt x="25816" y="15081"/>
                  </a:lnTo>
                  <a:cubicBezTo>
                    <a:pt x="25816" y="15081"/>
                    <a:pt x="25816" y="15081"/>
                    <a:pt x="25816" y="15081"/>
                  </a:cubicBezTo>
                  <a:cubicBezTo>
                    <a:pt x="25816" y="15081"/>
                    <a:pt x="25816" y="15081"/>
                    <a:pt x="25816" y="15081"/>
                  </a:cubicBezTo>
                  <a:cubicBezTo>
                    <a:pt x="25812" y="15173"/>
                    <a:pt x="25812" y="15264"/>
                    <a:pt x="25816" y="15356"/>
                  </a:cubicBezTo>
                  <a:cubicBezTo>
                    <a:pt x="25713" y="15356"/>
                    <a:pt x="25816" y="15218"/>
                    <a:pt x="25816" y="15167"/>
                  </a:cubicBezTo>
                  <a:cubicBezTo>
                    <a:pt x="25816" y="15115"/>
                    <a:pt x="25816" y="14858"/>
                    <a:pt x="25919" y="14823"/>
                  </a:cubicBezTo>
                  <a:cubicBezTo>
                    <a:pt x="26023" y="14789"/>
                    <a:pt x="25919" y="14823"/>
                    <a:pt x="25919" y="14823"/>
                  </a:cubicBezTo>
                  <a:cubicBezTo>
                    <a:pt x="25919" y="14823"/>
                    <a:pt x="25799" y="14978"/>
                    <a:pt x="25731" y="14823"/>
                  </a:cubicBezTo>
                  <a:cubicBezTo>
                    <a:pt x="25662" y="14669"/>
                    <a:pt x="25731" y="14823"/>
                    <a:pt x="25731" y="14823"/>
                  </a:cubicBezTo>
                  <a:cubicBezTo>
                    <a:pt x="25731" y="14823"/>
                    <a:pt x="25731" y="14686"/>
                    <a:pt x="25868" y="14737"/>
                  </a:cubicBezTo>
                  <a:cubicBezTo>
                    <a:pt x="26005" y="14789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lnTo>
                    <a:pt x="25868" y="14737"/>
                  </a:lnTo>
                  <a:lnTo>
                    <a:pt x="25868" y="14652"/>
                  </a:lnTo>
                  <a:cubicBezTo>
                    <a:pt x="25868" y="14652"/>
                    <a:pt x="25868" y="14652"/>
                    <a:pt x="25868" y="14652"/>
                  </a:cubicBezTo>
                  <a:cubicBezTo>
                    <a:pt x="25868" y="14652"/>
                    <a:pt x="25868" y="14566"/>
                    <a:pt x="25868" y="14514"/>
                  </a:cubicBezTo>
                  <a:lnTo>
                    <a:pt x="25868" y="14514"/>
                  </a:lnTo>
                  <a:cubicBezTo>
                    <a:pt x="25868" y="14514"/>
                    <a:pt x="25868" y="14514"/>
                    <a:pt x="25868" y="14514"/>
                  </a:cubicBezTo>
                  <a:cubicBezTo>
                    <a:pt x="25868" y="14514"/>
                    <a:pt x="25868" y="14514"/>
                    <a:pt x="25971" y="14514"/>
                  </a:cubicBezTo>
                  <a:cubicBezTo>
                    <a:pt x="25976" y="14486"/>
                    <a:pt x="25976" y="14457"/>
                    <a:pt x="25971" y="14428"/>
                  </a:cubicBezTo>
                  <a:cubicBezTo>
                    <a:pt x="25971" y="14428"/>
                    <a:pt x="26091" y="14085"/>
                    <a:pt x="26126" y="14291"/>
                  </a:cubicBezTo>
                  <a:cubicBezTo>
                    <a:pt x="26160" y="14497"/>
                    <a:pt x="26126" y="14291"/>
                    <a:pt x="26126" y="14291"/>
                  </a:cubicBezTo>
                  <a:cubicBezTo>
                    <a:pt x="26538" y="14136"/>
                    <a:pt x="26435" y="14291"/>
                    <a:pt x="26126" y="14531"/>
                  </a:cubicBezTo>
                  <a:lnTo>
                    <a:pt x="26126" y="14531"/>
                  </a:lnTo>
                  <a:cubicBezTo>
                    <a:pt x="25902" y="14737"/>
                    <a:pt x="26366" y="14531"/>
                    <a:pt x="26486" y="14531"/>
                  </a:cubicBezTo>
                  <a:cubicBezTo>
                    <a:pt x="26607" y="14531"/>
                    <a:pt x="26486" y="15029"/>
                    <a:pt x="26263" y="14995"/>
                  </a:cubicBezTo>
                  <a:cubicBezTo>
                    <a:pt x="26040" y="14961"/>
                    <a:pt x="26263" y="14995"/>
                    <a:pt x="26263" y="14995"/>
                  </a:cubicBezTo>
                  <a:cubicBezTo>
                    <a:pt x="26263" y="14995"/>
                    <a:pt x="26108" y="15133"/>
                    <a:pt x="26005" y="14995"/>
                  </a:cubicBezTo>
                  <a:cubicBezTo>
                    <a:pt x="26064" y="15057"/>
                    <a:pt x="26162" y="15059"/>
                    <a:pt x="26224" y="15000"/>
                  </a:cubicBezTo>
                  <a:cubicBezTo>
                    <a:pt x="26226" y="14998"/>
                    <a:pt x="26227" y="14997"/>
                    <a:pt x="26229" y="14995"/>
                  </a:cubicBezTo>
                  <a:cubicBezTo>
                    <a:pt x="26486" y="15098"/>
                    <a:pt x="26503" y="15373"/>
                    <a:pt x="26589" y="15579"/>
                  </a:cubicBezTo>
                  <a:cubicBezTo>
                    <a:pt x="26675" y="15785"/>
                    <a:pt x="26830" y="15545"/>
                    <a:pt x="26967" y="15613"/>
                  </a:cubicBezTo>
                  <a:close/>
                  <a:moveTo>
                    <a:pt x="18138" y="47476"/>
                  </a:moveTo>
                  <a:lnTo>
                    <a:pt x="18138" y="47476"/>
                  </a:lnTo>
                  <a:lnTo>
                    <a:pt x="18138" y="47476"/>
                  </a:lnTo>
                  <a:lnTo>
                    <a:pt x="18138" y="47476"/>
                  </a:lnTo>
                  <a:lnTo>
                    <a:pt x="18224" y="47476"/>
                  </a:lnTo>
                  <a:lnTo>
                    <a:pt x="18224" y="47476"/>
                  </a:lnTo>
                  <a:lnTo>
                    <a:pt x="17984" y="47338"/>
                  </a:lnTo>
                  <a:lnTo>
                    <a:pt x="17984" y="47338"/>
                  </a:lnTo>
                  <a:lnTo>
                    <a:pt x="17984" y="47338"/>
                  </a:lnTo>
                  <a:lnTo>
                    <a:pt x="18070" y="47338"/>
                  </a:lnTo>
                  <a:lnTo>
                    <a:pt x="18070" y="47338"/>
                  </a:lnTo>
                  <a:lnTo>
                    <a:pt x="18070" y="47338"/>
                  </a:lnTo>
                  <a:lnTo>
                    <a:pt x="17795" y="47218"/>
                  </a:lnTo>
                  <a:lnTo>
                    <a:pt x="17795" y="47218"/>
                  </a:lnTo>
                  <a:cubicBezTo>
                    <a:pt x="17795" y="47218"/>
                    <a:pt x="17795" y="47218"/>
                    <a:pt x="17795" y="47218"/>
                  </a:cubicBezTo>
                  <a:cubicBezTo>
                    <a:pt x="17762" y="47203"/>
                    <a:pt x="17725" y="47203"/>
                    <a:pt x="17692" y="47218"/>
                  </a:cubicBezTo>
                  <a:lnTo>
                    <a:pt x="17692" y="47218"/>
                  </a:lnTo>
                  <a:lnTo>
                    <a:pt x="17692" y="47218"/>
                  </a:lnTo>
                  <a:lnTo>
                    <a:pt x="17692" y="47218"/>
                  </a:lnTo>
                  <a:lnTo>
                    <a:pt x="17864" y="47218"/>
                  </a:lnTo>
                  <a:lnTo>
                    <a:pt x="17658" y="47218"/>
                  </a:lnTo>
                  <a:lnTo>
                    <a:pt x="17658" y="47218"/>
                  </a:lnTo>
                  <a:lnTo>
                    <a:pt x="17417" y="47115"/>
                  </a:lnTo>
                  <a:lnTo>
                    <a:pt x="17417" y="47115"/>
                  </a:lnTo>
                  <a:lnTo>
                    <a:pt x="17417" y="47115"/>
                  </a:lnTo>
                  <a:lnTo>
                    <a:pt x="17280" y="47115"/>
                  </a:lnTo>
                  <a:lnTo>
                    <a:pt x="17469" y="47218"/>
                  </a:lnTo>
                  <a:lnTo>
                    <a:pt x="17194" y="47081"/>
                  </a:lnTo>
                  <a:lnTo>
                    <a:pt x="17194" y="47081"/>
                  </a:lnTo>
                  <a:lnTo>
                    <a:pt x="17366" y="47081"/>
                  </a:lnTo>
                  <a:lnTo>
                    <a:pt x="17228" y="47081"/>
                  </a:lnTo>
                  <a:lnTo>
                    <a:pt x="17366" y="47081"/>
                  </a:lnTo>
                  <a:lnTo>
                    <a:pt x="17108" y="46961"/>
                  </a:lnTo>
                  <a:lnTo>
                    <a:pt x="17108" y="46961"/>
                  </a:lnTo>
                  <a:lnTo>
                    <a:pt x="17005" y="46961"/>
                  </a:lnTo>
                  <a:lnTo>
                    <a:pt x="17005" y="46961"/>
                  </a:lnTo>
                  <a:lnTo>
                    <a:pt x="16782" y="46858"/>
                  </a:lnTo>
                  <a:lnTo>
                    <a:pt x="16782" y="46858"/>
                  </a:lnTo>
                  <a:lnTo>
                    <a:pt x="16696" y="46858"/>
                  </a:lnTo>
                  <a:lnTo>
                    <a:pt x="16696" y="46858"/>
                  </a:lnTo>
                  <a:cubicBezTo>
                    <a:pt x="16557" y="46803"/>
                    <a:pt x="16425" y="46733"/>
                    <a:pt x="16301" y="46651"/>
                  </a:cubicBezTo>
                  <a:lnTo>
                    <a:pt x="16301" y="46651"/>
                  </a:lnTo>
                  <a:lnTo>
                    <a:pt x="16129" y="46548"/>
                  </a:lnTo>
                  <a:lnTo>
                    <a:pt x="16283" y="46651"/>
                  </a:lnTo>
                  <a:lnTo>
                    <a:pt x="15940" y="46462"/>
                  </a:lnTo>
                  <a:lnTo>
                    <a:pt x="15940" y="46462"/>
                  </a:lnTo>
                  <a:lnTo>
                    <a:pt x="15837" y="46462"/>
                  </a:lnTo>
                  <a:lnTo>
                    <a:pt x="15837" y="46462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510" y="46274"/>
                  </a:lnTo>
                  <a:lnTo>
                    <a:pt x="15510" y="46274"/>
                  </a:lnTo>
                  <a:lnTo>
                    <a:pt x="15339" y="46153"/>
                  </a:lnTo>
                  <a:lnTo>
                    <a:pt x="15339" y="46153"/>
                  </a:lnTo>
                  <a:lnTo>
                    <a:pt x="15201" y="46153"/>
                  </a:lnTo>
                  <a:lnTo>
                    <a:pt x="15201" y="46153"/>
                  </a:lnTo>
                  <a:cubicBezTo>
                    <a:pt x="15162" y="46164"/>
                    <a:pt x="15120" y="46164"/>
                    <a:pt x="15081" y="46153"/>
                  </a:cubicBezTo>
                  <a:lnTo>
                    <a:pt x="15081" y="46153"/>
                  </a:lnTo>
                  <a:lnTo>
                    <a:pt x="15218" y="46239"/>
                  </a:lnTo>
                  <a:lnTo>
                    <a:pt x="15081" y="46153"/>
                  </a:lnTo>
                  <a:lnTo>
                    <a:pt x="15081" y="46153"/>
                  </a:lnTo>
                  <a:lnTo>
                    <a:pt x="14961" y="46153"/>
                  </a:lnTo>
                  <a:lnTo>
                    <a:pt x="14961" y="46153"/>
                  </a:lnTo>
                  <a:lnTo>
                    <a:pt x="14823" y="46067"/>
                  </a:lnTo>
                  <a:cubicBezTo>
                    <a:pt x="14890" y="46095"/>
                    <a:pt x="14953" y="46130"/>
                    <a:pt x="15012" y="46170"/>
                  </a:cubicBezTo>
                  <a:cubicBezTo>
                    <a:pt x="15012" y="46170"/>
                    <a:pt x="15150" y="46274"/>
                    <a:pt x="15184" y="46274"/>
                  </a:cubicBezTo>
                  <a:lnTo>
                    <a:pt x="14720" y="45947"/>
                  </a:lnTo>
                  <a:lnTo>
                    <a:pt x="14720" y="45947"/>
                  </a:lnTo>
                  <a:cubicBezTo>
                    <a:pt x="14446" y="45724"/>
                    <a:pt x="14136" y="45535"/>
                    <a:pt x="13879" y="45312"/>
                  </a:cubicBezTo>
                  <a:lnTo>
                    <a:pt x="13982" y="45312"/>
                  </a:lnTo>
                  <a:lnTo>
                    <a:pt x="13827" y="45191"/>
                  </a:lnTo>
                  <a:lnTo>
                    <a:pt x="13827" y="45191"/>
                  </a:lnTo>
                  <a:cubicBezTo>
                    <a:pt x="13827" y="45191"/>
                    <a:pt x="13827" y="45191"/>
                    <a:pt x="13724" y="45191"/>
                  </a:cubicBezTo>
                  <a:lnTo>
                    <a:pt x="13724" y="45191"/>
                  </a:lnTo>
                  <a:lnTo>
                    <a:pt x="13724" y="45191"/>
                  </a:lnTo>
                  <a:lnTo>
                    <a:pt x="13724" y="45191"/>
                  </a:lnTo>
                  <a:cubicBezTo>
                    <a:pt x="13500" y="45056"/>
                    <a:pt x="13292" y="44895"/>
                    <a:pt x="13106" y="44710"/>
                  </a:cubicBezTo>
                  <a:lnTo>
                    <a:pt x="13106" y="44710"/>
                  </a:lnTo>
                  <a:cubicBezTo>
                    <a:pt x="12865" y="44453"/>
                    <a:pt x="12573" y="44264"/>
                    <a:pt x="12316" y="44023"/>
                  </a:cubicBezTo>
                  <a:cubicBezTo>
                    <a:pt x="12316" y="44023"/>
                    <a:pt x="12316" y="44023"/>
                    <a:pt x="12316" y="44023"/>
                  </a:cubicBezTo>
                  <a:cubicBezTo>
                    <a:pt x="11271" y="42931"/>
                    <a:pt x="10350" y="41727"/>
                    <a:pt x="9567" y="40434"/>
                  </a:cubicBezTo>
                  <a:lnTo>
                    <a:pt x="9567" y="40434"/>
                  </a:lnTo>
                  <a:cubicBezTo>
                    <a:pt x="9215" y="39466"/>
                    <a:pt x="8691" y="38570"/>
                    <a:pt x="8021" y="37788"/>
                  </a:cubicBezTo>
                  <a:lnTo>
                    <a:pt x="8021" y="37788"/>
                  </a:lnTo>
                  <a:cubicBezTo>
                    <a:pt x="6949" y="36560"/>
                    <a:pt x="6200" y="35084"/>
                    <a:pt x="5840" y="33494"/>
                  </a:cubicBezTo>
                  <a:cubicBezTo>
                    <a:pt x="5840" y="33494"/>
                    <a:pt x="5840" y="33494"/>
                    <a:pt x="5840" y="33580"/>
                  </a:cubicBezTo>
                  <a:cubicBezTo>
                    <a:pt x="5850" y="33546"/>
                    <a:pt x="5850" y="33511"/>
                    <a:pt x="5840" y="33477"/>
                  </a:cubicBezTo>
                  <a:cubicBezTo>
                    <a:pt x="5840" y="33477"/>
                    <a:pt x="5840" y="33580"/>
                    <a:pt x="5840" y="33614"/>
                  </a:cubicBezTo>
                  <a:cubicBezTo>
                    <a:pt x="5600" y="33202"/>
                    <a:pt x="5685" y="28461"/>
                    <a:pt x="5222" y="30299"/>
                  </a:cubicBezTo>
                  <a:cubicBezTo>
                    <a:pt x="5222" y="30299"/>
                    <a:pt x="5222" y="30093"/>
                    <a:pt x="5222" y="30042"/>
                  </a:cubicBezTo>
                  <a:cubicBezTo>
                    <a:pt x="5222" y="29990"/>
                    <a:pt x="5222" y="30042"/>
                    <a:pt x="5222" y="30128"/>
                  </a:cubicBezTo>
                  <a:cubicBezTo>
                    <a:pt x="5222" y="30213"/>
                    <a:pt x="5222" y="29887"/>
                    <a:pt x="5067" y="29784"/>
                  </a:cubicBezTo>
                  <a:cubicBezTo>
                    <a:pt x="4913" y="29681"/>
                    <a:pt x="5067" y="29784"/>
                    <a:pt x="5067" y="29784"/>
                  </a:cubicBezTo>
                  <a:lnTo>
                    <a:pt x="5067" y="29784"/>
                  </a:lnTo>
                  <a:cubicBezTo>
                    <a:pt x="5067" y="29784"/>
                    <a:pt x="5067" y="29612"/>
                    <a:pt x="5067" y="29544"/>
                  </a:cubicBezTo>
                  <a:cubicBezTo>
                    <a:pt x="5067" y="29475"/>
                    <a:pt x="5067" y="29664"/>
                    <a:pt x="5067" y="29715"/>
                  </a:cubicBezTo>
                  <a:cubicBezTo>
                    <a:pt x="5067" y="29458"/>
                    <a:pt x="4947" y="29166"/>
                    <a:pt x="4844" y="28908"/>
                  </a:cubicBezTo>
                  <a:cubicBezTo>
                    <a:pt x="4844" y="28994"/>
                    <a:pt x="4844" y="29080"/>
                    <a:pt x="4844" y="29183"/>
                  </a:cubicBezTo>
                  <a:cubicBezTo>
                    <a:pt x="4689" y="28753"/>
                    <a:pt x="4672" y="28290"/>
                    <a:pt x="4552" y="27843"/>
                  </a:cubicBezTo>
                  <a:cubicBezTo>
                    <a:pt x="4552" y="27929"/>
                    <a:pt x="4552" y="27843"/>
                    <a:pt x="4552" y="27740"/>
                  </a:cubicBezTo>
                  <a:cubicBezTo>
                    <a:pt x="4552" y="27637"/>
                    <a:pt x="4552" y="27740"/>
                    <a:pt x="4552" y="27740"/>
                  </a:cubicBezTo>
                  <a:cubicBezTo>
                    <a:pt x="4552" y="27740"/>
                    <a:pt x="4552" y="27740"/>
                    <a:pt x="4552" y="27740"/>
                  </a:cubicBezTo>
                  <a:cubicBezTo>
                    <a:pt x="4552" y="27740"/>
                    <a:pt x="4552" y="27740"/>
                    <a:pt x="4552" y="27740"/>
                  </a:cubicBezTo>
                  <a:cubicBezTo>
                    <a:pt x="4343" y="27287"/>
                    <a:pt x="4226" y="26796"/>
                    <a:pt x="4208" y="26297"/>
                  </a:cubicBezTo>
                  <a:cubicBezTo>
                    <a:pt x="4218" y="26366"/>
                    <a:pt x="4218" y="26435"/>
                    <a:pt x="4208" y="26503"/>
                  </a:cubicBezTo>
                  <a:cubicBezTo>
                    <a:pt x="4218" y="26435"/>
                    <a:pt x="4218" y="26366"/>
                    <a:pt x="4208" y="26297"/>
                  </a:cubicBezTo>
                  <a:lnTo>
                    <a:pt x="4208" y="26297"/>
                  </a:lnTo>
                  <a:cubicBezTo>
                    <a:pt x="4208" y="26297"/>
                    <a:pt x="4208" y="26297"/>
                    <a:pt x="4208" y="26297"/>
                  </a:cubicBezTo>
                  <a:lnTo>
                    <a:pt x="4208" y="26297"/>
                  </a:lnTo>
                  <a:lnTo>
                    <a:pt x="4208" y="26297"/>
                  </a:lnTo>
                  <a:cubicBezTo>
                    <a:pt x="4208" y="26297"/>
                    <a:pt x="4208" y="26297"/>
                    <a:pt x="4208" y="26400"/>
                  </a:cubicBezTo>
                  <a:cubicBezTo>
                    <a:pt x="4208" y="26503"/>
                    <a:pt x="4208" y="26400"/>
                    <a:pt x="4208" y="26400"/>
                  </a:cubicBezTo>
                  <a:lnTo>
                    <a:pt x="4208" y="26400"/>
                  </a:lnTo>
                  <a:lnTo>
                    <a:pt x="4208" y="26400"/>
                  </a:lnTo>
                  <a:cubicBezTo>
                    <a:pt x="4208" y="26314"/>
                    <a:pt x="4208" y="26194"/>
                    <a:pt x="4208" y="26091"/>
                  </a:cubicBezTo>
                  <a:lnTo>
                    <a:pt x="4208" y="26091"/>
                  </a:lnTo>
                  <a:cubicBezTo>
                    <a:pt x="4200" y="26034"/>
                    <a:pt x="4200" y="25976"/>
                    <a:pt x="4208" y="25919"/>
                  </a:cubicBezTo>
                  <a:lnTo>
                    <a:pt x="4208" y="25919"/>
                  </a:lnTo>
                  <a:cubicBezTo>
                    <a:pt x="4191" y="25679"/>
                    <a:pt x="4191" y="25438"/>
                    <a:pt x="4208" y="25198"/>
                  </a:cubicBezTo>
                  <a:lnTo>
                    <a:pt x="4208" y="25198"/>
                  </a:lnTo>
                  <a:cubicBezTo>
                    <a:pt x="4208" y="25198"/>
                    <a:pt x="4208" y="25112"/>
                    <a:pt x="4208" y="25078"/>
                  </a:cubicBezTo>
                  <a:lnTo>
                    <a:pt x="4208" y="25078"/>
                  </a:lnTo>
                  <a:cubicBezTo>
                    <a:pt x="4764" y="15747"/>
                    <a:pt x="10928" y="7687"/>
                    <a:pt x="19787" y="4706"/>
                  </a:cubicBezTo>
                  <a:lnTo>
                    <a:pt x="19787" y="4706"/>
                  </a:lnTo>
                  <a:lnTo>
                    <a:pt x="19994" y="4706"/>
                  </a:lnTo>
                  <a:lnTo>
                    <a:pt x="19994" y="4706"/>
                  </a:lnTo>
                  <a:lnTo>
                    <a:pt x="20217" y="4706"/>
                  </a:lnTo>
                  <a:lnTo>
                    <a:pt x="20062" y="4706"/>
                  </a:lnTo>
                  <a:lnTo>
                    <a:pt x="20337" y="4706"/>
                  </a:lnTo>
                  <a:lnTo>
                    <a:pt x="20234" y="4706"/>
                  </a:lnTo>
                  <a:lnTo>
                    <a:pt x="20234" y="4706"/>
                  </a:lnTo>
                  <a:lnTo>
                    <a:pt x="20423" y="4706"/>
                  </a:lnTo>
                  <a:lnTo>
                    <a:pt x="20423" y="4706"/>
                  </a:lnTo>
                  <a:lnTo>
                    <a:pt x="21711" y="4414"/>
                  </a:lnTo>
                  <a:lnTo>
                    <a:pt x="21711" y="4414"/>
                  </a:lnTo>
                  <a:lnTo>
                    <a:pt x="22038" y="4414"/>
                  </a:lnTo>
                  <a:lnTo>
                    <a:pt x="21814" y="4414"/>
                  </a:lnTo>
                  <a:lnTo>
                    <a:pt x="21814" y="4414"/>
                  </a:lnTo>
                  <a:lnTo>
                    <a:pt x="22415" y="4414"/>
                  </a:lnTo>
                  <a:lnTo>
                    <a:pt x="22415" y="4414"/>
                  </a:lnTo>
                  <a:lnTo>
                    <a:pt x="22106" y="4414"/>
                  </a:lnTo>
                  <a:lnTo>
                    <a:pt x="22398" y="4414"/>
                  </a:lnTo>
                  <a:lnTo>
                    <a:pt x="22398" y="4414"/>
                  </a:lnTo>
                  <a:lnTo>
                    <a:pt x="22690" y="4414"/>
                  </a:lnTo>
                  <a:lnTo>
                    <a:pt x="22587" y="4414"/>
                  </a:lnTo>
                  <a:lnTo>
                    <a:pt x="22484" y="4414"/>
                  </a:lnTo>
                  <a:lnTo>
                    <a:pt x="22725" y="4414"/>
                  </a:lnTo>
                  <a:lnTo>
                    <a:pt x="22347" y="4414"/>
                  </a:lnTo>
                  <a:lnTo>
                    <a:pt x="22244" y="4414"/>
                  </a:lnTo>
                  <a:lnTo>
                    <a:pt x="22055" y="4414"/>
                  </a:lnTo>
                  <a:lnTo>
                    <a:pt x="22415" y="4414"/>
                  </a:lnTo>
                  <a:lnTo>
                    <a:pt x="22020" y="4414"/>
                  </a:lnTo>
                  <a:lnTo>
                    <a:pt x="22020" y="4414"/>
                  </a:lnTo>
                  <a:lnTo>
                    <a:pt x="21608" y="4414"/>
                  </a:lnTo>
                  <a:lnTo>
                    <a:pt x="21608" y="4414"/>
                  </a:lnTo>
                  <a:lnTo>
                    <a:pt x="21213" y="4500"/>
                  </a:lnTo>
                  <a:lnTo>
                    <a:pt x="21385" y="4500"/>
                  </a:lnTo>
                  <a:lnTo>
                    <a:pt x="21385" y="4500"/>
                  </a:lnTo>
                  <a:cubicBezTo>
                    <a:pt x="21251" y="4544"/>
                    <a:pt x="21113" y="4572"/>
                    <a:pt x="20973" y="4586"/>
                  </a:cubicBezTo>
                  <a:lnTo>
                    <a:pt x="21144" y="4586"/>
                  </a:lnTo>
                  <a:lnTo>
                    <a:pt x="20955" y="4586"/>
                  </a:lnTo>
                  <a:lnTo>
                    <a:pt x="20955" y="4586"/>
                  </a:lnTo>
                  <a:lnTo>
                    <a:pt x="20835" y="4586"/>
                  </a:lnTo>
                  <a:lnTo>
                    <a:pt x="20835" y="4586"/>
                  </a:lnTo>
                  <a:lnTo>
                    <a:pt x="20835" y="4586"/>
                  </a:lnTo>
                  <a:cubicBezTo>
                    <a:pt x="20835" y="4586"/>
                    <a:pt x="20835" y="4586"/>
                    <a:pt x="20835" y="4586"/>
                  </a:cubicBezTo>
                  <a:lnTo>
                    <a:pt x="20835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560" y="4586"/>
                  </a:lnTo>
                  <a:lnTo>
                    <a:pt x="20560" y="4586"/>
                  </a:lnTo>
                  <a:lnTo>
                    <a:pt x="20114" y="4706"/>
                  </a:lnTo>
                  <a:lnTo>
                    <a:pt x="20114" y="4706"/>
                  </a:lnTo>
                  <a:lnTo>
                    <a:pt x="19787" y="4827"/>
                  </a:lnTo>
                  <a:lnTo>
                    <a:pt x="19787" y="4827"/>
                  </a:lnTo>
                  <a:lnTo>
                    <a:pt x="19392" y="4947"/>
                  </a:lnTo>
                  <a:lnTo>
                    <a:pt x="19392" y="4947"/>
                  </a:lnTo>
                  <a:lnTo>
                    <a:pt x="19100" y="5153"/>
                  </a:lnTo>
                  <a:lnTo>
                    <a:pt x="19100" y="5153"/>
                  </a:lnTo>
                  <a:lnTo>
                    <a:pt x="18997" y="5153"/>
                  </a:lnTo>
                  <a:lnTo>
                    <a:pt x="18997" y="5153"/>
                  </a:lnTo>
                  <a:lnTo>
                    <a:pt x="18430" y="5359"/>
                  </a:lnTo>
                  <a:lnTo>
                    <a:pt x="18568" y="5359"/>
                  </a:lnTo>
                  <a:lnTo>
                    <a:pt x="18568" y="5359"/>
                  </a:lnTo>
                  <a:cubicBezTo>
                    <a:pt x="18763" y="5286"/>
                    <a:pt x="18964" y="5229"/>
                    <a:pt x="19169" y="5187"/>
                  </a:cubicBezTo>
                  <a:lnTo>
                    <a:pt x="19169" y="5187"/>
                  </a:lnTo>
                  <a:lnTo>
                    <a:pt x="19341" y="5187"/>
                  </a:lnTo>
                  <a:lnTo>
                    <a:pt x="19461" y="5187"/>
                  </a:lnTo>
                  <a:lnTo>
                    <a:pt x="19186" y="5187"/>
                  </a:lnTo>
                  <a:lnTo>
                    <a:pt x="19186" y="5187"/>
                  </a:lnTo>
                  <a:lnTo>
                    <a:pt x="19032" y="5187"/>
                  </a:lnTo>
                  <a:lnTo>
                    <a:pt x="19032" y="5187"/>
                  </a:lnTo>
                  <a:lnTo>
                    <a:pt x="18911" y="5187"/>
                  </a:lnTo>
                  <a:lnTo>
                    <a:pt x="18911" y="5187"/>
                  </a:lnTo>
                  <a:lnTo>
                    <a:pt x="18740" y="5187"/>
                  </a:lnTo>
                  <a:lnTo>
                    <a:pt x="18740" y="5187"/>
                  </a:lnTo>
                  <a:lnTo>
                    <a:pt x="18894" y="5187"/>
                  </a:lnTo>
                  <a:lnTo>
                    <a:pt x="18894" y="5187"/>
                  </a:lnTo>
                  <a:lnTo>
                    <a:pt x="19049" y="5187"/>
                  </a:lnTo>
                  <a:lnTo>
                    <a:pt x="19049" y="5187"/>
                  </a:lnTo>
                  <a:lnTo>
                    <a:pt x="18860" y="5187"/>
                  </a:lnTo>
                  <a:cubicBezTo>
                    <a:pt x="18997" y="5187"/>
                    <a:pt x="19392" y="5067"/>
                    <a:pt x="19032" y="5187"/>
                  </a:cubicBezTo>
                  <a:lnTo>
                    <a:pt x="19186" y="5187"/>
                  </a:lnTo>
                  <a:lnTo>
                    <a:pt x="19289" y="5187"/>
                  </a:lnTo>
                  <a:lnTo>
                    <a:pt x="19650" y="5084"/>
                  </a:lnTo>
                  <a:cubicBezTo>
                    <a:pt x="19252" y="5196"/>
                    <a:pt x="18862" y="5334"/>
                    <a:pt x="18482" y="5497"/>
                  </a:cubicBezTo>
                  <a:lnTo>
                    <a:pt x="18654" y="5497"/>
                  </a:lnTo>
                  <a:lnTo>
                    <a:pt x="18654" y="5497"/>
                  </a:lnTo>
                  <a:cubicBezTo>
                    <a:pt x="18654" y="5497"/>
                    <a:pt x="18860" y="5497"/>
                    <a:pt x="18740" y="5497"/>
                  </a:cubicBezTo>
                  <a:lnTo>
                    <a:pt x="18894" y="5497"/>
                  </a:lnTo>
                  <a:lnTo>
                    <a:pt x="18894" y="5497"/>
                  </a:lnTo>
                  <a:lnTo>
                    <a:pt x="19032" y="5497"/>
                  </a:lnTo>
                  <a:cubicBezTo>
                    <a:pt x="18929" y="5497"/>
                    <a:pt x="18808" y="5497"/>
                    <a:pt x="18722" y="5617"/>
                  </a:cubicBezTo>
                  <a:lnTo>
                    <a:pt x="18722" y="5617"/>
                  </a:lnTo>
                  <a:lnTo>
                    <a:pt x="18585" y="5617"/>
                  </a:lnTo>
                  <a:lnTo>
                    <a:pt x="18585" y="5617"/>
                  </a:lnTo>
                  <a:lnTo>
                    <a:pt x="18413" y="5617"/>
                  </a:lnTo>
                  <a:cubicBezTo>
                    <a:pt x="18505" y="5624"/>
                    <a:pt x="18597" y="5624"/>
                    <a:pt x="18688" y="5617"/>
                  </a:cubicBezTo>
                  <a:cubicBezTo>
                    <a:pt x="18396" y="5771"/>
                    <a:pt x="18035" y="5909"/>
                    <a:pt x="17743" y="6098"/>
                  </a:cubicBezTo>
                  <a:lnTo>
                    <a:pt x="17743" y="6098"/>
                  </a:lnTo>
                  <a:lnTo>
                    <a:pt x="17554" y="6201"/>
                  </a:lnTo>
                  <a:lnTo>
                    <a:pt x="17743" y="6201"/>
                  </a:lnTo>
                  <a:lnTo>
                    <a:pt x="17743" y="6201"/>
                  </a:lnTo>
                  <a:cubicBezTo>
                    <a:pt x="17743" y="6201"/>
                    <a:pt x="17743" y="6201"/>
                    <a:pt x="17743" y="6201"/>
                  </a:cubicBezTo>
                  <a:cubicBezTo>
                    <a:pt x="17557" y="6309"/>
                    <a:pt x="17362" y="6402"/>
                    <a:pt x="17159" y="6476"/>
                  </a:cubicBezTo>
                  <a:cubicBezTo>
                    <a:pt x="17159" y="6476"/>
                    <a:pt x="17159" y="6476"/>
                    <a:pt x="17159" y="6476"/>
                  </a:cubicBezTo>
                  <a:cubicBezTo>
                    <a:pt x="17159" y="6476"/>
                    <a:pt x="17056" y="6476"/>
                    <a:pt x="17039" y="6476"/>
                  </a:cubicBezTo>
                  <a:lnTo>
                    <a:pt x="17039" y="6476"/>
                  </a:lnTo>
                  <a:cubicBezTo>
                    <a:pt x="16976" y="6499"/>
                    <a:pt x="16918" y="6534"/>
                    <a:pt x="16867" y="6579"/>
                  </a:cubicBezTo>
                  <a:lnTo>
                    <a:pt x="16867" y="6579"/>
                  </a:lnTo>
                  <a:cubicBezTo>
                    <a:pt x="16867" y="6579"/>
                    <a:pt x="16627" y="6750"/>
                    <a:pt x="16730" y="6716"/>
                  </a:cubicBezTo>
                  <a:lnTo>
                    <a:pt x="16730" y="6716"/>
                  </a:lnTo>
                  <a:lnTo>
                    <a:pt x="16730" y="6716"/>
                  </a:lnTo>
                  <a:lnTo>
                    <a:pt x="16730" y="6716"/>
                  </a:lnTo>
                  <a:cubicBezTo>
                    <a:pt x="16730" y="6716"/>
                    <a:pt x="16730" y="6716"/>
                    <a:pt x="16730" y="6716"/>
                  </a:cubicBezTo>
                  <a:lnTo>
                    <a:pt x="16885" y="6716"/>
                  </a:lnTo>
                  <a:lnTo>
                    <a:pt x="16627" y="6853"/>
                  </a:lnTo>
                  <a:lnTo>
                    <a:pt x="16627" y="6853"/>
                  </a:lnTo>
                  <a:cubicBezTo>
                    <a:pt x="16627" y="6853"/>
                    <a:pt x="16455" y="6853"/>
                    <a:pt x="16386" y="6991"/>
                  </a:cubicBezTo>
                  <a:cubicBezTo>
                    <a:pt x="16318" y="7128"/>
                    <a:pt x="16507" y="6991"/>
                    <a:pt x="16558" y="6991"/>
                  </a:cubicBezTo>
                  <a:cubicBezTo>
                    <a:pt x="16389" y="7066"/>
                    <a:pt x="16228" y="7158"/>
                    <a:pt x="16077" y="7266"/>
                  </a:cubicBezTo>
                  <a:lnTo>
                    <a:pt x="16077" y="7266"/>
                  </a:lnTo>
                  <a:lnTo>
                    <a:pt x="16077" y="7266"/>
                  </a:lnTo>
                  <a:cubicBezTo>
                    <a:pt x="16317" y="7116"/>
                    <a:pt x="16570" y="6989"/>
                    <a:pt x="16833" y="6888"/>
                  </a:cubicBezTo>
                  <a:lnTo>
                    <a:pt x="16833" y="6888"/>
                  </a:lnTo>
                  <a:cubicBezTo>
                    <a:pt x="16833" y="6888"/>
                    <a:pt x="16833" y="6888"/>
                    <a:pt x="16833" y="6888"/>
                  </a:cubicBezTo>
                  <a:lnTo>
                    <a:pt x="16833" y="6888"/>
                  </a:lnTo>
                  <a:lnTo>
                    <a:pt x="16936" y="6888"/>
                  </a:lnTo>
                  <a:lnTo>
                    <a:pt x="16833" y="6888"/>
                  </a:lnTo>
                  <a:cubicBezTo>
                    <a:pt x="16833" y="6888"/>
                    <a:pt x="16988" y="6785"/>
                    <a:pt x="17056" y="6785"/>
                  </a:cubicBezTo>
                  <a:lnTo>
                    <a:pt x="17056" y="6785"/>
                  </a:lnTo>
                  <a:cubicBezTo>
                    <a:pt x="17056" y="6785"/>
                    <a:pt x="17314" y="6682"/>
                    <a:pt x="17159" y="6785"/>
                  </a:cubicBezTo>
                  <a:lnTo>
                    <a:pt x="17039" y="6785"/>
                  </a:lnTo>
                  <a:cubicBezTo>
                    <a:pt x="17073" y="6775"/>
                    <a:pt x="17109" y="6775"/>
                    <a:pt x="17142" y="6785"/>
                  </a:cubicBezTo>
                  <a:lnTo>
                    <a:pt x="17022" y="6785"/>
                  </a:lnTo>
                  <a:lnTo>
                    <a:pt x="17022" y="6785"/>
                  </a:lnTo>
                  <a:cubicBezTo>
                    <a:pt x="17022" y="6785"/>
                    <a:pt x="17022" y="6785"/>
                    <a:pt x="16885" y="6785"/>
                  </a:cubicBezTo>
                  <a:cubicBezTo>
                    <a:pt x="16747" y="6785"/>
                    <a:pt x="17074" y="6785"/>
                    <a:pt x="17005" y="6785"/>
                  </a:cubicBezTo>
                  <a:cubicBezTo>
                    <a:pt x="17104" y="6745"/>
                    <a:pt x="17215" y="6745"/>
                    <a:pt x="17314" y="6785"/>
                  </a:cubicBezTo>
                  <a:lnTo>
                    <a:pt x="17314" y="6785"/>
                  </a:lnTo>
                  <a:cubicBezTo>
                    <a:pt x="17125" y="6922"/>
                    <a:pt x="16902" y="7025"/>
                    <a:pt x="16696" y="7145"/>
                  </a:cubicBezTo>
                  <a:lnTo>
                    <a:pt x="16696" y="7145"/>
                  </a:lnTo>
                  <a:lnTo>
                    <a:pt x="16696" y="7145"/>
                  </a:lnTo>
                  <a:lnTo>
                    <a:pt x="16696" y="7145"/>
                  </a:lnTo>
                  <a:cubicBezTo>
                    <a:pt x="16696" y="7145"/>
                    <a:pt x="16696" y="7145"/>
                    <a:pt x="16696" y="7145"/>
                  </a:cubicBezTo>
                  <a:lnTo>
                    <a:pt x="16696" y="7145"/>
                  </a:lnTo>
                  <a:lnTo>
                    <a:pt x="16696" y="7145"/>
                  </a:lnTo>
                  <a:lnTo>
                    <a:pt x="16455" y="7300"/>
                  </a:lnTo>
                  <a:lnTo>
                    <a:pt x="16455" y="7300"/>
                  </a:lnTo>
                  <a:cubicBezTo>
                    <a:pt x="16455" y="7300"/>
                    <a:pt x="16455" y="7300"/>
                    <a:pt x="16455" y="7386"/>
                  </a:cubicBezTo>
                  <a:lnTo>
                    <a:pt x="16610" y="7386"/>
                  </a:lnTo>
                  <a:lnTo>
                    <a:pt x="16610" y="7386"/>
                  </a:lnTo>
                  <a:lnTo>
                    <a:pt x="16610" y="7489"/>
                  </a:lnTo>
                  <a:cubicBezTo>
                    <a:pt x="16610" y="7489"/>
                    <a:pt x="16610" y="7489"/>
                    <a:pt x="16610" y="7489"/>
                  </a:cubicBezTo>
                  <a:lnTo>
                    <a:pt x="16610" y="7489"/>
                  </a:lnTo>
                  <a:cubicBezTo>
                    <a:pt x="16953" y="7266"/>
                    <a:pt x="16713" y="7489"/>
                    <a:pt x="16610" y="7592"/>
                  </a:cubicBezTo>
                  <a:cubicBezTo>
                    <a:pt x="16730" y="7592"/>
                    <a:pt x="16833" y="7386"/>
                    <a:pt x="16970" y="7334"/>
                  </a:cubicBezTo>
                  <a:lnTo>
                    <a:pt x="16970" y="7334"/>
                  </a:lnTo>
                  <a:cubicBezTo>
                    <a:pt x="16970" y="7334"/>
                    <a:pt x="17280" y="7145"/>
                    <a:pt x="17108" y="7334"/>
                  </a:cubicBezTo>
                  <a:lnTo>
                    <a:pt x="17245" y="7334"/>
                  </a:lnTo>
                  <a:lnTo>
                    <a:pt x="17142" y="7334"/>
                  </a:lnTo>
                  <a:cubicBezTo>
                    <a:pt x="17142" y="7334"/>
                    <a:pt x="17142" y="7334"/>
                    <a:pt x="17142" y="7334"/>
                  </a:cubicBezTo>
                  <a:cubicBezTo>
                    <a:pt x="17142" y="7334"/>
                    <a:pt x="17022" y="7334"/>
                    <a:pt x="16988" y="7437"/>
                  </a:cubicBezTo>
                  <a:lnTo>
                    <a:pt x="16988" y="7437"/>
                  </a:lnTo>
                  <a:cubicBezTo>
                    <a:pt x="16988" y="7437"/>
                    <a:pt x="16885" y="7437"/>
                    <a:pt x="16867" y="7437"/>
                  </a:cubicBezTo>
                  <a:cubicBezTo>
                    <a:pt x="17211" y="7317"/>
                    <a:pt x="16747" y="7437"/>
                    <a:pt x="16610" y="7575"/>
                  </a:cubicBezTo>
                  <a:lnTo>
                    <a:pt x="16610" y="7575"/>
                  </a:lnTo>
                  <a:lnTo>
                    <a:pt x="16421" y="7678"/>
                  </a:lnTo>
                  <a:lnTo>
                    <a:pt x="16421" y="7678"/>
                  </a:lnTo>
                  <a:lnTo>
                    <a:pt x="16283" y="7678"/>
                  </a:lnTo>
                  <a:cubicBezTo>
                    <a:pt x="16438" y="7678"/>
                    <a:pt x="16283" y="7678"/>
                    <a:pt x="16283" y="7678"/>
                  </a:cubicBezTo>
                  <a:lnTo>
                    <a:pt x="16283" y="7678"/>
                  </a:lnTo>
                  <a:lnTo>
                    <a:pt x="16129" y="7678"/>
                  </a:lnTo>
                  <a:lnTo>
                    <a:pt x="16129" y="7678"/>
                  </a:lnTo>
                  <a:lnTo>
                    <a:pt x="16129" y="7678"/>
                  </a:lnTo>
                  <a:lnTo>
                    <a:pt x="16129" y="7678"/>
                  </a:lnTo>
                  <a:cubicBezTo>
                    <a:pt x="16026" y="7678"/>
                    <a:pt x="15923" y="7833"/>
                    <a:pt x="15820" y="7867"/>
                  </a:cubicBezTo>
                  <a:cubicBezTo>
                    <a:pt x="15717" y="7901"/>
                    <a:pt x="15974" y="7764"/>
                    <a:pt x="16043" y="7747"/>
                  </a:cubicBezTo>
                  <a:cubicBezTo>
                    <a:pt x="16112" y="7729"/>
                    <a:pt x="16043" y="7747"/>
                    <a:pt x="16043" y="7747"/>
                  </a:cubicBezTo>
                  <a:cubicBezTo>
                    <a:pt x="16131" y="7705"/>
                    <a:pt x="16223" y="7670"/>
                    <a:pt x="16318" y="7644"/>
                  </a:cubicBezTo>
                  <a:lnTo>
                    <a:pt x="16198" y="7644"/>
                  </a:lnTo>
                  <a:cubicBezTo>
                    <a:pt x="16386" y="7558"/>
                    <a:pt x="16558" y="7420"/>
                    <a:pt x="16747" y="7352"/>
                  </a:cubicBezTo>
                  <a:lnTo>
                    <a:pt x="16747" y="7352"/>
                  </a:lnTo>
                  <a:lnTo>
                    <a:pt x="16747" y="7352"/>
                  </a:lnTo>
                  <a:cubicBezTo>
                    <a:pt x="16976" y="7288"/>
                    <a:pt x="17195" y="7196"/>
                    <a:pt x="17400" y="7077"/>
                  </a:cubicBezTo>
                  <a:cubicBezTo>
                    <a:pt x="17400" y="7077"/>
                    <a:pt x="17400" y="7077"/>
                    <a:pt x="17262" y="7077"/>
                  </a:cubicBezTo>
                  <a:lnTo>
                    <a:pt x="17262" y="7077"/>
                  </a:lnTo>
                  <a:cubicBezTo>
                    <a:pt x="17366" y="7077"/>
                    <a:pt x="17761" y="6836"/>
                    <a:pt x="17520" y="6991"/>
                  </a:cubicBezTo>
                  <a:cubicBezTo>
                    <a:pt x="17692" y="6991"/>
                    <a:pt x="17692" y="6819"/>
                    <a:pt x="17846" y="6768"/>
                  </a:cubicBezTo>
                  <a:cubicBezTo>
                    <a:pt x="17692" y="6768"/>
                    <a:pt x="17846" y="6768"/>
                    <a:pt x="17846" y="6768"/>
                  </a:cubicBezTo>
                  <a:lnTo>
                    <a:pt x="17846" y="6768"/>
                  </a:lnTo>
                  <a:cubicBezTo>
                    <a:pt x="18036" y="6628"/>
                    <a:pt x="18252" y="6528"/>
                    <a:pt x="18482" y="6476"/>
                  </a:cubicBezTo>
                  <a:lnTo>
                    <a:pt x="18482" y="6476"/>
                  </a:lnTo>
                  <a:cubicBezTo>
                    <a:pt x="18662" y="6364"/>
                    <a:pt x="18859" y="6282"/>
                    <a:pt x="19066" y="6235"/>
                  </a:cubicBezTo>
                  <a:lnTo>
                    <a:pt x="18911" y="6321"/>
                  </a:lnTo>
                  <a:cubicBezTo>
                    <a:pt x="19100" y="6321"/>
                    <a:pt x="19238" y="6149"/>
                    <a:pt x="19427" y="6115"/>
                  </a:cubicBezTo>
                  <a:lnTo>
                    <a:pt x="19238" y="6252"/>
                  </a:lnTo>
                  <a:cubicBezTo>
                    <a:pt x="20286" y="5617"/>
                    <a:pt x="22038" y="4998"/>
                    <a:pt x="20303" y="5909"/>
                  </a:cubicBezTo>
                  <a:cubicBezTo>
                    <a:pt x="20578" y="5823"/>
                    <a:pt x="21230" y="5411"/>
                    <a:pt x="21024" y="5651"/>
                  </a:cubicBezTo>
                  <a:cubicBezTo>
                    <a:pt x="21780" y="5393"/>
                    <a:pt x="20629" y="6012"/>
                    <a:pt x="20303" y="6149"/>
                  </a:cubicBezTo>
                  <a:cubicBezTo>
                    <a:pt x="20698" y="6012"/>
                    <a:pt x="20303" y="6149"/>
                    <a:pt x="20303" y="6149"/>
                  </a:cubicBezTo>
                  <a:cubicBezTo>
                    <a:pt x="20303" y="6149"/>
                    <a:pt x="20560" y="5977"/>
                    <a:pt x="20406" y="6149"/>
                  </a:cubicBezTo>
                  <a:cubicBezTo>
                    <a:pt x="20663" y="5857"/>
                    <a:pt x="20921" y="6149"/>
                    <a:pt x="20492" y="6235"/>
                  </a:cubicBezTo>
                  <a:cubicBezTo>
                    <a:pt x="20448" y="6218"/>
                    <a:pt x="20398" y="6218"/>
                    <a:pt x="20354" y="6235"/>
                  </a:cubicBezTo>
                  <a:cubicBezTo>
                    <a:pt x="20612" y="6235"/>
                    <a:pt x="20251" y="6321"/>
                    <a:pt x="20165" y="6355"/>
                  </a:cubicBezTo>
                  <a:cubicBezTo>
                    <a:pt x="20818" y="6149"/>
                    <a:pt x="19616" y="6647"/>
                    <a:pt x="20337" y="6355"/>
                  </a:cubicBezTo>
                  <a:cubicBezTo>
                    <a:pt x="19427" y="6750"/>
                    <a:pt x="20749" y="6355"/>
                    <a:pt x="19856" y="6716"/>
                  </a:cubicBezTo>
                  <a:cubicBezTo>
                    <a:pt x="19856" y="6819"/>
                    <a:pt x="19856" y="6716"/>
                    <a:pt x="20097" y="6716"/>
                  </a:cubicBezTo>
                  <a:cubicBezTo>
                    <a:pt x="19967" y="6814"/>
                    <a:pt x="19822" y="6889"/>
                    <a:pt x="19667" y="6939"/>
                  </a:cubicBezTo>
                  <a:cubicBezTo>
                    <a:pt x="19564" y="6939"/>
                    <a:pt x="20423" y="6939"/>
                    <a:pt x="19495" y="7145"/>
                  </a:cubicBezTo>
                  <a:cubicBezTo>
                    <a:pt x="19392" y="7145"/>
                    <a:pt x="19959" y="7145"/>
                    <a:pt x="19358" y="7266"/>
                  </a:cubicBezTo>
                  <a:cubicBezTo>
                    <a:pt x="19856" y="7094"/>
                    <a:pt x="19925" y="7266"/>
                    <a:pt x="19358" y="7352"/>
                  </a:cubicBezTo>
                  <a:cubicBezTo>
                    <a:pt x="19581" y="7541"/>
                    <a:pt x="19255" y="7592"/>
                    <a:pt x="19358" y="7523"/>
                  </a:cubicBezTo>
                  <a:cubicBezTo>
                    <a:pt x="19083" y="7523"/>
                    <a:pt x="19358" y="7747"/>
                    <a:pt x="19049" y="7626"/>
                  </a:cubicBezTo>
                  <a:cubicBezTo>
                    <a:pt x="18860" y="7953"/>
                    <a:pt x="19186" y="7764"/>
                    <a:pt x="18860" y="7918"/>
                  </a:cubicBezTo>
                  <a:cubicBezTo>
                    <a:pt x="19118" y="7833"/>
                    <a:pt x="18654" y="8193"/>
                    <a:pt x="18860" y="8039"/>
                  </a:cubicBezTo>
                  <a:cubicBezTo>
                    <a:pt x="18534" y="8365"/>
                    <a:pt x="19152" y="7850"/>
                    <a:pt x="18705" y="8399"/>
                  </a:cubicBezTo>
                  <a:cubicBezTo>
                    <a:pt x="18482" y="8520"/>
                    <a:pt x="19066" y="8399"/>
                    <a:pt x="18551" y="8588"/>
                  </a:cubicBezTo>
                  <a:cubicBezTo>
                    <a:pt x="18929" y="8434"/>
                    <a:pt x="18637" y="8966"/>
                    <a:pt x="18396" y="8829"/>
                  </a:cubicBezTo>
                  <a:cubicBezTo>
                    <a:pt x="18396" y="8966"/>
                    <a:pt x="18242" y="9069"/>
                    <a:pt x="18190" y="8966"/>
                  </a:cubicBezTo>
                  <a:cubicBezTo>
                    <a:pt x="18138" y="8863"/>
                    <a:pt x="18018" y="9155"/>
                    <a:pt x="18190" y="8966"/>
                  </a:cubicBezTo>
                  <a:cubicBezTo>
                    <a:pt x="18362" y="8777"/>
                    <a:pt x="17692" y="9447"/>
                    <a:pt x="17846" y="9155"/>
                  </a:cubicBezTo>
                  <a:cubicBezTo>
                    <a:pt x="17709" y="8966"/>
                    <a:pt x="18173" y="8709"/>
                    <a:pt x="18224" y="8605"/>
                  </a:cubicBezTo>
                  <a:cubicBezTo>
                    <a:pt x="17915" y="8777"/>
                    <a:pt x="18104" y="8605"/>
                    <a:pt x="18224" y="8434"/>
                  </a:cubicBezTo>
                  <a:cubicBezTo>
                    <a:pt x="18345" y="8262"/>
                    <a:pt x="17967" y="8640"/>
                    <a:pt x="18053" y="8434"/>
                  </a:cubicBezTo>
                  <a:cubicBezTo>
                    <a:pt x="17761" y="8709"/>
                    <a:pt x="17589" y="8743"/>
                    <a:pt x="17486" y="9155"/>
                  </a:cubicBezTo>
                  <a:cubicBezTo>
                    <a:pt x="17383" y="9567"/>
                    <a:pt x="16816" y="10065"/>
                    <a:pt x="16747" y="9842"/>
                  </a:cubicBezTo>
                  <a:cubicBezTo>
                    <a:pt x="16678" y="9619"/>
                    <a:pt x="16867" y="9722"/>
                    <a:pt x="16747" y="9396"/>
                  </a:cubicBezTo>
                  <a:cubicBezTo>
                    <a:pt x="16524" y="9791"/>
                    <a:pt x="16524" y="10306"/>
                    <a:pt x="16524" y="10306"/>
                  </a:cubicBezTo>
                  <a:cubicBezTo>
                    <a:pt x="15820" y="10461"/>
                    <a:pt x="16644" y="9104"/>
                    <a:pt x="16799" y="9069"/>
                  </a:cubicBezTo>
                  <a:cubicBezTo>
                    <a:pt x="16524" y="9172"/>
                    <a:pt x="16799" y="9069"/>
                    <a:pt x="16558" y="9069"/>
                  </a:cubicBezTo>
                  <a:cubicBezTo>
                    <a:pt x="16678" y="8897"/>
                    <a:pt x="16386" y="9155"/>
                    <a:pt x="16301" y="9069"/>
                  </a:cubicBezTo>
                  <a:cubicBezTo>
                    <a:pt x="16215" y="8983"/>
                    <a:pt x="17005" y="8382"/>
                    <a:pt x="16850" y="8794"/>
                  </a:cubicBezTo>
                  <a:cubicBezTo>
                    <a:pt x="18310" y="8485"/>
                    <a:pt x="19203" y="7077"/>
                    <a:pt x="19530" y="6733"/>
                  </a:cubicBezTo>
                  <a:cubicBezTo>
                    <a:pt x="19032" y="7145"/>
                    <a:pt x="19169" y="6733"/>
                    <a:pt x="18980" y="6733"/>
                  </a:cubicBezTo>
                  <a:cubicBezTo>
                    <a:pt x="18791" y="6733"/>
                    <a:pt x="19238" y="6579"/>
                    <a:pt x="18980" y="6561"/>
                  </a:cubicBezTo>
                  <a:cubicBezTo>
                    <a:pt x="19203" y="6321"/>
                    <a:pt x="18980" y="6561"/>
                    <a:pt x="18980" y="6373"/>
                  </a:cubicBezTo>
                  <a:lnTo>
                    <a:pt x="19083" y="6373"/>
                  </a:lnTo>
                  <a:lnTo>
                    <a:pt x="18929" y="6458"/>
                  </a:lnTo>
                  <a:cubicBezTo>
                    <a:pt x="18671" y="6579"/>
                    <a:pt x="18430" y="6733"/>
                    <a:pt x="18173" y="6871"/>
                  </a:cubicBezTo>
                  <a:lnTo>
                    <a:pt x="18173" y="6871"/>
                  </a:lnTo>
                  <a:lnTo>
                    <a:pt x="18293" y="6871"/>
                  </a:lnTo>
                  <a:lnTo>
                    <a:pt x="18242" y="6871"/>
                  </a:lnTo>
                  <a:lnTo>
                    <a:pt x="18242" y="6871"/>
                  </a:lnTo>
                  <a:cubicBezTo>
                    <a:pt x="18242" y="6957"/>
                    <a:pt x="17984" y="6871"/>
                    <a:pt x="17898" y="7025"/>
                  </a:cubicBezTo>
                  <a:lnTo>
                    <a:pt x="17898" y="7025"/>
                  </a:lnTo>
                  <a:lnTo>
                    <a:pt x="17898" y="7025"/>
                  </a:lnTo>
                  <a:lnTo>
                    <a:pt x="18001" y="7025"/>
                  </a:lnTo>
                  <a:cubicBezTo>
                    <a:pt x="18001" y="7025"/>
                    <a:pt x="18001" y="7025"/>
                    <a:pt x="18001" y="7025"/>
                  </a:cubicBezTo>
                  <a:lnTo>
                    <a:pt x="18001" y="7025"/>
                  </a:lnTo>
                  <a:cubicBezTo>
                    <a:pt x="18001" y="7025"/>
                    <a:pt x="17881" y="7025"/>
                    <a:pt x="17829" y="7025"/>
                  </a:cubicBezTo>
                  <a:lnTo>
                    <a:pt x="17829" y="7025"/>
                  </a:lnTo>
                  <a:lnTo>
                    <a:pt x="17829" y="7025"/>
                  </a:lnTo>
                  <a:cubicBezTo>
                    <a:pt x="17623" y="7180"/>
                    <a:pt x="17400" y="7300"/>
                    <a:pt x="17177" y="7437"/>
                  </a:cubicBezTo>
                  <a:lnTo>
                    <a:pt x="17434" y="7334"/>
                  </a:lnTo>
                  <a:lnTo>
                    <a:pt x="17434" y="7334"/>
                  </a:lnTo>
                  <a:lnTo>
                    <a:pt x="17864" y="7111"/>
                  </a:lnTo>
                  <a:cubicBezTo>
                    <a:pt x="17702" y="7258"/>
                    <a:pt x="17523" y="7385"/>
                    <a:pt x="17331" y="7489"/>
                  </a:cubicBezTo>
                  <a:lnTo>
                    <a:pt x="17331" y="7489"/>
                  </a:lnTo>
                  <a:cubicBezTo>
                    <a:pt x="17075" y="7607"/>
                    <a:pt x="16843" y="7770"/>
                    <a:pt x="16644" y="7970"/>
                  </a:cubicBezTo>
                  <a:cubicBezTo>
                    <a:pt x="16644" y="7970"/>
                    <a:pt x="16747" y="7884"/>
                    <a:pt x="16799" y="7884"/>
                  </a:cubicBezTo>
                  <a:lnTo>
                    <a:pt x="16799" y="7884"/>
                  </a:lnTo>
                  <a:lnTo>
                    <a:pt x="17675" y="7437"/>
                  </a:lnTo>
                  <a:lnTo>
                    <a:pt x="17675" y="7437"/>
                  </a:lnTo>
                  <a:lnTo>
                    <a:pt x="17675" y="7437"/>
                  </a:lnTo>
                  <a:cubicBezTo>
                    <a:pt x="17675" y="7437"/>
                    <a:pt x="17675" y="7334"/>
                    <a:pt x="17812" y="7352"/>
                  </a:cubicBezTo>
                  <a:lnTo>
                    <a:pt x="17812" y="7352"/>
                  </a:lnTo>
                  <a:cubicBezTo>
                    <a:pt x="17812" y="7352"/>
                    <a:pt x="17812" y="7352"/>
                    <a:pt x="17932" y="7352"/>
                  </a:cubicBezTo>
                  <a:lnTo>
                    <a:pt x="17932" y="7352"/>
                  </a:lnTo>
                  <a:lnTo>
                    <a:pt x="18362" y="7111"/>
                  </a:lnTo>
                  <a:cubicBezTo>
                    <a:pt x="18362" y="7111"/>
                    <a:pt x="18362" y="7111"/>
                    <a:pt x="18362" y="7266"/>
                  </a:cubicBezTo>
                  <a:lnTo>
                    <a:pt x="18362" y="7266"/>
                  </a:lnTo>
                  <a:cubicBezTo>
                    <a:pt x="18341" y="7321"/>
                    <a:pt x="18297" y="7365"/>
                    <a:pt x="18242" y="7386"/>
                  </a:cubicBezTo>
                  <a:cubicBezTo>
                    <a:pt x="18242" y="7300"/>
                    <a:pt x="18242" y="7472"/>
                    <a:pt x="18104" y="7489"/>
                  </a:cubicBezTo>
                  <a:cubicBezTo>
                    <a:pt x="17967" y="7506"/>
                    <a:pt x="17967" y="7626"/>
                    <a:pt x="17898" y="7626"/>
                  </a:cubicBezTo>
                  <a:cubicBezTo>
                    <a:pt x="17829" y="7626"/>
                    <a:pt x="17898" y="7626"/>
                    <a:pt x="17898" y="7626"/>
                  </a:cubicBezTo>
                  <a:lnTo>
                    <a:pt x="17898" y="7626"/>
                  </a:lnTo>
                  <a:cubicBezTo>
                    <a:pt x="17898" y="7626"/>
                    <a:pt x="17606" y="7764"/>
                    <a:pt x="17692" y="7626"/>
                  </a:cubicBezTo>
                  <a:lnTo>
                    <a:pt x="17692" y="7626"/>
                  </a:lnTo>
                  <a:cubicBezTo>
                    <a:pt x="17692" y="7626"/>
                    <a:pt x="17692" y="7712"/>
                    <a:pt x="17537" y="7729"/>
                  </a:cubicBezTo>
                  <a:lnTo>
                    <a:pt x="17537" y="7729"/>
                  </a:lnTo>
                  <a:cubicBezTo>
                    <a:pt x="17537" y="7729"/>
                    <a:pt x="17417" y="7729"/>
                    <a:pt x="17537" y="7729"/>
                  </a:cubicBezTo>
                  <a:cubicBezTo>
                    <a:pt x="17222" y="8004"/>
                    <a:pt x="16845" y="8199"/>
                    <a:pt x="16438" y="8296"/>
                  </a:cubicBezTo>
                  <a:cubicBezTo>
                    <a:pt x="16466" y="8278"/>
                    <a:pt x="16495" y="8261"/>
                    <a:pt x="16524" y="8245"/>
                  </a:cubicBezTo>
                  <a:lnTo>
                    <a:pt x="16524" y="8245"/>
                  </a:lnTo>
                  <a:lnTo>
                    <a:pt x="16661" y="8125"/>
                  </a:lnTo>
                  <a:lnTo>
                    <a:pt x="16661" y="8125"/>
                  </a:lnTo>
                  <a:cubicBezTo>
                    <a:pt x="16661" y="8125"/>
                    <a:pt x="16490" y="8210"/>
                    <a:pt x="16661" y="8125"/>
                  </a:cubicBezTo>
                  <a:cubicBezTo>
                    <a:pt x="16557" y="8250"/>
                    <a:pt x="16436" y="8360"/>
                    <a:pt x="16301" y="8451"/>
                  </a:cubicBezTo>
                  <a:lnTo>
                    <a:pt x="16404" y="8296"/>
                  </a:lnTo>
                  <a:cubicBezTo>
                    <a:pt x="16404" y="8296"/>
                    <a:pt x="16404" y="8382"/>
                    <a:pt x="16283" y="8399"/>
                  </a:cubicBezTo>
                  <a:cubicBezTo>
                    <a:pt x="16163" y="8417"/>
                    <a:pt x="16283" y="8399"/>
                    <a:pt x="16283" y="8399"/>
                  </a:cubicBezTo>
                  <a:lnTo>
                    <a:pt x="16283" y="8399"/>
                  </a:lnTo>
                  <a:lnTo>
                    <a:pt x="16438" y="8279"/>
                  </a:lnTo>
                  <a:cubicBezTo>
                    <a:pt x="16438" y="8279"/>
                    <a:pt x="16335" y="8279"/>
                    <a:pt x="16438" y="8279"/>
                  </a:cubicBezTo>
                  <a:lnTo>
                    <a:pt x="16438" y="8279"/>
                  </a:lnTo>
                  <a:lnTo>
                    <a:pt x="16438" y="8279"/>
                  </a:lnTo>
                  <a:cubicBezTo>
                    <a:pt x="16260" y="8438"/>
                    <a:pt x="16057" y="8566"/>
                    <a:pt x="15837" y="8657"/>
                  </a:cubicBezTo>
                  <a:lnTo>
                    <a:pt x="15837" y="8657"/>
                  </a:lnTo>
                  <a:cubicBezTo>
                    <a:pt x="15510" y="8846"/>
                    <a:pt x="15837" y="8520"/>
                    <a:pt x="15837" y="8365"/>
                  </a:cubicBezTo>
                  <a:cubicBezTo>
                    <a:pt x="15545" y="8537"/>
                    <a:pt x="15614" y="8846"/>
                    <a:pt x="15287" y="8932"/>
                  </a:cubicBezTo>
                  <a:lnTo>
                    <a:pt x="15287" y="8932"/>
                  </a:lnTo>
                  <a:lnTo>
                    <a:pt x="14841" y="9138"/>
                  </a:lnTo>
                  <a:cubicBezTo>
                    <a:pt x="14841" y="9138"/>
                    <a:pt x="14841" y="9138"/>
                    <a:pt x="14841" y="9138"/>
                  </a:cubicBezTo>
                  <a:lnTo>
                    <a:pt x="14841" y="9138"/>
                  </a:lnTo>
                  <a:lnTo>
                    <a:pt x="14841" y="9138"/>
                  </a:lnTo>
                  <a:cubicBezTo>
                    <a:pt x="14841" y="9138"/>
                    <a:pt x="14841" y="9138"/>
                    <a:pt x="14961" y="9035"/>
                  </a:cubicBezTo>
                  <a:cubicBezTo>
                    <a:pt x="15081" y="8932"/>
                    <a:pt x="14841" y="9035"/>
                    <a:pt x="14806" y="9121"/>
                  </a:cubicBezTo>
                  <a:cubicBezTo>
                    <a:pt x="14849" y="9096"/>
                    <a:pt x="14884" y="9060"/>
                    <a:pt x="14909" y="9018"/>
                  </a:cubicBezTo>
                  <a:cubicBezTo>
                    <a:pt x="14909" y="9018"/>
                    <a:pt x="14514" y="9344"/>
                    <a:pt x="14686" y="9138"/>
                  </a:cubicBezTo>
                  <a:lnTo>
                    <a:pt x="14531" y="9258"/>
                  </a:lnTo>
                  <a:cubicBezTo>
                    <a:pt x="14601" y="9111"/>
                    <a:pt x="14687" y="8973"/>
                    <a:pt x="14789" y="8846"/>
                  </a:cubicBezTo>
                  <a:lnTo>
                    <a:pt x="14789" y="8846"/>
                  </a:lnTo>
                  <a:lnTo>
                    <a:pt x="14789" y="8846"/>
                  </a:lnTo>
                  <a:lnTo>
                    <a:pt x="14703" y="8949"/>
                  </a:lnTo>
                  <a:cubicBezTo>
                    <a:pt x="14909" y="8794"/>
                    <a:pt x="14600" y="9138"/>
                    <a:pt x="14549" y="9121"/>
                  </a:cubicBezTo>
                  <a:lnTo>
                    <a:pt x="14686" y="9121"/>
                  </a:lnTo>
                  <a:cubicBezTo>
                    <a:pt x="14549" y="9361"/>
                    <a:pt x="13999" y="9653"/>
                    <a:pt x="14411" y="9121"/>
                  </a:cubicBezTo>
                  <a:cubicBezTo>
                    <a:pt x="14274" y="9207"/>
                    <a:pt x="14205" y="9361"/>
                    <a:pt x="14085" y="9447"/>
                  </a:cubicBezTo>
                  <a:lnTo>
                    <a:pt x="14085" y="9447"/>
                  </a:lnTo>
                  <a:lnTo>
                    <a:pt x="14085" y="9447"/>
                  </a:lnTo>
                  <a:lnTo>
                    <a:pt x="14085" y="9447"/>
                  </a:lnTo>
                  <a:lnTo>
                    <a:pt x="13930" y="9585"/>
                  </a:lnTo>
                  <a:cubicBezTo>
                    <a:pt x="13930" y="9585"/>
                    <a:pt x="13930" y="9585"/>
                    <a:pt x="13930" y="9585"/>
                  </a:cubicBezTo>
                  <a:cubicBezTo>
                    <a:pt x="13930" y="9585"/>
                    <a:pt x="13810" y="9585"/>
                    <a:pt x="13776" y="9585"/>
                  </a:cubicBezTo>
                  <a:cubicBezTo>
                    <a:pt x="13741" y="9585"/>
                    <a:pt x="13260" y="9911"/>
                    <a:pt x="13123" y="9945"/>
                  </a:cubicBezTo>
                  <a:lnTo>
                    <a:pt x="13123" y="9945"/>
                  </a:lnTo>
                  <a:cubicBezTo>
                    <a:pt x="12737" y="10291"/>
                    <a:pt x="12330" y="10612"/>
                    <a:pt x="11903" y="10907"/>
                  </a:cubicBezTo>
                  <a:cubicBezTo>
                    <a:pt x="12900" y="10254"/>
                    <a:pt x="11749" y="11405"/>
                    <a:pt x="11525" y="11405"/>
                  </a:cubicBezTo>
                  <a:cubicBezTo>
                    <a:pt x="11972" y="11405"/>
                    <a:pt x="11732" y="11783"/>
                    <a:pt x="11525" y="12092"/>
                  </a:cubicBezTo>
                  <a:lnTo>
                    <a:pt x="11525" y="12092"/>
                  </a:lnTo>
                  <a:cubicBezTo>
                    <a:pt x="11512" y="12253"/>
                    <a:pt x="11471" y="12409"/>
                    <a:pt x="11405" y="12556"/>
                  </a:cubicBezTo>
                  <a:cubicBezTo>
                    <a:pt x="11525" y="12556"/>
                    <a:pt x="11508" y="12693"/>
                    <a:pt x="11629" y="12693"/>
                  </a:cubicBezTo>
                  <a:lnTo>
                    <a:pt x="11629" y="12693"/>
                  </a:lnTo>
                  <a:cubicBezTo>
                    <a:pt x="11143" y="13178"/>
                    <a:pt x="10727" y="13727"/>
                    <a:pt x="10392" y="14325"/>
                  </a:cubicBezTo>
                  <a:cubicBezTo>
                    <a:pt x="10598" y="14325"/>
                    <a:pt x="10546" y="14325"/>
                    <a:pt x="10753" y="14188"/>
                  </a:cubicBezTo>
                  <a:cubicBezTo>
                    <a:pt x="10753" y="14274"/>
                    <a:pt x="10546" y="14445"/>
                    <a:pt x="10649" y="14514"/>
                  </a:cubicBezTo>
                  <a:cubicBezTo>
                    <a:pt x="11067" y="13670"/>
                    <a:pt x="11757" y="12992"/>
                    <a:pt x="12608" y="12590"/>
                  </a:cubicBezTo>
                  <a:cubicBezTo>
                    <a:pt x="13106" y="12024"/>
                    <a:pt x="13484" y="11337"/>
                    <a:pt x="13999" y="11148"/>
                  </a:cubicBezTo>
                  <a:lnTo>
                    <a:pt x="13999" y="11148"/>
                  </a:lnTo>
                  <a:cubicBezTo>
                    <a:pt x="14085" y="11148"/>
                    <a:pt x="14119" y="10976"/>
                    <a:pt x="14205" y="10976"/>
                  </a:cubicBezTo>
                  <a:cubicBezTo>
                    <a:pt x="14291" y="10976"/>
                    <a:pt x="14205" y="10873"/>
                    <a:pt x="14325" y="10856"/>
                  </a:cubicBezTo>
                  <a:cubicBezTo>
                    <a:pt x="14446" y="10838"/>
                    <a:pt x="15493" y="9808"/>
                    <a:pt x="15081" y="10409"/>
                  </a:cubicBezTo>
                  <a:cubicBezTo>
                    <a:pt x="15081" y="10409"/>
                    <a:pt x="15253" y="10409"/>
                    <a:pt x="15201" y="10409"/>
                  </a:cubicBezTo>
                  <a:lnTo>
                    <a:pt x="15201" y="10409"/>
                  </a:lnTo>
                  <a:cubicBezTo>
                    <a:pt x="15510" y="10409"/>
                    <a:pt x="15201" y="10409"/>
                    <a:pt x="15304" y="10564"/>
                  </a:cubicBezTo>
                  <a:cubicBezTo>
                    <a:pt x="15407" y="10718"/>
                    <a:pt x="15201" y="10649"/>
                    <a:pt x="15167" y="10701"/>
                  </a:cubicBezTo>
                  <a:lnTo>
                    <a:pt x="15167" y="10701"/>
                  </a:lnTo>
                  <a:cubicBezTo>
                    <a:pt x="15167" y="10701"/>
                    <a:pt x="15167" y="10804"/>
                    <a:pt x="15167" y="10856"/>
                  </a:cubicBezTo>
                  <a:lnTo>
                    <a:pt x="15167" y="10856"/>
                  </a:lnTo>
                  <a:cubicBezTo>
                    <a:pt x="15167" y="10856"/>
                    <a:pt x="15167" y="10941"/>
                    <a:pt x="15167" y="10941"/>
                  </a:cubicBezTo>
                  <a:lnTo>
                    <a:pt x="15167" y="10941"/>
                  </a:lnTo>
                  <a:cubicBezTo>
                    <a:pt x="15167" y="10941"/>
                    <a:pt x="15167" y="11027"/>
                    <a:pt x="15047" y="11079"/>
                  </a:cubicBez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cubicBezTo>
                    <a:pt x="15201" y="11079"/>
                    <a:pt x="15047" y="11165"/>
                    <a:pt x="15047" y="11216"/>
                  </a:cubicBezTo>
                  <a:cubicBezTo>
                    <a:pt x="15047" y="11268"/>
                    <a:pt x="15150" y="11113"/>
                    <a:pt x="15201" y="11130"/>
                  </a:cubicBezTo>
                  <a:cubicBezTo>
                    <a:pt x="15253" y="11148"/>
                    <a:pt x="14909" y="11337"/>
                    <a:pt x="14789" y="11508"/>
                  </a:cubicBezTo>
                  <a:lnTo>
                    <a:pt x="14789" y="11508"/>
                  </a:lnTo>
                  <a:cubicBezTo>
                    <a:pt x="14789" y="11508"/>
                    <a:pt x="14652" y="11629"/>
                    <a:pt x="14583" y="11508"/>
                  </a:cubicBezTo>
                  <a:cubicBezTo>
                    <a:pt x="14772" y="11680"/>
                    <a:pt x="14308" y="12041"/>
                    <a:pt x="14325" y="11989"/>
                  </a:cubicBezTo>
                  <a:cubicBezTo>
                    <a:pt x="14342" y="11938"/>
                    <a:pt x="14325" y="12144"/>
                    <a:pt x="14325" y="11989"/>
                  </a:cubicBezTo>
                  <a:cubicBezTo>
                    <a:pt x="14325" y="11835"/>
                    <a:pt x="14119" y="12264"/>
                    <a:pt x="14016" y="12367"/>
                  </a:cubicBezTo>
                  <a:cubicBezTo>
                    <a:pt x="14291" y="12178"/>
                    <a:pt x="14360" y="12144"/>
                    <a:pt x="14016" y="12367"/>
                  </a:cubicBezTo>
                  <a:cubicBezTo>
                    <a:pt x="14016" y="12367"/>
                    <a:pt x="14308" y="12127"/>
                    <a:pt x="14308" y="12230"/>
                  </a:cubicBezTo>
                  <a:cubicBezTo>
                    <a:pt x="14308" y="12333"/>
                    <a:pt x="14463" y="12109"/>
                    <a:pt x="14549" y="12075"/>
                  </a:cubicBezTo>
                  <a:cubicBezTo>
                    <a:pt x="14564" y="12131"/>
                    <a:pt x="14564" y="12191"/>
                    <a:pt x="14549" y="12247"/>
                  </a:cubicBezTo>
                  <a:cubicBezTo>
                    <a:pt x="14549" y="12161"/>
                    <a:pt x="14961" y="11800"/>
                    <a:pt x="14995" y="11921"/>
                  </a:cubicBezTo>
                  <a:cubicBezTo>
                    <a:pt x="15030" y="12041"/>
                    <a:pt x="14995" y="11921"/>
                    <a:pt x="14995" y="11921"/>
                  </a:cubicBezTo>
                  <a:cubicBezTo>
                    <a:pt x="14995" y="11921"/>
                    <a:pt x="14995" y="11817"/>
                    <a:pt x="15133" y="11817"/>
                  </a:cubicBezTo>
                  <a:lnTo>
                    <a:pt x="15133" y="11817"/>
                  </a:lnTo>
                  <a:cubicBezTo>
                    <a:pt x="15133" y="11732"/>
                    <a:pt x="15579" y="11457"/>
                    <a:pt x="15442" y="11577"/>
                  </a:cubicBezTo>
                  <a:lnTo>
                    <a:pt x="15442" y="11577"/>
                  </a:lnTo>
                  <a:cubicBezTo>
                    <a:pt x="15442" y="11577"/>
                    <a:pt x="15442" y="11697"/>
                    <a:pt x="15322" y="11697"/>
                  </a:cubicBezTo>
                  <a:cubicBezTo>
                    <a:pt x="15201" y="11697"/>
                    <a:pt x="15322" y="11697"/>
                    <a:pt x="15322" y="11783"/>
                  </a:cubicBezTo>
                  <a:lnTo>
                    <a:pt x="15322" y="11783"/>
                  </a:lnTo>
                  <a:cubicBezTo>
                    <a:pt x="15218" y="11783"/>
                    <a:pt x="15322" y="11955"/>
                    <a:pt x="15150" y="12006"/>
                  </a:cubicBezTo>
                  <a:cubicBezTo>
                    <a:pt x="14978" y="12058"/>
                    <a:pt x="15150" y="12127"/>
                    <a:pt x="15150" y="12006"/>
                  </a:cubicBezTo>
                  <a:cubicBezTo>
                    <a:pt x="15150" y="11886"/>
                    <a:pt x="14789" y="12161"/>
                    <a:pt x="15150" y="12144"/>
                  </a:cubicBezTo>
                  <a:cubicBezTo>
                    <a:pt x="15510" y="12127"/>
                    <a:pt x="14961" y="12298"/>
                    <a:pt x="15150" y="12247"/>
                  </a:cubicBezTo>
                  <a:cubicBezTo>
                    <a:pt x="15339" y="12195"/>
                    <a:pt x="14995" y="12419"/>
                    <a:pt x="14978" y="12247"/>
                  </a:cubicBezTo>
                  <a:cubicBezTo>
                    <a:pt x="14961" y="12075"/>
                    <a:pt x="14978" y="12333"/>
                    <a:pt x="14978" y="12350"/>
                  </a:cubicBezTo>
                  <a:cubicBezTo>
                    <a:pt x="14978" y="12367"/>
                    <a:pt x="15098" y="12350"/>
                    <a:pt x="15150" y="12350"/>
                  </a:cubicBezTo>
                  <a:cubicBezTo>
                    <a:pt x="15201" y="12350"/>
                    <a:pt x="14961" y="12350"/>
                    <a:pt x="14892" y="12505"/>
                  </a:cubicBezTo>
                  <a:cubicBezTo>
                    <a:pt x="15133" y="12505"/>
                    <a:pt x="15047" y="12505"/>
                    <a:pt x="14892" y="12608"/>
                  </a:cubicBezTo>
                  <a:cubicBezTo>
                    <a:pt x="14738" y="12711"/>
                    <a:pt x="14892" y="12608"/>
                    <a:pt x="14995" y="12608"/>
                  </a:cubicBezTo>
                  <a:cubicBezTo>
                    <a:pt x="15011" y="12682"/>
                    <a:pt x="14963" y="12755"/>
                    <a:pt x="14889" y="12770"/>
                  </a:cubicBezTo>
                  <a:cubicBezTo>
                    <a:pt x="14861" y="12776"/>
                    <a:pt x="14832" y="12773"/>
                    <a:pt x="14806" y="12762"/>
                  </a:cubicBezTo>
                  <a:cubicBezTo>
                    <a:pt x="14806" y="12762"/>
                    <a:pt x="14961" y="12848"/>
                    <a:pt x="14806" y="12917"/>
                  </a:cubicBezTo>
                  <a:cubicBezTo>
                    <a:pt x="14995" y="13020"/>
                    <a:pt x="14600" y="13157"/>
                    <a:pt x="14566" y="13089"/>
                  </a:cubicBezTo>
                  <a:cubicBezTo>
                    <a:pt x="14531" y="13020"/>
                    <a:pt x="14566" y="13363"/>
                    <a:pt x="14411" y="13312"/>
                  </a:cubicBezTo>
                  <a:cubicBezTo>
                    <a:pt x="14257" y="13260"/>
                    <a:pt x="14669" y="13312"/>
                    <a:pt x="14531" y="13415"/>
                  </a:cubicBezTo>
                  <a:cubicBezTo>
                    <a:pt x="14394" y="13518"/>
                    <a:pt x="14531" y="13415"/>
                    <a:pt x="14531" y="13501"/>
                  </a:cubicBezTo>
                  <a:cubicBezTo>
                    <a:pt x="14531" y="13587"/>
                    <a:pt x="14531" y="13501"/>
                    <a:pt x="14531" y="13621"/>
                  </a:cubicBezTo>
                  <a:lnTo>
                    <a:pt x="14634" y="13621"/>
                  </a:lnTo>
                  <a:cubicBezTo>
                    <a:pt x="14634" y="13707"/>
                    <a:pt x="14428" y="13879"/>
                    <a:pt x="14325" y="13844"/>
                  </a:cubicBezTo>
                  <a:cubicBezTo>
                    <a:pt x="14222" y="13810"/>
                    <a:pt x="14480" y="13844"/>
                    <a:pt x="14549" y="13844"/>
                  </a:cubicBezTo>
                  <a:cubicBezTo>
                    <a:pt x="14325" y="14050"/>
                    <a:pt x="14549" y="13844"/>
                    <a:pt x="14549" y="13844"/>
                  </a:cubicBezTo>
                  <a:cubicBezTo>
                    <a:pt x="14549" y="13844"/>
                    <a:pt x="14549" y="13844"/>
                    <a:pt x="14394" y="13999"/>
                  </a:cubicBezTo>
                  <a:cubicBezTo>
                    <a:pt x="14394" y="13999"/>
                    <a:pt x="14686" y="13810"/>
                    <a:pt x="14549" y="13999"/>
                  </a:cubicBezTo>
                  <a:lnTo>
                    <a:pt x="14549" y="13999"/>
                  </a:lnTo>
                  <a:cubicBezTo>
                    <a:pt x="14549" y="13999"/>
                    <a:pt x="14463" y="14102"/>
                    <a:pt x="14446" y="14153"/>
                  </a:cubicBezTo>
                  <a:cubicBezTo>
                    <a:pt x="14428" y="14205"/>
                    <a:pt x="14755" y="14153"/>
                    <a:pt x="14549" y="14153"/>
                  </a:cubicBezTo>
                  <a:cubicBezTo>
                    <a:pt x="14806" y="14342"/>
                    <a:pt x="14205" y="14239"/>
                    <a:pt x="14119" y="14360"/>
                  </a:cubicBezTo>
                  <a:cubicBezTo>
                    <a:pt x="14566" y="14360"/>
                    <a:pt x="13982" y="14360"/>
                    <a:pt x="13896" y="14497"/>
                  </a:cubicBezTo>
                  <a:cubicBezTo>
                    <a:pt x="13870" y="14437"/>
                    <a:pt x="13870" y="14368"/>
                    <a:pt x="13896" y="14308"/>
                  </a:cubicBezTo>
                  <a:cubicBezTo>
                    <a:pt x="13896" y="14445"/>
                    <a:pt x="13896" y="14531"/>
                    <a:pt x="13793" y="14634"/>
                  </a:cubicBezTo>
                  <a:cubicBezTo>
                    <a:pt x="13982" y="14634"/>
                    <a:pt x="14188" y="14342"/>
                    <a:pt x="14428" y="14411"/>
                  </a:cubicBezTo>
                  <a:cubicBezTo>
                    <a:pt x="14308" y="14257"/>
                    <a:pt x="14806" y="14411"/>
                    <a:pt x="14428" y="14617"/>
                  </a:cubicBezTo>
                  <a:cubicBezTo>
                    <a:pt x="14428" y="14617"/>
                    <a:pt x="14428" y="14617"/>
                    <a:pt x="14428" y="14617"/>
                  </a:cubicBezTo>
                  <a:cubicBezTo>
                    <a:pt x="14428" y="14617"/>
                    <a:pt x="14703" y="14463"/>
                    <a:pt x="14566" y="14617"/>
                  </a:cubicBezTo>
                  <a:cubicBezTo>
                    <a:pt x="14428" y="14772"/>
                    <a:pt x="14669" y="14617"/>
                    <a:pt x="14652" y="14617"/>
                  </a:cubicBezTo>
                  <a:cubicBezTo>
                    <a:pt x="14634" y="14617"/>
                    <a:pt x="14652" y="14789"/>
                    <a:pt x="14497" y="14772"/>
                  </a:cubicBezTo>
                  <a:cubicBezTo>
                    <a:pt x="14600" y="14772"/>
                    <a:pt x="14360" y="14995"/>
                    <a:pt x="14360" y="14875"/>
                  </a:cubicBezTo>
                  <a:cubicBezTo>
                    <a:pt x="14360" y="14755"/>
                    <a:pt x="14549" y="15047"/>
                    <a:pt x="14360" y="15012"/>
                  </a:cubicBezTo>
                  <a:cubicBezTo>
                    <a:pt x="14583" y="15115"/>
                    <a:pt x="13879" y="15407"/>
                    <a:pt x="13844" y="15287"/>
                  </a:cubicBezTo>
                  <a:cubicBezTo>
                    <a:pt x="13810" y="15167"/>
                    <a:pt x="13724" y="15287"/>
                    <a:pt x="13844" y="15287"/>
                  </a:cubicBezTo>
                  <a:cubicBezTo>
                    <a:pt x="13381" y="15682"/>
                    <a:pt x="13003" y="15734"/>
                    <a:pt x="12590" y="15407"/>
                  </a:cubicBezTo>
                  <a:cubicBezTo>
                    <a:pt x="12590" y="15407"/>
                    <a:pt x="12213" y="15407"/>
                    <a:pt x="12247" y="15253"/>
                  </a:cubicBezTo>
                  <a:cubicBezTo>
                    <a:pt x="11629" y="15631"/>
                    <a:pt x="11062" y="16026"/>
                    <a:pt x="10426" y="16369"/>
                  </a:cubicBezTo>
                  <a:cubicBezTo>
                    <a:pt x="10849" y="16193"/>
                    <a:pt x="11326" y="16193"/>
                    <a:pt x="11749" y="16369"/>
                  </a:cubicBezTo>
                  <a:cubicBezTo>
                    <a:pt x="11704" y="16429"/>
                    <a:pt x="11645" y="16477"/>
                    <a:pt x="11577" y="16507"/>
                  </a:cubicBezTo>
                  <a:cubicBezTo>
                    <a:pt x="11749" y="16507"/>
                    <a:pt x="11354" y="16885"/>
                    <a:pt x="11577" y="16936"/>
                  </a:cubicBezTo>
                  <a:cubicBezTo>
                    <a:pt x="11405" y="17022"/>
                    <a:pt x="11732" y="17262"/>
                    <a:pt x="11835" y="17125"/>
                  </a:cubicBezTo>
                  <a:cubicBezTo>
                    <a:pt x="11835" y="17125"/>
                    <a:pt x="11972" y="17262"/>
                    <a:pt x="11835" y="17245"/>
                  </a:cubicBezTo>
                  <a:cubicBezTo>
                    <a:pt x="12075" y="17245"/>
                    <a:pt x="11182" y="17520"/>
                    <a:pt x="11251" y="17365"/>
                  </a:cubicBezTo>
                  <a:cubicBezTo>
                    <a:pt x="11101" y="17505"/>
                    <a:pt x="10940" y="17631"/>
                    <a:pt x="10770" y="17743"/>
                  </a:cubicBezTo>
                  <a:lnTo>
                    <a:pt x="10770" y="17743"/>
                  </a:lnTo>
                  <a:cubicBezTo>
                    <a:pt x="10667" y="17743"/>
                    <a:pt x="10770" y="17589"/>
                    <a:pt x="10770" y="17640"/>
                  </a:cubicBezTo>
                  <a:cubicBezTo>
                    <a:pt x="10770" y="17417"/>
                    <a:pt x="11371" y="16988"/>
                    <a:pt x="11371" y="17280"/>
                  </a:cubicBezTo>
                  <a:cubicBezTo>
                    <a:pt x="11371" y="17177"/>
                    <a:pt x="11491" y="17280"/>
                    <a:pt x="11543" y="17194"/>
                  </a:cubicBezTo>
                  <a:cubicBezTo>
                    <a:pt x="11233" y="17073"/>
                    <a:pt x="11233" y="17194"/>
                    <a:pt x="11543" y="16970"/>
                  </a:cubicBezTo>
                  <a:lnTo>
                    <a:pt x="11543" y="16970"/>
                  </a:lnTo>
                  <a:lnTo>
                    <a:pt x="11543" y="16970"/>
                  </a:lnTo>
                  <a:cubicBezTo>
                    <a:pt x="11543" y="17073"/>
                    <a:pt x="11045" y="17245"/>
                    <a:pt x="11233" y="16970"/>
                  </a:cubicBezTo>
                  <a:cubicBezTo>
                    <a:pt x="11096" y="17125"/>
                    <a:pt x="11045" y="17073"/>
                    <a:pt x="10924" y="16970"/>
                  </a:cubicBezTo>
                  <a:cubicBezTo>
                    <a:pt x="10804" y="16867"/>
                    <a:pt x="10924" y="17091"/>
                    <a:pt x="10924" y="17159"/>
                  </a:cubicBezTo>
                  <a:cubicBezTo>
                    <a:pt x="10924" y="17228"/>
                    <a:pt x="10924" y="17331"/>
                    <a:pt x="10924" y="17159"/>
                  </a:cubicBezTo>
                  <a:cubicBezTo>
                    <a:pt x="10924" y="16988"/>
                    <a:pt x="10598" y="17314"/>
                    <a:pt x="10667" y="17159"/>
                  </a:cubicBezTo>
                  <a:cubicBezTo>
                    <a:pt x="10735" y="17005"/>
                    <a:pt x="10478" y="17245"/>
                    <a:pt x="10667" y="17159"/>
                  </a:cubicBezTo>
                  <a:cubicBezTo>
                    <a:pt x="10856" y="17073"/>
                    <a:pt x="10546" y="17297"/>
                    <a:pt x="10478" y="17331"/>
                  </a:cubicBezTo>
                  <a:lnTo>
                    <a:pt x="10478" y="17331"/>
                  </a:lnTo>
                  <a:cubicBezTo>
                    <a:pt x="10478" y="17331"/>
                    <a:pt x="10478" y="17417"/>
                    <a:pt x="10478" y="17331"/>
                  </a:cubicBezTo>
                  <a:cubicBezTo>
                    <a:pt x="10478" y="17245"/>
                    <a:pt x="10357" y="17469"/>
                    <a:pt x="10478" y="17331"/>
                  </a:cubicBezTo>
                  <a:cubicBezTo>
                    <a:pt x="10254" y="17331"/>
                    <a:pt x="9722" y="18345"/>
                    <a:pt x="10083" y="18001"/>
                  </a:cubicBezTo>
                  <a:cubicBezTo>
                    <a:pt x="10083" y="18138"/>
                    <a:pt x="9842" y="18327"/>
                    <a:pt x="9911" y="18087"/>
                  </a:cubicBezTo>
                  <a:cubicBezTo>
                    <a:pt x="9773" y="18259"/>
                    <a:pt x="9791" y="18241"/>
                    <a:pt x="9808" y="18087"/>
                  </a:cubicBezTo>
                  <a:cubicBezTo>
                    <a:pt x="9360" y="18252"/>
                    <a:pt x="8984" y="18568"/>
                    <a:pt x="8743" y="18980"/>
                  </a:cubicBezTo>
                  <a:lnTo>
                    <a:pt x="8743" y="18980"/>
                  </a:lnTo>
                  <a:lnTo>
                    <a:pt x="8743" y="18980"/>
                  </a:lnTo>
                  <a:cubicBezTo>
                    <a:pt x="8743" y="18980"/>
                    <a:pt x="8743" y="18825"/>
                    <a:pt x="8743" y="18740"/>
                  </a:cubicBezTo>
                  <a:cubicBezTo>
                    <a:pt x="8605" y="18980"/>
                    <a:pt x="8588" y="19289"/>
                    <a:pt x="8365" y="19495"/>
                  </a:cubicBezTo>
                  <a:lnTo>
                    <a:pt x="8365" y="19495"/>
                  </a:lnTo>
                  <a:lnTo>
                    <a:pt x="8262" y="19650"/>
                  </a:lnTo>
                  <a:cubicBezTo>
                    <a:pt x="8298" y="19536"/>
                    <a:pt x="8356" y="19431"/>
                    <a:pt x="8434" y="19341"/>
                  </a:cubicBezTo>
                  <a:cubicBezTo>
                    <a:pt x="8434" y="19341"/>
                    <a:pt x="8434" y="19255"/>
                    <a:pt x="8434" y="19221"/>
                  </a:cubicBezTo>
                  <a:lnTo>
                    <a:pt x="8434" y="19221"/>
                  </a:lnTo>
                  <a:cubicBezTo>
                    <a:pt x="8434" y="19014"/>
                    <a:pt x="8605" y="18860"/>
                    <a:pt x="8674" y="18671"/>
                  </a:cubicBezTo>
                  <a:cubicBezTo>
                    <a:pt x="8545" y="18838"/>
                    <a:pt x="8441" y="19023"/>
                    <a:pt x="8365" y="19221"/>
                  </a:cubicBezTo>
                  <a:cubicBezTo>
                    <a:pt x="8365" y="19117"/>
                    <a:pt x="8365" y="19032"/>
                    <a:pt x="8365" y="18929"/>
                  </a:cubicBezTo>
                  <a:cubicBezTo>
                    <a:pt x="8365" y="18825"/>
                    <a:pt x="8365" y="19581"/>
                    <a:pt x="8365" y="19324"/>
                  </a:cubicBezTo>
                  <a:cubicBezTo>
                    <a:pt x="8365" y="19324"/>
                    <a:pt x="8365" y="19598"/>
                    <a:pt x="8365" y="19530"/>
                  </a:cubicBezTo>
                  <a:cubicBezTo>
                    <a:pt x="8365" y="19461"/>
                    <a:pt x="8365" y="19616"/>
                    <a:pt x="8365" y="19650"/>
                  </a:cubicBezTo>
                  <a:cubicBezTo>
                    <a:pt x="8374" y="19605"/>
                    <a:pt x="8374" y="19558"/>
                    <a:pt x="8365" y="19513"/>
                  </a:cubicBezTo>
                  <a:cubicBezTo>
                    <a:pt x="8365" y="19650"/>
                    <a:pt x="8502" y="19719"/>
                    <a:pt x="8365" y="19856"/>
                  </a:cubicBezTo>
                  <a:lnTo>
                    <a:pt x="8365" y="19856"/>
                  </a:lnTo>
                  <a:cubicBezTo>
                    <a:pt x="8365" y="19993"/>
                    <a:pt x="8176" y="20148"/>
                    <a:pt x="8210" y="19976"/>
                  </a:cubicBezTo>
                  <a:cubicBezTo>
                    <a:pt x="8245" y="19805"/>
                    <a:pt x="8210" y="20079"/>
                    <a:pt x="8210" y="20097"/>
                  </a:cubicBezTo>
                  <a:cubicBezTo>
                    <a:pt x="8210" y="20114"/>
                    <a:pt x="8296" y="20097"/>
                    <a:pt x="8313" y="20234"/>
                  </a:cubicBezTo>
                  <a:cubicBezTo>
                    <a:pt x="8304" y="20200"/>
                    <a:pt x="8304" y="20165"/>
                    <a:pt x="8313" y="20131"/>
                  </a:cubicBezTo>
                  <a:cubicBezTo>
                    <a:pt x="8313" y="20234"/>
                    <a:pt x="8313" y="20285"/>
                    <a:pt x="8176" y="20354"/>
                  </a:cubicBezTo>
                  <a:cubicBezTo>
                    <a:pt x="8039" y="20423"/>
                    <a:pt x="8176" y="20354"/>
                    <a:pt x="8176" y="20251"/>
                  </a:cubicBezTo>
                  <a:cubicBezTo>
                    <a:pt x="8176" y="20148"/>
                    <a:pt x="8176" y="20251"/>
                    <a:pt x="8176" y="20251"/>
                  </a:cubicBezTo>
                  <a:cubicBezTo>
                    <a:pt x="8176" y="20251"/>
                    <a:pt x="8176" y="20474"/>
                    <a:pt x="8176" y="20389"/>
                  </a:cubicBezTo>
                  <a:lnTo>
                    <a:pt x="8176" y="20389"/>
                  </a:lnTo>
                  <a:lnTo>
                    <a:pt x="8176" y="20389"/>
                  </a:lnTo>
                  <a:lnTo>
                    <a:pt x="8176" y="20389"/>
                  </a:lnTo>
                  <a:cubicBezTo>
                    <a:pt x="6991" y="20389"/>
                    <a:pt x="6458" y="24992"/>
                    <a:pt x="6579" y="22982"/>
                  </a:cubicBezTo>
                  <a:cubicBezTo>
                    <a:pt x="6579" y="22982"/>
                    <a:pt x="6579" y="22982"/>
                    <a:pt x="6579" y="22982"/>
                  </a:cubicBezTo>
                  <a:cubicBezTo>
                    <a:pt x="6579" y="22982"/>
                    <a:pt x="6579" y="22982"/>
                    <a:pt x="6579" y="22982"/>
                  </a:cubicBezTo>
                  <a:lnTo>
                    <a:pt x="6579" y="22982"/>
                  </a:lnTo>
                  <a:cubicBezTo>
                    <a:pt x="6579" y="22879"/>
                    <a:pt x="6579" y="22707"/>
                    <a:pt x="6579" y="22604"/>
                  </a:cubicBezTo>
                  <a:cubicBezTo>
                    <a:pt x="6579" y="22501"/>
                    <a:pt x="6579" y="22604"/>
                    <a:pt x="6579" y="22707"/>
                  </a:cubicBezTo>
                  <a:cubicBezTo>
                    <a:pt x="6579" y="22810"/>
                    <a:pt x="6853" y="21780"/>
                    <a:pt x="6579" y="21745"/>
                  </a:cubicBezTo>
                  <a:cubicBezTo>
                    <a:pt x="6304" y="21711"/>
                    <a:pt x="6476" y="21849"/>
                    <a:pt x="6579" y="21745"/>
                  </a:cubicBezTo>
                  <a:lnTo>
                    <a:pt x="6579" y="21745"/>
                  </a:lnTo>
                  <a:lnTo>
                    <a:pt x="6579" y="21745"/>
                  </a:lnTo>
                  <a:cubicBezTo>
                    <a:pt x="6579" y="21745"/>
                    <a:pt x="6579" y="21574"/>
                    <a:pt x="6579" y="21642"/>
                  </a:cubicBezTo>
                  <a:cubicBezTo>
                    <a:pt x="6587" y="21603"/>
                    <a:pt x="6587" y="21562"/>
                    <a:pt x="6579" y="21522"/>
                  </a:cubicBezTo>
                  <a:lnTo>
                    <a:pt x="6579" y="21522"/>
                  </a:lnTo>
                  <a:cubicBezTo>
                    <a:pt x="6579" y="21522"/>
                    <a:pt x="6579" y="21436"/>
                    <a:pt x="6579" y="21385"/>
                  </a:cubicBezTo>
                  <a:lnTo>
                    <a:pt x="6579" y="21385"/>
                  </a:lnTo>
                  <a:cubicBezTo>
                    <a:pt x="6579" y="21385"/>
                    <a:pt x="6579" y="21385"/>
                    <a:pt x="6579" y="21385"/>
                  </a:cubicBezTo>
                  <a:cubicBezTo>
                    <a:pt x="6579" y="21385"/>
                    <a:pt x="6579" y="21385"/>
                    <a:pt x="6579" y="21385"/>
                  </a:cubicBezTo>
                  <a:cubicBezTo>
                    <a:pt x="6579" y="21385"/>
                    <a:pt x="6579" y="21282"/>
                    <a:pt x="6579" y="21230"/>
                  </a:cubicBezTo>
                  <a:lnTo>
                    <a:pt x="6579" y="21333"/>
                  </a:lnTo>
                  <a:cubicBezTo>
                    <a:pt x="6579" y="21230"/>
                    <a:pt x="6390" y="21333"/>
                    <a:pt x="6373" y="21453"/>
                  </a:cubicBezTo>
                  <a:lnTo>
                    <a:pt x="6373" y="21453"/>
                  </a:lnTo>
                  <a:cubicBezTo>
                    <a:pt x="6373" y="21642"/>
                    <a:pt x="6373" y="21763"/>
                    <a:pt x="6373" y="21849"/>
                  </a:cubicBezTo>
                  <a:cubicBezTo>
                    <a:pt x="6373" y="21934"/>
                    <a:pt x="6373" y="21471"/>
                    <a:pt x="6373" y="21763"/>
                  </a:cubicBezTo>
                  <a:lnTo>
                    <a:pt x="6373" y="21660"/>
                  </a:lnTo>
                  <a:cubicBezTo>
                    <a:pt x="6373" y="21539"/>
                    <a:pt x="6373" y="21471"/>
                    <a:pt x="6373" y="21350"/>
                  </a:cubicBezTo>
                  <a:cubicBezTo>
                    <a:pt x="6373" y="21230"/>
                    <a:pt x="6373" y="21350"/>
                    <a:pt x="6373" y="21350"/>
                  </a:cubicBezTo>
                  <a:cubicBezTo>
                    <a:pt x="6373" y="21591"/>
                    <a:pt x="6373" y="21076"/>
                    <a:pt x="6184" y="21350"/>
                  </a:cubicBezTo>
                  <a:cubicBezTo>
                    <a:pt x="6184" y="21350"/>
                    <a:pt x="6184" y="21196"/>
                    <a:pt x="6184" y="21127"/>
                  </a:cubicBezTo>
                  <a:cubicBezTo>
                    <a:pt x="6184" y="21058"/>
                    <a:pt x="6184" y="21247"/>
                    <a:pt x="6184" y="21127"/>
                  </a:cubicBezTo>
                  <a:cubicBezTo>
                    <a:pt x="6193" y="21213"/>
                    <a:pt x="6193" y="21299"/>
                    <a:pt x="6184" y="21385"/>
                  </a:cubicBezTo>
                  <a:lnTo>
                    <a:pt x="6184" y="21385"/>
                  </a:lnTo>
                  <a:lnTo>
                    <a:pt x="6184" y="21505"/>
                  </a:lnTo>
                  <a:lnTo>
                    <a:pt x="6184" y="21505"/>
                  </a:lnTo>
                  <a:cubicBezTo>
                    <a:pt x="6184" y="21591"/>
                    <a:pt x="6184" y="21505"/>
                    <a:pt x="6184" y="21505"/>
                  </a:cubicBezTo>
                  <a:lnTo>
                    <a:pt x="6184" y="21505"/>
                  </a:lnTo>
                  <a:cubicBezTo>
                    <a:pt x="6184" y="21505"/>
                    <a:pt x="6184" y="21505"/>
                    <a:pt x="6184" y="21505"/>
                  </a:cubicBezTo>
                  <a:lnTo>
                    <a:pt x="6184" y="21505"/>
                  </a:lnTo>
                  <a:cubicBezTo>
                    <a:pt x="6184" y="21505"/>
                    <a:pt x="6184" y="21608"/>
                    <a:pt x="6184" y="21608"/>
                  </a:cubicBezTo>
                  <a:lnTo>
                    <a:pt x="6184" y="21608"/>
                  </a:lnTo>
                  <a:cubicBezTo>
                    <a:pt x="6085" y="21918"/>
                    <a:pt x="6005" y="22233"/>
                    <a:pt x="5943" y="22553"/>
                  </a:cubicBezTo>
                  <a:cubicBezTo>
                    <a:pt x="5943" y="22553"/>
                    <a:pt x="5943" y="22433"/>
                    <a:pt x="5943" y="22398"/>
                  </a:cubicBezTo>
                  <a:cubicBezTo>
                    <a:pt x="5943" y="22364"/>
                    <a:pt x="5840" y="22862"/>
                    <a:pt x="5943" y="22621"/>
                  </a:cubicBezTo>
                  <a:cubicBezTo>
                    <a:pt x="5838" y="23115"/>
                    <a:pt x="5758" y="23614"/>
                    <a:pt x="5703" y="24116"/>
                  </a:cubicBezTo>
                  <a:cubicBezTo>
                    <a:pt x="5668" y="24579"/>
                    <a:pt x="5668" y="25044"/>
                    <a:pt x="5703" y="25507"/>
                  </a:cubicBezTo>
                  <a:cubicBezTo>
                    <a:pt x="5703" y="25507"/>
                    <a:pt x="5703" y="25507"/>
                    <a:pt x="5703" y="25507"/>
                  </a:cubicBezTo>
                  <a:cubicBezTo>
                    <a:pt x="5709" y="25479"/>
                    <a:pt x="5709" y="25449"/>
                    <a:pt x="5703" y="25421"/>
                  </a:cubicBezTo>
                  <a:lnTo>
                    <a:pt x="5703" y="25421"/>
                  </a:lnTo>
                  <a:cubicBezTo>
                    <a:pt x="5703" y="25421"/>
                    <a:pt x="5703" y="25421"/>
                    <a:pt x="5703" y="25421"/>
                  </a:cubicBezTo>
                  <a:lnTo>
                    <a:pt x="5703" y="25421"/>
                  </a:lnTo>
                  <a:cubicBezTo>
                    <a:pt x="5703" y="25421"/>
                    <a:pt x="5703" y="25559"/>
                    <a:pt x="5703" y="25627"/>
                  </a:cubicBezTo>
                  <a:lnTo>
                    <a:pt x="5703" y="25627"/>
                  </a:lnTo>
                  <a:lnTo>
                    <a:pt x="5703" y="25627"/>
                  </a:lnTo>
                  <a:cubicBezTo>
                    <a:pt x="5711" y="25553"/>
                    <a:pt x="5711" y="25478"/>
                    <a:pt x="5703" y="25404"/>
                  </a:cubicBezTo>
                  <a:lnTo>
                    <a:pt x="5703" y="25404"/>
                  </a:lnTo>
                  <a:cubicBezTo>
                    <a:pt x="5857" y="25249"/>
                    <a:pt x="5703" y="24511"/>
                    <a:pt x="5995" y="24665"/>
                  </a:cubicBezTo>
                  <a:cubicBezTo>
                    <a:pt x="5995" y="24665"/>
                    <a:pt x="5995" y="24562"/>
                    <a:pt x="5995" y="24665"/>
                  </a:cubicBezTo>
                  <a:cubicBezTo>
                    <a:pt x="5995" y="24769"/>
                    <a:pt x="5995" y="24665"/>
                    <a:pt x="5995" y="24665"/>
                  </a:cubicBezTo>
                  <a:cubicBezTo>
                    <a:pt x="5995" y="24665"/>
                    <a:pt x="5995" y="24820"/>
                    <a:pt x="5995" y="24665"/>
                  </a:cubicBezTo>
                  <a:cubicBezTo>
                    <a:pt x="6098" y="24957"/>
                    <a:pt x="5806" y="25284"/>
                    <a:pt x="5857" y="25593"/>
                  </a:cubicBezTo>
                  <a:cubicBezTo>
                    <a:pt x="5857" y="25593"/>
                    <a:pt x="5857" y="25868"/>
                    <a:pt x="5857" y="25919"/>
                  </a:cubicBezTo>
                  <a:cubicBezTo>
                    <a:pt x="5814" y="26294"/>
                    <a:pt x="5476" y="26563"/>
                    <a:pt x="5101" y="26521"/>
                  </a:cubicBezTo>
                  <a:cubicBezTo>
                    <a:pt x="4727" y="26478"/>
                    <a:pt x="4457" y="26140"/>
                    <a:pt x="4500" y="25765"/>
                  </a:cubicBezTo>
                  <a:cubicBezTo>
                    <a:pt x="4500" y="25954"/>
                    <a:pt x="4500" y="26349"/>
                    <a:pt x="4397" y="26658"/>
                  </a:cubicBezTo>
                  <a:lnTo>
                    <a:pt x="4397" y="26658"/>
                  </a:lnTo>
                  <a:cubicBezTo>
                    <a:pt x="4380" y="26726"/>
                    <a:pt x="4380" y="26796"/>
                    <a:pt x="4397" y="26864"/>
                  </a:cubicBezTo>
                  <a:lnTo>
                    <a:pt x="4397" y="26864"/>
                  </a:lnTo>
                  <a:cubicBezTo>
                    <a:pt x="4397" y="26864"/>
                    <a:pt x="4397" y="26864"/>
                    <a:pt x="4397" y="26950"/>
                  </a:cubicBezTo>
                  <a:cubicBezTo>
                    <a:pt x="4397" y="27036"/>
                    <a:pt x="4603" y="27139"/>
                    <a:pt x="4586" y="26950"/>
                  </a:cubicBezTo>
                  <a:cubicBezTo>
                    <a:pt x="4586" y="27053"/>
                    <a:pt x="4586" y="27105"/>
                    <a:pt x="4724" y="27190"/>
                  </a:cubicBezTo>
                  <a:lnTo>
                    <a:pt x="4724" y="27190"/>
                  </a:lnTo>
                  <a:cubicBezTo>
                    <a:pt x="4738" y="27241"/>
                    <a:pt x="4738" y="27295"/>
                    <a:pt x="4724" y="27345"/>
                  </a:cubicBezTo>
                  <a:cubicBezTo>
                    <a:pt x="4724" y="27208"/>
                    <a:pt x="4724" y="27345"/>
                    <a:pt x="4724" y="27448"/>
                  </a:cubicBezTo>
                  <a:lnTo>
                    <a:pt x="4724" y="27448"/>
                  </a:lnTo>
                  <a:cubicBezTo>
                    <a:pt x="4767" y="27681"/>
                    <a:pt x="4767" y="27920"/>
                    <a:pt x="4724" y="28152"/>
                  </a:cubicBezTo>
                  <a:lnTo>
                    <a:pt x="4724" y="28152"/>
                  </a:lnTo>
                  <a:cubicBezTo>
                    <a:pt x="4732" y="28307"/>
                    <a:pt x="4732" y="28462"/>
                    <a:pt x="4724" y="28616"/>
                  </a:cubicBezTo>
                  <a:cubicBezTo>
                    <a:pt x="4724" y="28616"/>
                    <a:pt x="4724" y="28513"/>
                    <a:pt x="4724" y="28444"/>
                  </a:cubicBezTo>
                  <a:cubicBezTo>
                    <a:pt x="4715" y="28564"/>
                    <a:pt x="4715" y="28685"/>
                    <a:pt x="4724" y="28805"/>
                  </a:cubicBezTo>
                  <a:cubicBezTo>
                    <a:pt x="4734" y="28777"/>
                    <a:pt x="4734" y="28747"/>
                    <a:pt x="4724" y="28719"/>
                  </a:cubicBezTo>
                  <a:cubicBezTo>
                    <a:pt x="4697" y="28861"/>
                    <a:pt x="4697" y="29007"/>
                    <a:pt x="4724" y="29149"/>
                  </a:cubicBezTo>
                  <a:cubicBezTo>
                    <a:pt x="4724" y="29063"/>
                    <a:pt x="4947" y="30042"/>
                    <a:pt x="4930" y="29733"/>
                  </a:cubicBezTo>
                  <a:cubicBezTo>
                    <a:pt x="5136" y="30265"/>
                    <a:pt x="5170" y="29131"/>
                    <a:pt x="5634" y="30471"/>
                  </a:cubicBezTo>
                  <a:cubicBezTo>
                    <a:pt x="5634" y="30368"/>
                    <a:pt x="5634" y="29337"/>
                    <a:pt x="5960" y="29595"/>
                  </a:cubicBezTo>
                  <a:cubicBezTo>
                    <a:pt x="5960" y="29818"/>
                    <a:pt x="5960" y="29595"/>
                    <a:pt x="5960" y="29475"/>
                  </a:cubicBezTo>
                  <a:cubicBezTo>
                    <a:pt x="5960" y="29355"/>
                    <a:pt x="6252" y="29303"/>
                    <a:pt x="6355" y="29234"/>
                  </a:cubicBezTo>
                  <a:cubicBezTo>
                    <a:pt x="6476" y="29458"/>
                    <a:pt x="6355" y="29836"/>
                    <a:pt x="6355" y="30145"/>
                  </a:cubicBezTo>
                  <a:cubicBezTo>
                    <a:pt x="6630" y="30901"/>
                    <a:pt x="6355" y="29681"/>
                    <a:pt x="6665" y="29664"/>
                  </a:cubicBezTo>
                  <a:cubicBezTo>
                    <a:pt x="6974" y="29647"/>
                    <a:pt x="6527" y="29544"/>
                    <a:pt x="6665" y="29441"/>
                  </a:cubicBezTo>
                  <a:cubicBezTo>
                    <a:pt x="6802" y="29337"/>
                    <a:pt x="6665" y="29664"/>
                    <a:pt x="6785" y="29733"/>
                  </a:cubicBezTo>
                  <a:cubicBezTo>
                    <a:pt x="6933" y="29741"/>
                    <a:pt x="7051" y="29859"/>
                    <a:pt x="7060" y="30007"/>
                  </a:cubicBezTo>
                  <a:cubicBezTo>
                    <a:pt x="6939" y="30213"/>
                    <a:pt x="7352" y="30145"/>
                    <a:pt x="7472" y="30196"/>
                  </a:cubicBezTo>
                  <a:cubicBezTo>
                    <a:pt x="7558" y="30660"/>
                    <a:pt x="8090" y="30042"/>
                    <a:pt x="8262" y="30402"/>
                  </a:cubicBezTo>
                  <a:cubicBezTo>
                    <a:pt x="8004" y="30402"/>
                    <a:pt x="8073" y="30402"/>
                    <a:pt x="8262" y="30643"/>
                  </a:cubicBezTo>
                  <a:cubicBezTo>
                    <a:pt x="8262" y="30471"/>
                    <a:pt x="8863" y="31107"/>
                    <a:pt x="8434" y="31107"/>
                  </a:cubicBezTo>
                  <a:cubicBezTo>
                    <a:pt x="8885" y="31152"/>
                    <a:pt x="9220" y="31547"/>
                    <a:pt x="9189" y="32000"/>
                  </a:cubicBezTo>
                  <a:cubicBezTo>
                    <a:pt x="9189" y="31673"/>
                    <a:pt x="9550" y="32154"/>
                    <a:pt x="9550" y="32309"/>
                  </a:cubicBezTo>
                  <a:cubicBezTo>
                    <a:pt x="9464" y="32103"/>
                    <a:pt x="10461" y="32309"/>
                    <a:pt x="10220" y="32532"/>
                  </a:cubicBezTo>
                  <a:cubicBezTo>
                    <a:pt x="10443" y="32361"/>
                    <a:pt x="10976" y="33030"/>
                    <a:pt x="10856" y="33151"/>
                  </a:cubicBezTo>
                  <a:cubicBezTo>
                    <a:pt x="11010" y="32893"/>
                    <a:pt x="11130" y="33735"/>
                    <a:pt x="11302" y="33924"/>
                  </a:cubicBezTo>
                  <a:cubicBezTo>
                    <a:pt x="11474" y="34113"/>
                    <a:pt x="10976" y="34559"/>
                    <a:pt x="11045" y="34868"/>
                  </a:cubicBezTo>
                  <a:cubicBezTo>
                    <a:pt x="11045" y="34611"/>
                    <a:pt x="11233" y="34628"/>
                    <a:pt x="11148" y="34868"/>
                  </a:cubicBezTo>
                  <a:cubicBezTo>
                    <a:pt x="11148" y="34868"/>
                    <a:pt x="11268" y="34559"/>
                    <a:pt x="11337" y="34731"/>
                  </a:cubicBezTo>
                  <a:cubicBezTo>
                    <a:pt x="11405" y="34903"/>
                    <a:pt x="11337" y="34731"/>
                    <a:pt x="11337" y="34731"/>
                  </a:cubicBezTo>
                  <a:cubicBezTo>
                    <a:pt x="11337" y="34216"/>
                    <a:pt x="12401" y="35143"/>
                    <a:pt x="11337" y="35092"/>
                  </a:cubicBezTo>
                  <a:cubicBezTo>
                    <a:pt x="11749" y="35092"/>
                    <a:pt x="11543" y="35315"/>
                    <a:pt x="11680" y="35624"/>
                  </a:cubicBezTo>
                  <a:cubicBezTo>
                    <a:pt x="11543" y="35074"/>
                    <a:pt x="12075" y="34576"/>
                    <a:pt x="12419" y="35074"/>
                  </a:cubicBezTo>
                  <a:cubicBezTo>
                    <a:pt x="12419" y="35074"/>
                    <a:pt x="12608" y="35177"/>
                    <a:pt x="12642" y="35263"/>
                  </a:cubicBezTo>
                  <a:cubicBezTo>
                    <a:pt x="12676" y="35349"/>
                    <a:pt x="12986" y="35366"/>
                    <a:pt x="12882" y="35469"/>
                  </a:cubicBezTo>
                  <a:cubicBezTo>
                    <a:pt x="12779" y="35573"/>
                    <a:pt x="12882" y="35727"/>
                    <a:pt x="12968" y="35830"/>
                  </a:cubicBezTo>
                  <a:cubicBezTo>
                    <a:pt x="13054" y="35933"/>
                    <a:pt x="12968" y="35487"/>
                    <a:pt x="12968" y="35710"/>
                  </a:cubicBezTo>
                  <a:cubicBezTo>
                    <a:pt x="12968" y="35555"/>
                    <a:pt x="13106" y="35607"/>
                    <a:pt x="12968" y="35504"/>
                  </a:cubicBezTo>
                  <a:cubicBezTo>
                    <a:pt x="12831" y="35401"/>
                    <a:pt x="13363" y="35761"/>
                    <a:pt x="13363" y="35641"/>
                  </a:cubicBezTo>
                  <a:cubicBezTo>
                    <a:pt x="13363" y="35521"/>
                    <a:pt x="13363" y="35641"/>
                    <a:pt x="13466" y="35744"/>
                  </a:cubicBezTo>
                  <a:cubicBezTo>
                    <a:pt x="13569" y="35847"/>
                    <a:pt x="13466" y="35744"/>
                    <a:pt x="13466" y="35744"/>
                  </a:cubicBezTo>
                  <a:lnTo>
                    <a:pt x="13466" y="35744"/>
                  </a:lnTo>
                  <a:lnTo>
                    <a:pt x="13466" y="35744"/>
                  </a:lnTo>
                  <a:cubicBezTo>
                    <a:pt x="14841" y="36157"/>
                    <a:pt x="16438" y="37462"/>
                    <a:pt x="14926" y="38922"/>
                  </a:cubicBezTo>
                  <a:cubicBezTo>
                    <a:pt x="14926" y="38836"/>
                    <a:pt x="14926" y="38682"/>
                    <a:pt x="14926" y="38819"/>
                  </a:cubicBezTo>
                  <a:cubicBezTo>
                    <a:pt x="14926" y="38956"/>
                    <a:pt x="14823" y="38819"/>
                    <a:pt x="14806" y="38819"/>
                  </a:cubicBezTo>
                  <a:lnTo>
                    <a:pt x="14806" y="38819"/>
                  </a:lnTo>
                  <a:cubicBezTo>
                    <a:pt x="15133" y="39386"/>
                    <a:pt x="15717" y="41619"/>
                    <a:pt x="14806" y="41447"/>
                  </a:cubicBezTo>
                  <a:cubicBezTo>
                    <a:pt x="14806" y="41447"/>
                    <a:pt x="14514" y="41447"/>
                    <a:pt x="14806" y="41447"/>
                  </a:cubicBezTo>
                  <a:cubicBezTo>
                    <a:pt x="15098" y="41447"/>
                    <a:pt x="14652" y="41447"/>
                    <a:pt x="14600" y="41447"/>
                  </a:cubicBezTo>
                  <a:cubicBezTo>
                    <a:pt x="14549" y="41447"/>
                    <a:pt x="14600" y="41533"/>
                    <a:pt x="14600" y="41687"/>
                  </a:cubicBezTo>
                  <a:cubicBezTo>
                    <a:pt x="14360" y="41498"/>
                    <a:pt x="14257" y="41997"/>
                    <a:pt x="14154" y="41962"/>
                  </a:cubicBezTo>
                  <a:cubicBezTo>
                    <a:pt x="14050" y="41928"/>
                    <a:pt x="14154" y="41962"/>
                    <a:pt x="14154" y="41962"/>
                  </a:cubicBezTo>
                  <a:cubicBezTo>
                    <a:pt x="14154" y="41962"/>
                    <a:pt x="14291" y="42048"/>
                    <a:pt x="14154" y="42048"/>
                  </a:cubicBezTo>
                  <a:cubicBezTo>
                    <a:pt x="14016" y="42048"/>
                    <a:pt x="14154" y="42048"/>
                    <a:pt x="14154" y="42048"/>
                  </a:cubicBezTo>
                  <a:cubicBezTo>
                    <a:pt x="14154" y="42048"/>
                    <a:pt x="14446" y="42426"/>
                    <a:pt x="14411" y="42529"/>
                  </a:cubicBezTo>
                  <a:cubicBezTo>
                    <a:pt x="14377" y="42632"/>
                    <a:pt x="14411" y="43697"/>
                    <a:pt x="14411" y="43336"/>
                  </a:cubicBezTo>
                  <a:cubicBezTo>
                    <a:pt x="14411" y="43336"/>
                    <a:pt x="14411" y="43336"/>
                    <a:pt x="14411" y="43250"/>
                  </a:cubicBezTo>
                  <a:cubicBezTo>
                    <a:pt x="14411" y="43165"/>
                    <a:pt x="14411" y="43113"/>
                    <a:pt x="14411" y="43113"/>
                  </a:cubicBezTo>
                  <a:cubicBezTo>
                    <a:pt x="14338" y="43042"/>
                    <a:pt x="14257" y="42979"/>
                    <a:pt x="14171" y="42924"/>
                  </a:cubicBezTo>
                  <a:cubicBezTo>
                    <a:pt x="14231" y="42979"/>
                    <a:pt x="14283" y="43043"/>
                    <a:pt x="14325" y="43113"/>
                  </a:cubicBezTo>
                  <a:cubicBezTo>
                    <a:pt x="14325" y="43113"/>
                    <a:pt x="14446" y="43354"/>
                    <a:pt x="14325" y="43250"/>
                  </a:cubicBezTo>
                  <a:cubicBezTo>
                    <a:pt x="14858" y="44041"/>
                    <a:pt x="14325" y="44264"/>
                    <a:pt x="13844" y="43817"/>
                  </a:cubicBezTo>
                  <a:lnTo>
                    <a:pt x="14549" y="44418"/>
                  </a:lnTo>
                  <a:lnTo>
                    <a:pt x="14549" y="44418"/>
                  </a:lnTo>
                  <a:cubicBezTo>
                    <a:pt x="14637" y="44494"/>
                    <a:pt x="14707" y="44587"/>
                    <a:pt x="14755" y="44693"/>
                  </a:cubicBezTo>
                  <a:lnTo>
                    <a:pt x="14755" y="44693"/>
                  </a:lnTo>
                  <a:cubicBezTo>
                    <a:pt x="14755" y="44693"/>
                    <a:pt x="14944" y="44951"/>
                    <a:pt x="14755" y="44882"/>
                  </a:cubicBezTo>
                  <a:cubicBezTo>
                    <a:pt x="14566" y="44814"/>
                    <a:pt x="14394" y="44882"/>
                    <a:pt x="14291" y="44882"/>
                  </a:cubicBezTo>
                  <a:cubicBezTo>
                    <a:pt x="14188" y="44882"/>
                    <a:pt x="14480" y="45037"/>
                    <a:pt x="14566" y="45123"/>
                  </a:cubicBezTo>
                  <a:lnTo>
                    <a:pt x="14566" y="45123"/>
                  </a:lnTo>
                  <a:cubicBezTo>
                    <a:pt x="14909" y="45466"/>
                    <a:pt x="14995" y="45569"/>
                    <a:pt x="14463" y="45294"/>
                  </a:cubicBezTo>
                  <a:cubicBezTo>
                    <a:pt x="14621" y="45462"/>
                    <a:pt x="14807" y="45602"/>
                    <a:pt x="15012" y="45707"/>
                  </a:cubicBezTo>
                  <a:cubicBezTo>
                    <a:pt x="15012" y="45707"/>
                    <a:pt x="15012" y="45707"/>
                    <a:pt x="15012" y="45707"/>
                  </a:cubicBezTo>
                  <a:lnTo>
                    <a:pt x="15012" y="45707"/>
                  </a:lnTo>
                  <a:cubicBezTo>
                    <a:pt x="15304" y="45930"/>
                    <a:pt x="15133" y="45947"/>
                    <a:pt x="15717" y="46359"/>
                  </a:cubicBezTo>
                  <a:lnTo>
                    <a:pt x="15717" y="46359"/>
                  </a:lnTo>
                  <a:lnTo>
                    <a:pt x="15717" y="46359"/>
                  </a:lnTo>
                  <a:lnTo>
                    <a:pt x="15717" y="46359"/>
                  </a:lnTo>
                  <a:cubicBezTo>
                    <a:pt x="15991" y="46669"/>
                    <a:pt x="16438" y="46737"/>
                    <a:pt x="16730" y="47012"/>
                  </a:cubicBezTo>
                  <a:lnTo>
                    <a:pt x="16730" y="47012"/>
                  </a:lnTo>
                  <a:lnTo>
                    <a:pt x="16730" y="47012"/>
                  </a:lnTo>
                  <a:lnTo>
                    <a:pt x="16730" y="47012"/>
                  </a:lnTo>
                  <a:lnTo>
                    <a:pt x="16885" y="47132"/>
                  </a:lnTo>
                  <a:lnTo>
                    <a:pt x="16885" y="47132"/>
                  </a:lnTo>
                  <a:lnTo>
                    <a:pt x="17091" y="47270"/>
                  </a:lnTo>
                  <a:cubicBezTo>
                    <a:pt x="17091" y="47270"/>
                    <a:pt x="17091" y="47270"/>
                    <a:pt x="16988" y="47270"/>
                  </a:cubicBezTo>
                  <a:cubicBezTo>
                    <a:pt x="17278" y="47454"/>
                    <a:pt x="17582" y="47614"/>
                    <a:pt x="17898" y="47751"/>
                  </a:cubicBezTo>
                  <a:lnTo>
                    <a:pt x="17898" y="47751"/>
                  </a:lnTo>
                  <a:cubicBezTo>
                    <a:pt x="17795" y="47751"/>
                    <a:pt x="17898" y="47751"/>
                    <a:pt x="17898" y="47751"/>
                  </a:cubicBezTo>
                  <a:lnTo>
                    <a:pt x="17898" y="47751"/>
                  </a:lnTo>
                  <a:cubicBezTo>
                    <a:pt x="18059" y="47847"/>
                    <a:pt x="18225" y="47933"/>
                    <a:pt x="18396" y="48008"/>
                  </a:cubicBezTo>
                  <a:lnTo>
                    <a:pt x="18173" y="48008"/>
                  </a:lnTo>
                  <a:close/>
                  <a:moveTo>
                    <a:pt x="20560" y="10117"/>
                  </a:moveTo>
                  <a:cubicBezTo>
                    <a:pt x="20286" y="10409"/>
                    <a:pt x="20560" y="10014"/>
                    <a:pt x="20560" y="9980"/>
                  </a:cubicBezTo>
                  <a:cubicBezTo>
                    <a:pt x="20560" y="9945"/>
                    <a:pt x="20423" y="10134"/>
                    <a:pt x="20286" y="10323"/>
                  </a:cubicBezTo>
                  <a:cubicBezTo>
                    <a:pt x="19822" y="10083"/>
                    <a:pt x="19581" y="10976"/>
                    <a:pt x="19289" y="10907"/>
                  </a:cubicBezTo>
                  <a:cubicBezTo>
                    <a:pt x="19530" y="11165"/>
                    <a:pt x="19100" y="10907"/>
                    <a:pt x="19152" y="11165"/>
                  </a:cubicBezTo>
                  <a:cubicBezTo>
                    <a:pt x="19014" y="10959"/>
                    <a:pt x="19152" y="11165"/>
                    <a:pt x="19152" y="11165"/>
                  </a:cubicBezTo>
                  <a:cubicBezTo>
                    <a:pt x="19152" y="10907"/>
                    <a:pt x="19152" y="11457"/>
                    <a:pt x="18997" y="11165"/>
                  </a:cubicBezTo>
                  <a:cubicBezTo>
                    <a:pt x="18688" y="11165"/>
                    <a:pt x="18997" y="11577"/>
                    <a:pt x="18585" y="11577"/>
                  </a:cubicBezTo>
                  <a:cubicBezTo>
                    <a:pt x="18585" y="11577"/>
                    <a:pt x="18327" y="12024"/>
                    <a:pt x="18259" y="11903"/>
                  </a:cubicBezTo>
                  <a:cubicBezTo>
                    <a:pt x="18190" y="11783"/>
                    <a:pt x="17846" y="12453"/>
                    <a:pt x="18001" y="12109"/>
                  </a:cubicBezTo>
                  <a:cubicBezTo>
                    <a:pt x="17537" y="12401"/>
                    <a:pt x="18104" y="11938"/>
                    <a:pt x="17743" y="12006"/>
                  </a:cubicBezTo>
                  <a:cubicBezTo>
                    <a:pt x="18173" y="11680"/>
                    <a:pt x="18070" y="11749"/>
                    <a:pt x="17503" y="11783"/>
                  </a:cubicBezTo>
                  <a:cubicBezTo>
                    <a:pt x="17588" y="11313"/>
                    <a:pt x="17763" y="10864"/>
                    <a:pt x="18018" y="10461"/>
                  </a:cubicBezTo>
                  <a:cubicBezTo>
                    <a:pt x="18018" y="10220"/>
                    <a:pt x="18224" y="10461"/>
                    <a:pt x="18448" y="10134"/>
                  </a:cubicBezTo>
                  <a:cubicBezTo>
                    <a:pt x="17984" y="10306"/>
                    <a:pt x="17984" y="10134"/>
                    <a:pt x="18448" y="9739"/>
                  </a:cubicBezTo>
                  <a:cubicBezTo>
                    <a:pt x="18345" y="9739"/>
                    <a:pt x="18207" y="9739"/>
                    <a:pt x="18345" y="9739"/>
                  </a:cubicBezTo>
                  <a:cubicBezTo>
                    <a:pt x="18482" y="9739"/>
                    <a:pt x="18345" y="9636"/>
                    <a:pt x="18963" y="9344"/>
                  </a:cubicBezTo>
                  <a:cubicBezTo>
                    <a:pt x="17709" y="9808"/>
                    <a:pt x="19392" y="8966"/>
                    <a:pt x="18774" y="9104"/>
                  </a:cubicBezTo>
                  <a:cubicBezTo>
                    <a:pt x="19272" y="8657"/>
                    <a:pt x="19152" y="9293"/>
                    <a:pt x="19324" y="9104"/>
                  </a:cubicBezTo>
                  <a:cubicBezTo>
                    <a:pt x="18997" y="9104"/>
                    <a:pt x="19667" y="8863"/>
                    <a:pt x="19324" y="8966"/>
                  </a:cubicBezTo>
                  <a:cubicBezTo>
                    <a:pt x="19444" y="8846"/>
                    <a:pt x="19169" y="8966"/>
                    <a:pt x="18946" y="8966"/>
                  </a:cubicBezTo>
                  <a:cubicBezTo>
                    <a:pt x="19427" y="8537"/>
                    <a:pt x="19238" y="9086"/>
                    <a:pt x="19598" y="8674"/>
                  </a:cubicBezTo>
                  <a:cubicBezTo>
                    <a:pt x="19289" y="8846"/>
                    <a:pt x="19341" y="8554"/>
                    <a:pt x="19598" y="8674"/>
                  </a:cubicBezTo>
                  <a:cubicBezTo>
                    <a:pt x="19808" y="8533"/>
                    <a:pt x="20004" y="8372"/>
                    <a:pt x="20182" y="8193"/>
                  </a:cubicBezTo>
                  <a:cubicBezTo>
                    <a:pt x="19994" y="8193"/>
                    <a:pt x="20182" y="7266"/>
                    <a:pt x="20354" y="7953"/>
                  </a:cubicBezTo>
                  <a:cubicBezTo>
                    <a:pt x="20354" y="7953"/>
                    <a:pt x="20509" y="7712"/>
                    <a:pt x="20560" y="7764"/>
                  </a:cubicBezTo>
                  <a:cubicBezTo>
                    <a:pt x="20612" y="7815"/>
                    <a:pt x="21144" y="6991"/>
                    <a:pt x="20681" y="7386"/>
                  </a:cubicBezTo>
                  <a:cubicBezTo>
                    <a:pt x="20217" y="7781"/>
                    <a:pt x="21162" y="6922"/>
                    <a:pt x="21746" y="6338"/>
                  </a:cubicBezTo>
                  <a:cubicBezTo>
                    <a:pt x="23154" y="5256"/>
                    <a:pt x="21746" y="5497"/>
                    <a:pt x="22914" y="4981"/>
                  </a:cubicBezTo>
                  <a:cubicBezTo>
                    <a:pt x="23085" y="4981"/>
                    <a:pt x="23206" y="5067"/>
                    <a:pt x="23326" y="4844"/>
                  </a:cubicBezTo>
                  <a:cubicBezTo>
                    <a:pt x="26332" y="3556"/>
                    <a:pt x="25576" y="4260"/>
                    <a:pt x="26761" y="3693"/>
                  </a:cubicBezTo>
                  <a:cubicBezTo>
                    <a:pt x="26418" y="3882"/>
                    <a:pt x="26761" y="3693"/>
                    <a:pt x="26881" y="3693"/>
                  </a:cubicBezTo>
                  <a:cubicBezTo>
                    <a:pt x="26503" y="3951"/>
                    <a:pt x="26710" y="3693"/>
                    <a:pt x="26607" y="3951"/>
                  </a:cubicBezTo>
                  <a:cubicBezTo>
                    <a:pt x="26761" y="4140"/>
                    <a:pt x="25765" y="4243"/>
                    <a:pt x="26211" y="4208"/>
                  </a:cubicBezTo>
                  <a:cubicBezTo>
                    <a:pt x="26658" y="4174"/>
                    <a:pt x="26057" y="4346"/>
                    <a:pt x="26211" y="4329"/>
                  </a:cubicBezTo>
                  <a:cubicBezTo>
                    <a:pt x="26555" y="4054"/>
                    <a:pt x="26211" y="4483"/>
                    <a:pt x="26074" y="4500"/>
                  </a:cubicBezTo>
                  <a:cubicBezTo>
                    <a:pt x="25284" y="5119"/>
                    <a:pt x="27036" y="3744"/>
                    <a:pt x="26383" y="4621"/>
                  </a:cubicBezTo>
                  <a:cubicBezTo>
                    <a:pt x="26108" y="4844"/>
                    <a:pt x="25816" y="4861"/>
                    <a:pt x="26057" y="4947"/>
                  </a:cubicBezTo>
                  <a:cubicBezTo>
                    <a:pt x="25672" y="5283"/>
                    <a:pt x="25406" y="5735"/>
                    <a:pt x="25301" y="6235"/>
                  </a:cubicBezTo>
                  <a:cubicBezTo>
                    <a:pt x="25198" y="5874"/>
                    <a:pt x="24751" y="6424"/>
                    <a:pt x="25112" y="6373"/>
                  </a:cubicBezTo>
                  <a:cubicBezTo>
                    <a:pt x="24837" y="6596"/>
                    <a:pt x="25112" y="6373"/>
                    <a:pt x="25009" y="6596"/>
                  </a:cubicBezTo>
                  <a:cubicBezTo>
                    <a:pt x="24906" y="6819"/>
                    <a:pt x="24837" y="6596"/>
                    <a:pt x="24751" y="6596"/>
                  </a:cubicBezTo>
                  <a:cubicBezTo>
                    <a:pt x="24666" y="6596"/>
                    <a:pt x="24751" y="6957"/>
                    <a:pt x="24751" y="6768"/>
                  </a:cubicBezTo>
                  <a:cubicBezTo>
                    <a:pt x="24751" y="6871"/>
                    <a:pt x="25061" y="7128"/>
                    <a:pt x="24751" y="7180"/>
                  </a:cubicBezTo>
                  <a:cubicBezTo>
                    <a:pt x="24271" y="6750"/>
                    <a:pt x="24751" y="7575"/>
                    <a:pt x="24442" y="7489"/>
                  </a:cubicBezTo>
                  <a:cubicBezTo>
                    <a:pt x="23961" y="7729"/>
                    <a:pt x="24442" y="7060"/>
                    <a:pt x="24133" y="7489"/>
                  </a:cubicBezTo>
                  <a:cubicBezTo>
                    <a:pt x="24133" y="7283"/>
                    <a:pt x="23807" y="7609"/>
                    <a:pt x="23738" y="7626"/>
                  </a:cubicBezTo>
                  <a:cubicBezTo>
                    <a:pt x="24150" y="7626"/>
                    <a:pt x="23738" y="7764"/>
                    <a:pt x="23738" y="7781"/>
                  </a:cubicBezTo>
                  <a:cubicBezTo>
                    <a:pt x="24236" y="7781"/>
                    <a:pt x="23738" y="7918"/>
                    <a:pt x="23824" y="7987"/>
                  </a:cubicBezTo>
                  <a:cubicBezTo>
                    <a:pt x="24442" y="8090"/>
                    <a:pt x="23515" y="9705"/>
                    <a:pt x="23583" y="8262"/>
                  </a:cubicBezTo>
                  <a:cubicBezTo>
                    <a:pt x="23034" y="7901"/>
                    <a:pt x="23978" y="8657"/>
                    <a:pt x="23137" y="8520"/>
                  </a:cubicBezTo>
                  <a:cubicBezTo>
                    <a:pt x="23291" y="8640"/>
                    <a:pt x="22673" y="8777"/>
                    <a:pt x="22931" y="8726"/>
                  </a:cubicBezTo>
                  <a:cubicBezTo>
                    <a:pt x="23188" y="8674"/>
                    <a:pt x="23326" y="8915"/>
                    <a:pt x="22931" y="8846"/>
                  </a:cubicBezTo>
                  <a:cubicBezTo>
                    <a:pt x="22536" y="8777"/>
                    <a:pt x="24082" y="8846"/>
                    <a:pt x="23446" y="9121"/>
                  </a:cubicBezTo>
                  <a:cubicBezTo>
                    <a:pt x="23446" y="9121"/>
                    <a:pt x="23171" y="9327"/>
                    <a:pt x="23137" y="9275"/>
                  </a:cubicBezTo>
                  <a:cubicBezTo>
                    <a:pt x="23103" y="9224"/>
                    <a:pt x="21866" y="9859"/>
                    <a:pt x="21952" y="9396"/>
                  </a:cubicBezTo>
                  <a:cubicBezTo>
                    <a:pt x="22038" y="8932"/>
                    <a:pt x="21952" y="9636"/>
                    <a:pt x="21831" y="9653"/>
                  </a:cubicBezTo>
                  <a:cubicBezTo>
                    <a:pt x="21385" y="9688"/>
                    <a:pt x="20612" y="10529"/>
                    <a:pt x="20560" y="10117"/>
                  </a:cubicBezTo>
                  <a:close/>
                  <a:moveTo>
                    <a:pt x="23669" y="11440"/>
                  </a:moveTo>
                  <a:cubicBezTo>
                    <a:pt x="23669" y="11577"/>
                    <a:pt x="23463" y="11543"/>
                    <a:pt x="23412" y="11440"/>
                  </a:cubicBezTo>
                  <a:cubicBezTo>
                    <a:pt x="23360" y="11337"/>
                    <a:pt x="23223" y="11440"/>
                    <a:pt x="23274" y="11319"/>
                  </a:cubicBezTo>
                  <a:cubicBezTo>
                    <a:pt x="23326" y="11199"/>
                    <a:pt x="23188" y="11319"/>
                    <a:pt x="23274" y="11319"/>
                  </a:cubicBezTo>
                  <a:cubicBezTo>
                    <a:pt x="23173" y="11345"/>
                    <a:pt x="23067" y="11345"/>
                    <a:pt x="22965" y="11319"/>
                  </a:cubicBezTo>
                  <a:cubicBezTo>
                    <a:pt x="22965" y="11319"/>
                    <a:pt x="22965" y="11319"/>
                    <a:pt x="22965" y="11319"/>
                  </a:cubicBezTo>
                  <a:cubicBezTo>
                    <a:pt x="22965" y="11319"/>
                    <a:pt x="22965" y="11319"/>
                    <a:pt x="22965" y="11233"/>
                  </a:cubicBezTo>
                  <a:cubicBezTo>
                    <a:pt x="22965" y="11148"/>
                    <a:pt x="22965" y="11233"/>
                    <a:pt x="22965" y="11233"/>
                  </a:cubicBezTo>
                  <a:cubicBezTo>
                    <a:pt x="22965" y="11233"/>
                    <a:pt x="23120" y="11096"/>
                    <a:pt x="23206" y="11148"/>
                  </a:cubicBezTo>
                  <a:cubicBezTo>
                    <a:pt x="23291" y="11199"/>
                    <a:pt x="22948" y="11251"/>
                    <a:pt x="23206" y="11027"/>
                  </a:cubicBezTo>
                  <a:cubicBezTo>
                    <a:pt x="23206" y="11113"/>
                    <a:pt x="23051" y="11027"/>
                    <a:pt x="23206" y="10941"/>
                  </a:cubicBezTo>
                  <a:cubicBezTo>
                    <a:pt x="23360" y="10856"/>
                    <a:pt x="22948" y="10941"/>
                    <a:pt x="22948" y="10821"/>
                  </a:cubicBezTo>
                  <a:cubicBezTo>
                    <a:pt x="22948" y="10701"/>
                    <a:pt x="23206" y="10735"/>
                    <a:pt x="23223" y="10821"/>
                  </a:cubicBezTo>
                  <a:cubicBezTo>
                    <a:pt x="23240" y="10907"/>
                    <a:pt x="23395" y="10821"/>
                    <a:pt x="23412" y="10718"/>
                  </a:cubicBezTo>
                  <a:cubicBezTo>
                    <a:pt x="23429" y="10615"/>
                    <a:pt x="23291" y="10718"/>
                    <a:pt x="23412" y="10718"/>
                  </a:cubicBezTo>
                  <a:cubicBezTo>
                    <a:pt x="23532" y="10718"/>
                    <a:pt x="23291" y="10718"/>
                    <a:pt x="23412" y="10632"/>
                  </a:cubicBezTo>
                  <a:cubicBezTo>
                    <a:pt x="23532" y="10546"/>
                    <a:pt x="23412" y="10632"/>
                    <a:pt x="23412" y="10632"/>
                  </a:cubicBezTo>
                  <a:cubicBezTo>
                    <a:pt x="23412" y="10632"/>
                    <a:pt x="23412" y="10718"/>
                    <a:pt x="23412" y="10632"/>
                  </a:cubicBezTo>
                  <a:cubicBezTo>
                    <a:pt x="23412" y="10546"/>
                    <a:pt x="23412" y="10632"/>
                    <a:pt x="23412" y="10632"/>
                  </a:cubicBezTo>
                  <a:cubicBezTo>
                    <a:pt x="23223" y="10873"/>
                    <a:pt x="23120" y="10478"/>
                    <a:pt x="23291" y="10632"/>
                  </a:cubicBezTo>
                  <a:cubicBezTo>
                    <a:pt x="23463" y="10787"/>
                    <a:pt x="23291" y="10478"/>
                    <a:pt x="23291" y="10632"/>
                  </a:cubicBezTo>
                  <a:cubicBezTo>
                    <a:pt x="23291" y="10787"/>
                    <a:pt x="23291" y="10632"/>
                    <a:pt x="23291" y="10632"/>
                  </a:cubicBezTo>
                  <a:cubicBezTo>
                    <a:pt x="23291" y="10632"/>
                    <a:pt x="23291" y="10529"/>
                    <a:pt x="23291" y="10632"/>
                  </a:cubicBezTo>
                  <a:cubicBezTo>
                    <a:pt x="23291" y="10735"/>
                    <a:pt x="23291" y="10478"/>
                    <a:pt x="23291" y="10632"/>
                  </a:cubicBezTo>
                  <a:cubicBezTo>
                    <a:pt x="23291" y="10787"/>
                    <a:pt x="23412" y="10632"/>
                    <a:pt x="23291" y="10632"/>
                  </a:cubicBezTo>
                  <a:cubicBezTo>
                    <a:pt x="23171" y="10632"/>
                    <a:pt x="23395" y="10632"/>
                    <a:pt x="23291" y="10632"/>
                  </a:cubicBezTo>
                  <a:cubicBezTo>
                    <a:pt x="23188" y="10632"/>
                    <a:pt x="23120" y="10478"/>
                    <a:pt x="23291" y="10478"/>
                  </a:cubicBezTo>
                  <a:cubicBezTo>
                    <a:pt x="22999" y="10375"/>
                    <a:pt x="23395" y="10375"/>
                    <a:pt x="23291" y="10581"/>
                  </a:cubicBezTo>
                  <a:cubicBezTo>
                    <a:pt x="23291" y="10581"/>
                    <a:pt x="23291" y="10581"/>
                    <a:pt x="23291" y="10581"/>
                  </a:cubicBezTo>
                  <a:cubicBezTo>
                    <a:pt x="23291" y="10581"/>
                    <a:pt x="23291" y="10701"/>
                    <a:pt x="23291" y="10581"/>
                  </a:cubicBezTo>
                  <a:cubicBezTo>
                    <a:pt x="23302" y="10608"/>
                    <a:pt x="23302" y="10639"/>
                    <a:pt x="23291" y="10667"/>
                  </a:cubicBezTo>
                  <a:cubicBezTo>
                    <a:pt x="23291" y="10667"/>
                    <a:pt x="23291" y="10753"/>
                    <a:pt x="23291" y="10787"/>
                  </a:cubicBezTo>
                  <a:cubicBezTo>
                    <a:pt x="23291" y="10821"/>
                    <a:pt x="23291" y="10787"/>
                    <a:pt x="23291" y="10873"/>
                  </a:cubicBezTo>
                  <a:cubicBezTo>
                    <a:pt x="23311" y="10799"/>
                    <a:pt x="23361" y="10737"/>
                    <a:pt x="23429" y="10701"/>
                  </a:cubicBezTo>
                  <a:cubicBezTo>
                    <a:pt x="23429" y="10907"/>
                    <a:pt x="23429" y="10478"/>
                    <a:pt x="23601" y="10461"/>
                  </a:cubicBezTo>
                  <a:cubicBezTo>
                    <a:pt x="23772" y="10443"/>
                    <a:pt x="23601" y="10581"/>
                    <a:pt x="23601" y="10598"/>
                  </a:cubicBezTo>
                  <a:cubicBezTo>
                    <a:pt x="23601" y="10615"/>
                    <a:pt x="23687" y="10461"/>
                    <a:pt x="23790" y="10478"/>
                  </a:cubicBezTo>
                  <a:cubicBezTo>
                    <a:pt x="23832" y="10576"/>
                    <a:pt x="23832" y="10688"/>
                    <a:pt x="23790" y="10787"/>
                  </a:cubicBezTo>
                  <a:cubicBezTo>
                    <a:pt x="23893" y="10701"/>
                    <a:pt x="23790" y="10461"/>
                    <a:pt x="23961" y="10512"/>
                  </a:cubicBezTo>
                  <a:cubicBezTo>
                    <a:pt x="24133" y="10564"/>
                    <a:pt x="24116" y="10375"/>
                    <a:pt x="24099" y="10512"/>
                  </a:cubicBezTo>
                  <a:cubicBezTo>
                    <a:pt x="24082" y="10649"/>
                    <a:pt x="24356" y="10220"/>
                    <a:pt x="24322" y="10512"/>
                  </a:cubicBezTo>
                  <a:cubicBezTo>
                    <a:pt x="24288" y="10804"/>
                    <a:pt x="24442" y="10357"/>
                    <a:pt x="24528" y="10512"/>
                  </a:cubicBezTo>
                  <a:cubicBezTo>
                    <a:pt x="24614" y="10667"/>
                    <a:pt x="24356" y="10667"/>
                    <a:pt x="24528" y="10632"/>
                  </a:cubicBezTo>
                  <a:cubicBezTo>
                    <a:pt x="24700" y="10598"/>
                    <a:pt x="24425" y="10632"/>
                    <a:pt x="24528" y="10804"/>
                  </a:cubicBezTo>
                  <a:cubicBezTo>
                    <a:pt x="24631" y="10976"/>
                    <a:pt x="24528" y="10804"/>
                    <a:pt x="24528" y="10804"/>
                  </a:cubicBezTo>
                  <a:cubicBezTo>
                    <a:pt x="24751" y="10804"/>
                    <a:pt x="24614" y="10804"/>
                    <a:pt x="24528" y="10924"/>
                  </a:cubicBezTo>
                  <a:cubicBezTo>
                    <a:pt x="24442" y="11045"/>
                    <a:pt x="24528" y="11079"/>
                    <a:pt x="24528" y="11148"/>
                  </a:cubicBezTo>
                  <a:cubicBezTo>
                    <a:pt x="24374" y="10924"/>
                    <a:pt x="24528" y="11440"/>
                    <a:pt x="24288" y="11148"/>
                  </a:cubicBezTo>
                  <a:cubicBezTo>
                    <a:pt x="24288" y="11268"/>
                    <a:pt x="24064" y="11268"/>
                    <a:pt x="23978" y="11388"/>
                  </a:cubicBezTo>
                  <a:lnTo>
                    <a:pt x="23978" y="11388"/>
                  </a:lnTo>
                  <a:cubicBezTo>
                    <a:pt x="23978" y="11388"/>
                    <a:pt x="23841" y="11388"/>
                    <a:pt x="23790" y="11388"/>
                  </a:cubicBezTo>
                  <a:cubicBezTo>
                    <a:pt x="23738" y="11388"/>
                    <a:pt x="23790" y="11388"/>
                    <a:pt x="23790" y="11388"/>
                  </a:cubicBezTo>
                  <a:cubicBezTo>
                    <a:pt x="23790" y="11388"/>
                    <a:pt x="23738" y="11594"/>
                    <a:pt x="23669" y="11440"/>
                  </a:cubicBezTo>
                  <a:close/>
                  <a:moveTo>
                    <a:pt x="38184" y="41533"/>
                  </a:moveTo>
                  <a:cubicBezTo>
                    <a:pt x="38063" y="41224"/>
                    <a:pt x="38579" y="40880"/>
                    <a:pt x="38802" y="40640"/>
                  </a:cubicBezTo>
                  <a:cubicBezTo>
                    <a:pt x="39025" y="40399"/>
                    <a:pt x="39025" y="39729"/>
                    <a:pt x="39540" y="39523"/>
                  </a:cubicBezTo>
                  <a:lnTo>
                    <a:pt x="39540" y="39523"/>
                  </a:lnTo>
                  <a:cubicBezTo>
                    <a:pt x="39540" y="39523"/>
                    <a:pt x="39540" y="39523"/>
                    <a:pt x="39540" y="39523"/>
                  </a:cubicBezTo>
                  <a:cubicBezTo>
                    <a:pt x="39540" y="39523"/>
                    <a:pt x="39644" y="39523"/>
                    <a:pt x="39781" y="39386"/>
                  </a:cubicBezTo>
                  <a:cubicBezTo>
                    <a:pt x="39661" y="39678"/>
                    <a:pt x="40073" y="39077"/>
                    <a:pt x="39953" y="39386"/>
                  </a:cubicBezTo>
                  <a:cubicBezTo>
                    <a:pt x="39832" y="39695"/>
                    <a:pt x="39953" y="39386"/>
                    <a:pt x="39953" y="39386"/>
                  </a:cubicBezTo>
                  <a:cubicBezTo>
                    <a:pt x="39953" y="39386"/>
                    <a:pt x="39953" y="39386"/>
                    <a:pt x="39953" y="39248"/>
                  </a:cubicBezTo>
                  <a:cubicBezTo>
                    <a:pt x="39953" y="39111"/>
                    <a:pt x="40073" y="39248"/>
                    <a:pt x="39953" y="39248"/>
                  </a:cubicBezTo>
                  <a:lnTo>
                    <a:pt x="39953" y="39248"/>
                  </a:lnTo>
                  <a:cubicBezTo>
                    <a:pt x="39953" y="39248"/>
                    <a:pt x="39953" y="39248"/>
                    <a:pt x="39953" y="39369"/>
                  </a:cubicBezTo>
                  <a:cubicBezTo>
                    <a:pt x="39953" y="39489"/>
                    <a:pt x="40090" y="39197"/>
                    <a:pt x="40107" y="39266"/>
                  </a:cubicBezTo>
                  <a:cubicBezTo>
                    <a:pt x="40124" y="39334"/>
                    <a:pt x="40107" y="39266"/>
                    <a:pt x="40107" y="39145"/>
                  </a:cubicBezTo>
                  <a:cubicBezTo>
                    <a:pt x="40107" y="39025"/>
                    <a:pt x="40262" y="39145"/>
                    <a:pt x="40107" y="39042"/>
                  </a:cubicBezTo>
                  <a:cubicBezTo>
                    <a:pt x="39953" y="38939"/>
                    <a:pt x="40107" y="39145"/>
                    <a:pt x="40262" y="38939"/>
                  </a:cubicBezTo>
                  <a:cubicBezTo>
                    <a:pt x="40416" y="38733"/>
                    <a:pt x="40537" y="38733"/>
                    <a:pt x="40485" y="38561"/>
                  </a:cubicBezTo>
                  <a:cubicBezTo>
                    <a:pt x="40434" y="38389"/>
                    <a:pt x="40588" y="38561"/>
                    <a:pt x="40674" y="38441"/>
                  </a:cubicBezTo>
                  <a:cubicBezTo>
                    <a:pt x="40760" y="38321"/>
                    <a:pt x="40674" y="38664"/>
                    <a:pt x="40674" y="38664"/>
                  </a:cubicBezTo>
                  <a:cubicBezTo>
                    <a:pt x="41344" y="38922"/>
                    <a:pt x="37514" y="43560"/>
                    <a:pt x="38184" y="41533"/>
                  </a:cubicBezTo>
                  <a:close/>
                  <a:moveTo>
                    <a:pt x="49159" y="26589"/>
                  </a:moveTo>
                  <a:cubicBezTo>
                    <a:pt x="49159" y="26589"/>
                    <a:pt x="49159" y="26589"/>
                    <a:pt x="49159" y="26589"/>
                  </a:cubicBezTo>
                  <a:cubicBezTo>
                    <a:pt x="48810" y="27921"/>
                    <a:pt x="48552" y="29276"/>
                    <a:pt x="48386" y="30643"/>
                  </a:cubicBezTo>
                  <a:cubicBezTo>
                    <a:pt x="48386" y="30540"/>
                    <a:pt x="48215" y="30780"/>
                    <a:pt x="48215" y="30849"/>
                  </a:cubicBezTo>
                  <a:cubicBezTo>
                    <a:pt x="48026" y="31570"/>
                    <a:pt x="47579" y="26864"/>
                    <a:pt x="47613" y="26452"/>
                  </a:cubicBezTo>
                  <a:cubicBezTo>
                    <a:pt x="47459" y="26452"/>
                    <a:pt x="47613" y="26263"/>
                    <a:pt x="47613" y="26160"/>
                  </a:cubicBezTo>
                  <a:cubicBezTo>
                    <a:pt x="47613" y="26057"/>
                    <a:pt x="47528" y="26160"/>
                    <a:pt x="47528" y="26160"/>
                  </a:cubicBezTo>
                  <a:cubicBezTo>
                    <a:pt x="47528" y="26555"/>
                    <a:pt x="47373" y="27362"/>
                    <a:pt x="47098" y="26606"/>
                  </a:cubicBezTo>
                  <a:cubicBezTo>
                    <a:pt x="47098" y="26606"/>
                    <a:pt x="46909" y="26332"/>
                    <a:pt x="46995" y="26383"/>
                  </a:cubicBezTo>
                  <a:lnTo>
                    <a:pt x="46995" y="26383"/>
                  </a:lnTo>
                  <a:cubicBezTo>
                    <a:pt x="46995" y="26538"/>
                    <a:pt x="46995" y="26383"/>
                    <a:pt x="46995" y="26383"/>
                  </a:cubicBezTo>
                  <a:cubicBezTo>
                    <a:pt x="46995" y="26383"/>
                    <a:pt x="47201" y="26074"/>
                    <a:pt x="47081" y="26040"/>
                  </a:cubicBezTo>
                  <a:cubicBezTo>
                    <a:pt x="47081" y="26383"/>
                    <a:pt x="46583" y="26040"/>
                    <a:pt x="46806" y="25833"/>
                  </a:cubicBezTo>
                  <a:cubicBezTo>
                    <a:pt x="46806" y="25833"/>
                    <a:pt x="46806" y="25937"/>
                    <a:pt x="46686" y="25971"/>
                  </a:cubicBezTo>
                  <a:cubicBezTo>
                    <a:pt x="46566" y="26005"/>
                    <a:pt x="46686" y="25885"/>
                    <a:pt x="46549" y="25971"/>
                  </a:cubicBezTo>
                  <a:cubicBezTo>
                    <a:pt x="46411" y="26057"/>
                    <a:pt x="46549" y="25696"/>
                    <a:pt x="46428" y="25559"/>
                  </a:cubicBezTo>
                  <a:cubicBezTo>
                    <a:pt x="46239" y="25730"/>
                    <a:pt x="46428" y="25318"/>
                    <a:pt x="46119" y="25438"/>
                  </a:cubicBezTo>
                  <a:cubicBezTo>
                    <a:pt x="46119" y="25438"/>
                    <a:pt x="45965" y="25524"/>
                    <a:pt x="45913" y="25610"/>
                  </a:cubicBezTo>
                  <a:cubicBezTo>
                    <a:pt x="45861" y="25696"/>
                    <a:pt x="45810" y="25610"/>
                    <a:pt x="45741" y="25610"/>
                  </a:cubicBezTo>
                  <a:cubicBezTo>
                    <a:pt x="45673" y="25610"/>
                    <a:pt x="45604" y="25610"/>
                    <a:pt x="45552" y="25765"/>
                  </a:cubicBezTo>
                  <a:cubicBezTo>
                    <a:pt x="45501" y="25919"/>
                    <a:pt x="45552" y="25765"/>
                    <a:pt x="45432" y="25765"/>
                  </a:cubicBezTo>
                  <a:cubicBezTo>
                    <a:pt x="45312" y="25765"/>
                    <a:pt x="45260" y="25885"/>
                    <a:pt x="45209" y="25679"/>
                  </a:cubicBezTo>
                  <a:cubicBezTo>
                    <a:pt x="45209" y="25782"/>
                    <a:pt x="44814" y="25679"/>
                    <a:pt x="44728" y="25679"/>
                  </a:cubicBezTo>
                  <a:cubicBezTo>
                    <a:pt x="44642" y="25679"/>
                    <a:pt x="44573" y="25679"/>
                    <a:pt x="44453" y="25679"/>
                  </a:cubicBezTo>
                  <a:cubicBezTo>
                    <a:pt x="44178" y="24683"/>
                    <a:pt x="44144" y="25541"/>
                    <a:pt x="43663" y="25404"/>
                  </a:cubicBezTo>
                  <a:cubicBezTo>
                    <a:pt x="43560" y="25404"/>
                    <a:pt x="43251" y="25284"/>
                    <a:pt x="43285" y="25146"/>
                  </a:cubicBezTo>
                  <a:cubicBezTo>
                    <a:pt x="43319" y="25009"/>
                    <a:pt x="42838" y="25146"/>
                    <a:pt x="42804" y="24803"/>
                  </a:cubicBezTo>
                  <a:cubicBezTo>
                    <a:pt x="42804" y="24803"/>
                    <a:pt x="42684" y="24803"/>
                    <a:pt x="42804" y="24803"/>
                  </a:cubicBezTo>
                  <a:cubicBezTo>
                    <a:pt x="42632" y="24803"/>
                    <a:pt x="42564" y="24185"/>
                    <a:pt x="42375" y="24425"/>
                  </a:cubicBezTo>
                  <a:cubicBezTo>
                    <a:pt x="42375" y="24339"/>
                    <a:pt x="42220" y="24425"/>
                    <a:pt x="42272" y="24270"/>
                  </a:cubicBezTo>
                  <a:cubicBezTo>
                    <a:pt x="42323" y="24116"/>
                    <a:pt x="42272" y="24270"/>
                    <a:pt x="42272" y="24270"/>
                  </a:cubicBezTo>
                  <a:cubicBezTo>
                    <a:pt x="42272" y="24270"/>
                    <a:pt x="42272" y="24494"/>
                    <a:pt x="42272" y="24270"/>
                  </a:cubicBezTo>
                  <a:cubicBezTo>
                    <a:pt x="42272" y="24047"/>
                    <a:pt x="42272" y="24580"/>
                    <a:pt x="42100" y="24597"/>
                  </a:cubicBezTo>
                  <a:lnTo>
                    <a:pt x="42220" y="24597"/>
                  </a:lnTo>
                  <a:lnTo>
                    <a:pt x="42220" y="24597"/>
                  </a:lnTo>
                  <a:cubicBezTo>
                    <a:pt x="42220" y="24597"/>
                    <a:pt x="42220" y="24700"/>
                    <a:pt x="42220" y="24734"/>
                  </a:cubicBezTo>
                  <a:cubicBezTo>
                    <a:pt x="42220" y="24769"/>
                    <a:pt x="42220" y="24837"/>
                    <a:pt x="42220" y="24734"/>
                  </a:cubicBezTo>
                  <a:cubicBezTo>
                    <a:pt x="42259" y="24896"/>
                    <a:pt x="42365" y="25033"/>
                    <a:pt x="42512" y="25112"/>
                  </a:cubicBezTo>
                  <a:cubicBezTo>
                    <a:pt x="42512" y="25112"/>
                    <a:pt x="42821" y="25438"/>
                    <a:pt x="42770" y="25610"/>
                  </a:cubicBezTo>
                  <a:lnTo>
                    <a:pt x="42770" y="25610"/>
                  </a:lnTo>
                  <a:cubicBezTo>
                    <a:pt x="42993" y="25851"/>
                    <a:pt x="43027" y="26314"/>
                    <a:pt x="43045" y="25782"/>
                  </a:cubicBezTo>
                  <a:cubicBezTo>
                    <a:pt x="43045" y="25645"/>
                    <a:pt x="43045" y="25438"/>
                    <a:pt x="43165" y="25627"/>
                  </a:cubicBezTo>
                  <a:cubicBezTo>
                    <a:pt x="43133" y="25786"/>
                    <a:pt x="43133" y="25950"/>
                    <a:pt x="43165" y="26108"/>
                  </a:cubicBezTo>
                  <a:cubicBezTo>
                    <a:pt x="43165" y="26108"/>
                    <a:pt x="43165" y="26297"/>
                    <a:pt x="43165" y="26211"/>
                  </a:cubicBezTo>
                  <a:lnTo>
                    <a:pt x="43165" y="26366"/>
                  </a:lnTo>
                  <a:cubicBezTo>
                    <a:pt x="43371" y="26177"/>
                    <a:pt x="43646" y="26366"/>
                    <a:pt x="43766" y="26091"/>
                  </a:cubicBezTo>
                  <a:lnTo>
                    <a:pt x="43766" y="26091"/>
                  </a:lnTo>
                  <a:cubicBezTo>
                    <a:pt x="43766" y="25833"/>
                    <a:pt x="44024" y="25593"/>
                    <a:pt x="44058" y="25318"/>
                  </a:cubicBezTo>
                  <a:lnTo>
                    <a:pt x="44058" y="25318"/>
                  </a:lnTo>
                  <a:cubicBezTo>
                    <a:pt x="44058" y="25318"/>
                    <a:pt x="44058" y="25146"/>
                    <a:pt x="44058" y="25215"/>
                  </a:cubicBezTo>
                  <a:cubicBezTo>
                    <a:pt x="44058" y="25284"/>
                    <a:pt x="44058" y="25559"/>
                    <a:pt x="44058" y="25507"/>
                  </a:cubicBezTo>
                  <a:cubicBezTo>
                    <a:pt x="44058" y="25851"/>
                    <a:pt x="44247" y="26280"/>
                    <a:pt x="44642" y="26091"/>
                  </a:cubicBezTo>
                  <a:cubicBezTo>
                    <a:pt x="44947" y="26440"/>
                    <a:pt x="44947" y="26961"/>
                    <a:pt x="44642" y="27311"/>
                  </a:cubicBezTo>
                  <a:cubicBezTo>
                    <a:pt x="44642" y="27105"/>
                    <a:pt x="44487" y="27757"/>
                    <a:pt x="44642" y="27877"/>
                  </a:cubicBezTo>
                  <a:cubicBezTo>
                    <a:pt x="44230" y="27877"/>
                    <a:pt x="44505" y="28290"/>
                    <a:pt x="44109" y="28376"/>
                  </a:cubicBezTo>
                  <a:cubicBezTo>
                    <a:pt x="44109" y="28496"/>
                    <a:pt x="44109" y="28599"/>
                    <a:pt x="44109" y="28719"/>
                  </a:cubicBezTo>
                  <a:cubicBezTo>
                    <a:pt x="43847" y="28757"/>
                    <a:pt x="43612" y="28900"/>
                    <a:pt x="43457" y="29114"/>
                  </a:cubicBezTo>
                  <a:cubicBezTo>
                    <a:pt x="43457" y="29475"/>
                    <a:pt x="42924" y="29595"/>
                    <a:pt x="42684" y="29767"/>
                  </a:cubicBezTo>
                  <a:cubicBezTo>
                    <a:pt x="42443" y="29939"/>
                    <a:pt x="42495" y="30042"/>
                    <a:pt x="42357" y="29990"/>
                  </a:cubicBezTo>
                  <a:cubicBezTo>
                    <a:pt x="42248" y="30193"/>
                    <a:pt x="42016" y="30299"/>
                    <a:pt x="41791" y="30248"/>
                  </a:cubicBezTo>
                  <a:cubicBezTo>
                    <a:pt x="41649" y="30457"/>
                    <a:pt x="41423" y="30595"/>
                    <a:pt x="41172" y="30626"/>
                  </a:cubicBezTo>
                  <a:cubicBezTo>
                    <a:pt x="41035" y="30317"/>
                    <a:pt x="41172" y="29904"/>
                    <a:pt x="40897" y="29629"/>
                  </a:cubicBezTo>
                  <a:cubicBezTo>
                    <a:pt x="41155" y="29011"/>
                    <a:pt x="40262" y="28204"/>
                    <a:pt x="39850" y="27706"/>
                  </a:cubicBezTo>
                  <a:cubicBezTo>
                    <a:pt x="39850" y="27293"/>
                    <a:pt x="39747" y="26589"/>
                    <a:pt x="39283" y="26606"/>
                  </a:cubicBezTo>
                  <a:cubicBezTo>
                    <a:pt x="39111" y="25799"/>
                    <a:pt x="38166" y="25370"/>
                    <a:pt x="38338" y="24751"/>
                  </a:cubicBezTo>
                  <a:cubicBezTo>
                    <a:pt x="38218" y="24975"/>
                    <a:pt x="38338" y="25249"/>
                    <a:pt x="38201" y="25438"/>
                  </a:cubicBezTo>
                  <a:cubicBezTo>
                    <a:pt x="37948" y="25233"/>
                    <a:pt x="37727" y="24989"/>
                    <a:pt x="37548" y="24717"/>
                  </a:cubicBezTo>
                  <a:cubicBezTo>
                    <a:pt x="37840" y="25370"/>
                    <a:pt x="38304" y="26022"/>
                    <a:pt x="38682" y="26692"/>
                  </a:cubicBezTo>
                  <a:lnTo>
                    <a:pt x="38682" y="26692"/>
                  </a:lnTo>
                  <a:cubicBezTo>
                    <a:pt x="38718" y="26746"/>
                    <a:pt x="38765" y="26793"/>
                    <a:pt x="38819" y="26830"/>
                  </a:cubicBezTo>
                  <a:cubicBezTo>
                    <a:pt x="38819" y="26830"/>
                    <a:pt x="38716" y="26830"/>
                    <a:pt x="38699" y="26830"/>
                  </a:cubicBezTo>
                  <a:cubicBezTo>
                    <a:pt x="38699" y="27328"/>
                    <a:pt x="39231" y="27311"/>
                    <a:pt x="39317" y="27826"/>
                  </a:cubicBezTo>
                  <a:cubicBezTo>
                    <a:pt x="39180" y="27826"/>
                    <a:pt x="39420" y="28187"/>
                    <a:pt x="39317" y="28376"/>
                  </a:cubicBezTo>
                  <a:cubicBezTo>
                    <a:pt x="39214" y="28565"/>
                    <a:pt x="39644" y="28719"/>
                    <a:pt x="39712" y="28891"/>
                  </a:cubicBezTo>
                  <a:cubicBezTo>
                    <a:pt x="39781" y="29063"/>
                    <a:pt x="39884" y="29561"/>
                    <a:pt x="40021" y="29715"/>
                  </a:cubicBezTo>
                  <a:cubicBezTo>
                    <a:pt x="40159" y="29870"/>
                    <a:pt x="40142" y="30007"/>
                    <a:pt x="40021" y="29801"/>
                  </a:cubicBezTo>
                  <a:cubicBezTo>
                    <a:pt x="39901" y="29595"/>
                    <a:pt x="40021" y="30042"/>
                    <a:pt x="40193" y="29939"/>
                  </a:cubicBezTo>
                  <a:cubicBezTo>
                    <a:pt x="40571" y="29939"/>
                    <a:pt x="40708" y="30591"/>
                    <a:pt x="40932" y="30626"/>
                  </a:cubicBezTo>
                  <a:cubicBezTo>
                    <a:pt x="41155" y="30660"/>
                    <a:pt x="40932" y="30746"/>
                    <a:pt x="41035" y="30746"/>
                  </a:cubicBezTo>
                  <a:cubicBezTo>
                    <a:pt x="41037" y="30889"/>
                    <a:pt x="40935" y="31013"/>
                    <a:pt x="40794" y="31038"/>
                  </a:cubicBezTo>
                  <a:cubicBezTo>
                    <a:pt x="41035" y="31038"/>
                    <a:pt x="41086" y="31364"/>
                    <a:pt x="41327" y="31450"/>
                  </a:cubicBezTo>
                  <a:cubicBezTo>
                    <a:pt x="41782" y="31205"/>
                    <a:pt x="42267" y="31020"/>
                    <a:pt x="42770" y="30901"/>
                  </a:cubicBezTo>
                  <a:cubicBezTo>
                    <a:pt x="42857" y="30834"/>
                    <a:pt x="42933" y="30752"/>
                    <a:pt x="42993" y="30660"/>
                  </a:cubicBezTo>
                  <a:cubicBezTo>
                    <a:pt x="43165" y="30660"/>
                    <a:pt x="42993" y="31021"/>
                    <a:pt x="42993" y="31210"/>
                  </a:cubicBezTo>
                  <a:cubicBezTo>
                    <a:pt x="42993" y="31399"/>
                    <a:pt x="42993" y="31210"/>
                    <a:pt x="42993" y="31210"/>
                  </a:cubicBezTo>
                  <a:cubicBezTo>
                    <a:pt x="42684" y="33580"/>
                    <a:pt x="39163" y="34989"/>
                    <a:pt x="38922" y="37033"/>
                  </a:cubicBezTo>
                  <a:cubicBezTo>
                    <a:pt x="38922" y="37033"/>
                    <a:pt x="38716" y="37204"/>
                    <a:pt x="38802" y="37307"/>
                  </a:cubicBezTo>
                  <a:cubicBezTo>
                    <a:pt x="38888" y="37410"/>
                    <a:pt x="38596" y="37874"/>
                    <a:pt x="38802" y="38012"/>
                  </a:cubicBezTo>
                  <a:cubicBezTo>
                    <a:pt x="38630" y="38407"/>
                    <a:pt x="38493" y="38991"/>
                    <a:pt x="38355" y="39248"/>
                  </a:cubicBezTo>
                  <a:cubicBezTo>
                    <a:pt x="38218" y="39506"/>
                    <a:pt x="38149" y="39369"/>
                    <a:pt x="38355" y="39351"/>
                  </a:cubicBezTo>
                  <a:cubicBezTo>
                    <a:pt x="38063" y="39781"/>
                    <a:pt x="37514" y="39901"/>
                    <a:pt x="37119" y="40193"/>
                  </a:cubicBezTo>
                  <a:lnTo>
                    <a:pt x="37119" y="40193"/>
                  </a:lnTo>
                  <a:cubicBezTo>
                    <a:pt x="36902" y="40432"/>
                    <a:pt x="36622" y="40604"/>
                    <a:pt x="36311" y="40691"/>
                  </a:cubicBezTo>
                  <a:cubicBezTo>
                    <a:pt x="36339" y="40751"/>
                    <a:pt x="36339" y="40820"/>
                    <a:pt x="36311" y="40880"/>
                  </a:cubicBezTo>
                  <a:cubicBezTo>
                    <a:pt x="36311" y="40880"/>
                    <a:pt x="36311" y="41000"/>
                    <a:pt x="36311" y="41035"/>
                  </a:cubicBezTo>
                  <a:cubicBezTo>
                    <a:pt x="36311" y="41069"/>
                    <a:pt x="36311" y="41292"/>
                    <a:pt x="36311" y="41395"/>
                  </a:cubicBezTo>
                  <a:cubicBezTo>
                    <a:pt x="36311" y="41498"/>
                    <a:pt x="36311" y="41310"/>
                    <a:pt x="36311" y="41292"/>
                  </a:cubicBezTo>
                  <a:lnTo>
                    <a:pt x="36311" y="41292"/>
                  </a:lnTo>
                  <a:lnTo>
                    <a:pt x="36311" y="41292"/>
                  </a:lnTo>
                  <a:cubicBezTo>
                    <a:pt x="36311" y="41447"/>
                    <a:pt x="36122" y="41567"/>
                    <a:pt x="36054" y="41705"/>
                  </a:cubicBezTo>
                  <a:lnTo>
                    <a:pt x="36054" y="41705"/>
                  </a:lnTo>
                  <a:cubicBezTo>
                    <a:pt x="35865" y="42117"/>
                    <a:pt x="35126" y="41997"/>
                    <a:pt x="35006" y="42392"/>
                  </a:cubicBezTo>
                  <a:lnTo>
                    <a:pt x="35126" y="42392"/>
                  </a:lnTo>
                  <a:cubicBezTo>
                    <a:pt x="35084" y="42471"/>
                    <a:pt x="35025" y="42542"/>
                    <a:pt x="34954" y="42598"/>
                  </a:cubicBezTo>
                  <a:lnTo>
                    <a:pt x="34954" y="42598"/>
                  </a:lnTo>
                  <a:cubicBezTo>
                    <a:pt x="34162" y="43425"/>
                    <a:pt x="33158" y="44019"/>
                    <a:pt x="32051" y="44315"/>
                  </a:cubicBezTo>
                  <a:cubicBezTo>
                    <a:pt x="31588" y="44161"/>
                    <a:pt x="31124" y="44453"/>
                    <a:pt x="30660" y="44418"/>
                  </a:cubicBezTo>
                  <a:cubicBezTo>
                    <a:pt x="30660" y="44333"/>
                    <a:pt x="30660" y="44418"/>
                    <a:pt x="30660" y="44418"/>
                  </a:cubicBezTo>
                  <a:cubicBezTo>
                    <a:pt x="30660" y="44418"/>
                    <a:pt x="30557" y="44333"/>
                    <a:pt x="30660" y="44418"/>
                  </a:cubicBezTo>
                  <a:cubicBezTo>
                    <a:pt x="30763" y="44504"/>
                    <a:pt x="30798" y="44230"/>
                    <a:pt x="30660" y="44092"/>
                  </a:cubicBezTo>
                  <a:cubicBezTo>
                    <a:pt x="30987" y="43938"/>
                    <a:pt x="30660" y="43508"/>
                    <a:pt x="30660" y="43199"/>
                  </a:cubicBezTo>
                  <a:cubicBezTo>
                    <a:pt x="30128" y="42392"/>
                    <a:pt x="30437" y="41189"/>
                    <a:pt x="29836" y="40296"/>
                  </a:cubicBezTo>
                  <a:cubicBezTo>
                    <a:pt x="29836" y="39369"/>
                    <a:pt x="31210" y="38956"/>
                    <a:pt x="30591" y="38046"/>
                  </a:cubicBezTo>
                  <a:cubicBezTo>
                    <a:pt x="30866" y="37840"/>
                    <a:pt x="30591" y="37428"/>
                    <a:pt x="30471" y="37204"/>
                  </a:cubicBezTo>
                  <a:lnTo>
                    <a:pt x="30574" y="37204"/>
                  </a:lnTo>
                  <a:cubicBezTo>
                    <a:pt x="30574" y="37204"/>
                    <a:pt x="30334" y="37204"/>
                    <a:pt x="30454" y="37050"/>
                  </a:cubicBezTo>
                  <a:cubicBezTo>
                    <a:pt x="30248" y="36449"/>
                    <a:pt x="29561" y="36242"/>
                    <a:pt x="29423" y="35607"/>
                  </a:cubicBezTo>
                  <a:cubicBezTo>
                    <a:pt x="29578" y="35607"/>
                    <a:pt x="29612" y="35487"/>
                    <a:pt x="29630" y="35298"/>
                  </a:cubicBezTo>
                  <a:cubicBezTo>
                    <a:pt x="29647" y="35109"/>
                    <a:pt x="29767" y="35298"/>
                    <a:pt x="29819" y="35298"/>
                  </a:cubicBezTo>
                  <a:cubicBezTo>
                    <a:pt x="29741" y="35301"/>
                    <a:pt x="29670" y="35252"/>
                    <a:pt x="29647" y="35177"/>
                  </a:cubicBezTo>
                  <a:cubicBezTo>
                    <a:pt x="29767" y="35177"/>
                    <a:pt x="29750" y="35057"/>
                    <a:pt x="29647" y="35040"/>
                  </a:cubicBezTo>
                  <a:cubicBezTo>
                    <a:pt x="29897" y="34793"/>
                    <a:pt x="29972" y="34419"/>
                    <a:pt x="29836" y="34095"/>
                  </a:cubicBezTo>
                  <a:cubicBezTo>
                    <a:pt x="29681" y="34198"/>
                    <a:pt x="29612" y="34095"/>
                    <a:pt x="29612" y="33906"/>
                  </a:cubicBezTo>
                  <a:cubicBezTo>
                    <a:pt x="29559" y="33957"/>
                    <a:pt x="29477" y="33957"/>
                    <a:pt x="29423" y="33906"/>
                  </a:cubicBezTo>
                  <a:cubicBezTo>
                    <a:pt x="29269" y="34095"/>
                    <a:pt x="28771" y="34078"/>
                    <a:pt x="28496" y="34044"/>
                  </a:cubicBezTo>
                  <a:cubicBezTo>
                    <a:pt x="28118" y="32807"/>
                    <a:pt x="26778" y="33529"/>
                    <a:pt x="25937" y="33821"/>
                  </a:cubicBezTo>
                  <a:cubicBezTo>
                    <a:pt x="24219" y="33305"/>
                    <a:pt x="23961" y="34490"/>
                    <a:pt x="22501" y="32687"/>
                  </a:cubicBezTo>
                  <a:cubicBezTo>
                    <a:pt x="22330" y="32687"/>
                    <a:pt x="22364" y="32429"/>
                    <a:pt x="22226" y="32361"/>
                  </a:cubicBezTo>
                  <a:cubicBezTo>
                    <a:pt x="22089" y="32292"/>
                    <a:pt x="22226" y="32240"/>
                    <a:pt x="22226" y="32137"/>
                  </a:cubicBezTo>
                  <a:cubicBezTo>
                    <a:pt x="22226" y="32034"/>
                    <a:pt x="21883" y="31897"/>
                    <a:pt x="21986" y="31828"/>
                  </a:cubicBezTo>
                  <a:cubicBezTo>
                    <a:pt x="21608" y="31828"/>
                    <a:pt x="21814" y="31485"/>
                    <a:pt x="21591" y="31536"/>
                  </a:cubicBezTo>
                  <a:cubicBezTo>
                    <a:pt x="21368" y="31588"/>
                    <a:pt x="21591" y="31450"/>
                    <a:pt x="21436" y="31450"/>
                  </a:cubicBezTo>
                  <a:lnTo>
                    <a:pt x="21436" y="31450"/>
                  </a:lnTo>
                  <a:lnTo>
                    <a:pt x="21436" y="31450"/>
                  </a:lnTo>
                  <a:cubicBezTo>
                    <a:pt x="21436" y="31450"/>
                    <a:pt x="21436" y="31450"/>
                    <a:pt x="21436" y="31347"/>
                  </a:cubicBezTo>
                  <a:cubicBezTo>
                    <a:pt x="21436" y="31244"/>
                    <a:pt x="21625" y="31347"/>
                    <a:pt x="21642" y="31347"/>
                  </a:cubicBezTo>
                  <a:cubicBezTo>
                    <a:pt x="21660" y="31347"/>
                    <a:pt x="21076" y="31347"/>
                    <a:pt x="21247" y="31158"/>
                  </a:cubicBezTo>
                  <a:cubicBezTo>
                    <a:pt x="21110" y="31158"/>
                    <a:pt x="21076" y="31158"/>
                    <a:pt x="21041" y="30986"/>
                  </a:cubicBezTo>
                  <a:cubicBezTo>
                    <a:pt x="21007" y="30815"/>
                    <a:pt x="21162" y="30986"/>
                    <a:pt x="21213" y="30986"/>
                  </a:cubicBezTo>
                  <a:cubicBezTo>
                    <a:pt x="21265" y="30986"/>
                    <a:pt x="21076" y="30986"/>
                    <a:pt x="21024" y="30986"/>
                  </a:cubicBezTo>
                  <a:cubicBezTo>
                    <a:pt x="20973" y="30986"/>
                    <a:pt x="21024" y="30849"/>
                    <a:pt x="21024" y="30780"/>
                  </a:cubicBezTo>
                  <a:cubicBezTo>
                    <a:pt x="21024" y="30712"/>
                    <a:pt x="21179" y="30935"/>
                    <a:pt x="21299" y="30780"/>
                  </a:cubicBezTo>
                  <a:cubicBezTo>
                    <a:pt x="21419" y="30626"/>
                    <a:pt x="21024" y="30694"/>
                    <a:pt x="21144" y="30626"/>
                  </a:cubicBezTo>
                  <a:lnTo>
                    <a:pt x="21144" y="30626"/>
                  </a:lnTo>
                  <a:cubicBezTo>
                    <a:pt x="21144" y="30626"/>
                    <a:pt x="20990" y="30368"/>
                    <a:pt x="20921" y="30299"/>
                  </a:cubicBezTo>
                  <a:cubicBezTo>
                    <a:pt x="21365" y="29847"/>
                    <a:pt x="21523" y="29187"/>
                    <a:pt x="21333" y="28582"/>
                  </a:cubicBezTo>
                  <a:cubicBezTo>
                    <a:pt x="21471" y="28582"/>
                    <a:pt x="21333" y="28393"/>
                    <a:pt x="21436" y="28358"/>
                  </a:cubicBezTo>
                  <a:cubicBezTo>
                    <a:pt x="21539" y="28324"/>
                    <a:pt x="21265" y="28255"/>
                    <a:pt x="21247" y="28135"/>
                  </a:cubicBezTo>
                  <a:lnTo>
                    <a:pt x="21247" y="28221"/>
                  </a:lnTo>
                  <a:cubicBezTo>
                    <a:pt x="21228" y="27927"/>
                    <a:pt x="21357" y="27644"/>
                    <a:pt x="21591" y="27465"/>
                  </a:cubicBezTo>
                  <a:cubicBezTo>
                    <a:pt x="21952" y="26297"/>
                    <a:pt x="23103" y="25833"/>
                    <a:pt x="23927" y="25043"/>
                  </a:cubicBezTo>
                  <a:cubicBezTo>
                    <a:pt x="23935" y="24883"/>
                    <a:pt x="23935" y="24723"/>
                    <a:pt x="23927" y="24562"/>
                  </a:cubicBezTo>
                  <a:cubicBezTo>
                    <a:pt x="23927" y="24373"/>
                    <a:pt x="24288" y="24288"/>
                    <a:pt x="24133" y="24081"/>
                  </a:cubicBezTo>
                  <a:cubicBezTo>
                    <a:pt x="24677" y="23812"/>
                    <a:pt x="25139" y="23403"/>
                    <a:pt x="25473" y="22896"/>
                  </a:cubicBezTo>
                  <a:cubicBezTo>
                    <a:pt x="25473" y="23240"/>
                    <a:pt x="26005" y="23223"/>
                    <a:pt x="26194" y="23102"/>
                  </a:cubicBezTo>
                  <a:cubicBezTo>
                    <a:pt x="26521" y="23497"/>
                    <a:pt x="27225" y="22828"/>
                    <a:pt x="27586" y="22725"/>
                  </a:cubicBezTo>
                  <a:cubicBezTo>
                    <a:pt x="27946" y="22621"/>
                    <a:pt x="28771" y="22725"/>
                    <a:pt x="29063" y="22587"/>
                  </a:cubicBezTo>
                  <a:cubicBezTo>
                    <a:pt x="29355" y="22450"/>
                    <a:pt x="29286" y="22828"/>
                    <a:pt x="29372" y="22587"/>
                  </a:cubicBezTo>
                  <a:cubicBezTo>
                    <a:pt x="29647" y="22828"/>
                    <a:pt x="29939" y="22450"/>
                    <a:pt x="30162" y="22587"/>
                  </a:cubicBezTo>
                  <a:cubicBezTo>
                    <a:pt x="30162" y="22398"/>
                    <a:pt x="30299" y="22725"/>
                    <a:pt x="30385" y="22776"/>
                  </a:cubicBezTo>
                  <a:cubicBezTo>
                    <a:pt x="30746" y="22415"/>
                    <a:pt x="30488" y="22862"/>
                    <a:pt x="30385" y="23017"/>
                  </a:cubicBezTo>
                  <a:cubicBezTo>
                    <a:pt x="31021" y="23446"/>
                    <a:pt x="29956" y="23618"/>
                    <a:pt x="30385" y="23910"/>
                  </a:cubicBezTo>
                  <a:cubicBezTo>
                    <a:pt x="30385" y="23910"/>
                    <a:pt x="30385" y="23910"/>
                    <a:pt x="30506" y="23910"/>
                  </a:cubicBezTo>
                  <a:cubicBezTo>
                    <a:pt x="30626" y="23910"/>
                    <a:pt x="30506" y="23824"/>
                    <a:pt x="30506" y="23910"/>
                  </a:cubicBezTo>
                  <a:cubicBezTo>
                    <a:pt x="30677" y="24322"/>
                    <a:pt x="31313" y="24013"/>
                    <a:pt x="31622" y="24236"/>
                  </a:cubicBezTo>
                  <a:cubicBezTo>
                    <a:pt x="34851" y="26469"/>
                    <a:pt x="32343" y="23566"/>
                    <a:pt x="34473" y="24236"/>
                  </a:cubicBezTo>
                  <a:cubicBezTo>
                    <a:pt x="34834" y="24580"/>
                    <a:pt x="35641" y="24477"/>
                    <a:pt x="36191" y="24700"/>
                  </a:cubicBezTo>
                  <a:cubicBezTo>
                    <a:pt x="36741" y="24923"/>
                    <a:pt x="36724" y="24597"/>
                    <a:pt x="37084" y="24494"/>
                  </a:cubicBezTo>
                  <a:cubicBezTo>
                    <a:pt x="36844" y="24580"/>
                    <a:pt x="37084" y="24494"/>
                    <a:pt x="37187" y="24494"/>
                  </a:cubicBezTo>
                  <a:cubicBezTo>
                    <a:pt x="37290" y="24494"/>
                    <a:pt x="37187" y="24494"/>
                    <a:pt x="37187" y="24494"/>
                  </a:cubicBezTo>
                  <a:cubicBezTo>
                    <a:pt x="37187" y="24494"/>
                    <a:pt x="37411" y="24494"/>
                    <a:pt x="37462" y="24494"/>
                  </a:cubicBezTo>
                  <a:cubicBezTo>
                    <a:pt x="37514" y="24494"/>
                    <a:pt x="37565" y="24614"/>
                    <a:pt x="37565" y="24665"/>
                  </a:cubicBezTo>
                  <a:cubicBezTo>
                    <a:pt x="37565" y="24717"/>
                    <a:pt x="37565" y="24562"/>
                    <a:pt x="37565" y="24494"/>
                  </a:cubicBezTo>
                  <a:cubicBezTo>
                    <a:pt x="38733" y="24889"/>
                    <a:pt x="38338" y="22776"/>
                    <a:pt x="38407" y="22381"/>
                  </a:cubicBezTo>
                  <a:cubicBezTo>
                    <a:pt x="38218" y="22536"/>
                    <a:pt x="37892" y="22381"/>
                    <a:pt x="37840" y="22656"/>
                  </a:cubicBezTo>
                  <a:cubicBezTo>
                    <a:pt x="37496" y="23051"/>
                    <a:pt x="36775" y="22106"/>
                    <a:pt x="36775" y="22656"/>
                  </a:cubicBezTo>
                  <a:cubicBezTo>
                    <a:pt x="36620" y="22656"/>
                    <a:pt x="36225" y="22828"/>
                    <a:pt x="36277" y="22536"/>
                  </a:cubicBezTo>
                  <a:cubicBezTo>
                    <a:pt x="36277" y="22536"/>
                    <a:pt x="36277" y="22536"/>
                    <a:pt x="36140" y="22536"/>
                  </a:cubicBezTo>
                  <a:cubicBezTo>
                    <a:pt x="36002" y="22536"/>
                    <a:pt x="35951" y="22690"/>
                    <a:pt x="35933" y="22536"/>
                  </a:cubicBezTo>
                  <a:lnTo>
                    <a:pt x="35727" y="22536"/>
                  </a:lnTo>
                  <a:cubicBezTo>
                    <a:pt x="35727" y="22450"/>
                    <a:pt x="35951" y="22536"/>
                    <a:pt x="35951" y="22398"/>
                  </a:cubicBezTo>
                  <a:cubicBezTo>
                    <a:pt x="35951" y="22261"/>
                    <a:pt x="35556" y="22501"/>
                    <a:pt x="35762" y="22398"/>
                  </a:cubicBezTo>
                  <a:cubicBezTo>
                    <a:pt x="35521" y="22244"/>
                    <a:pt x="35762" y="22106"/>
                    <a:pt x="35401" y="22020"/>
                  </a:cubicBezTo>
                  <a:cubicBezTo>
                    <a:pt x="35040" y="21934"/>
                    <a:pt x="35401" y="21883"/>
                    <a:pt x="35401" y="21831"/>
                  </a:cubicBezTo>
                  <a:cubicBezTo>
                    <a:pt x="35401" y="21780"/>
                    <a:pt x="35401" y="21952"/>
                    <a:pt x="35573" y="21831"/>
                  </a:cubicBezTo>
                  <a:lnTo>
                    <a:pt x="35573" y="21831"/>
                  </a:lnTo>
                  <a:cubicBezTo>
                    <a:pt x="35573" y="21831"/>
                    <a:pt x="35710" y="21831"/>
                    <a:pt x="35676" y="21694"/>
                  </a:cubicBezTo>
                  <a:cubicBezTo>
                    <a:pt x="35641" y="21557"/>
                    <a:pt x="35504" y="21522"/>
                    <a:pt x="35676" y="21488"/>
                  </a:cubicBezTo>
                  <a:cubicBezTo>
                    <a:pt x="35195" y="21660"/>
                    <a:pt x="35435" y="20938"/>
                    <a:pt x="35779" y="21179"/>
                  </a:cubicBezTo>
                  <a:cubicBezTo>
                    <a:pt x="35779" y="21041"/>
                    <a:pt x="36071" y="21179"/>
                    <a:pt x="36225" y="21179"/>
                  </a:cubicBezTo>
                  <a:cubicBezTo>
                    <a:pt x="35916" y="21058"/>
                    <a:pt x="36363" y="21076"/>
                    <a:pt x="36397" y="20990"/>
                  </a:cubicBezTo>
                  <a:cubicBezTo>
                    <a:pt x="35676" y="20766"/>
                    <a:pt x="36775" y="20869"/>
                    <a:pt x="36827" y="20784"/>
                  </a:cubicBezTo>
                  <a:cubicBezTo>
                    <a:pt x="36964" y="20406"/>
                    <a:pt x="37479" y="20457"/>
                    <a:pt x="37788" y="20371"/>
                  </a:cubicBezTo>
                  <a:cubicBezTo>
                    <a:pt x="37788" y="20543"/>
                    <a:pt x="37960" y="20560"/>
                    <a:pt x="38063" y="20371"/>
                  </a:cubicBezTo>
                  <a:cubicBezTo>
                    <a:pt x="38166" y="20182"/>
                    <a:pt x="38201" y="20663"/>
                    <a:pt x="38287" y="20526"/>
                  </a:cubicBezTo>
                  <a:cubicBezTo>
                    <a:pt x="40760" y="21024"/>
                    <a:pt x="38991" y="19324"/>
                    <a:pt x="37857" y="19049"/>
                  </a:cubicBezTo>
                  <a:cubicBezTo>
                    <a:pt x="37857" y="19049"/>
                    <a:pt x="37857" y="19049"/>
                    <a:pt x="37857" y="18911"/>
                  </a:cubicBezTo>
                  <a:cubicBezTo>
                    <a:pt x="37857" y="18774"/>
                    <a:pt x="38063" y="18911"/>
                    <a:pt x="37977" y="18791"/>
                  </a:cubicBezTo>
                  <a:cubicBezTo>
                    <a:pt x="37892" y="18671"/>
                    <a:pt x="38201" y="18637"/>
                    <a:pt x="37977" y="18551"/>
                  </a:cubicBezTo>
                  <a:cubicBezTo>
                    <a:pt x="37754" y="18465"/>
                    <a:pt x="37874" y="18551"/>
                    <a:pt x="37857" y="18448"/>
                  </a:cubicBezTo>
                  <a:cubicBezTo>
                    <a:pt x="37840" y="18345"/>
                    <a:pt x="38029" y="18448"/>
                    <a:pt x="38029" y="18448"/>
                  </a:cubicBezTo>
                  <a:cubicBezTo>
                    <a:pt x="38029" y="18448"/>
                    <a:pt x="38166" y="18310"/>
                    <a:pt x="38132" y="18224"/>
                  </a:cubicBezTo>
                  <a:cubicBezTo>
                    <a:pt x="38098" y="18138"/>
                    <a:pt x="37651" y="18224"/>
                    <a:pt x="37548" y="18499"/>
                  </a:cubicBezTo>
                  <a:cubicBezTo>
                    <a:pt x="37548" y="18499"/>
                    <a:pt x="37445" y="18585"/>
                    <a:pt x="37359" y="18499"/>
                  </a:cubicBezTo>
                  <a:cubicBezTo>
                    <a:pt x="37273" y="18413"/>
                    <a:pt x="37256" y="18499"/>
                    <a:pt x="37204" y="18499"/>
                  </a:cubicBezTo>
                  <a:cubicBezTo>
                    <a:pt x="37153" y="18499"/>
                    <a:pt x="37204" y="18774"/>
                    <a:pt x="37204" y="18705"/>
                  </a:cubicBezTo>
                  <a:cubicBezTo>
                    <a:pt x="37204" y="18637"/>
                    <a:pt x="37204" y="18585"/>
                    <a:pt x="37204" y="18568"/>
                  </a:cubicBezTo>
                  <a:cubicBezTo>
                    <a:pt x="37204" y="18551"/>
                    <a:pt x="36964" y="18722"/>
                    <a:pt x="36878" y="18791"/>
                  </a:cubicBezTo>
                  <a:cubicBezTo>
                    <a:pt x="36792" y="18860"/>
                    <a:pt x="37170" y="18791"/>
                    <a:pt x="37136" y="18946"/>
                  </a:cubicBezTo>
                  <a:cubicBezTo>
                    <a:pt x="37101" y="19100"/>
                    <a:pt x="37136" y="18946"/>
                    <a:pt x="37136" y="18946"/>
                  </a:cubicBezTo>
                  <a:cubicBezTo>
                    <a:pt x="37136" y="18946"/>
                    <a:pt x="37136" y="19066"/>
                    <a:pt x="37325" y="19049"/>
                  </a:cubicBezTo>
                  <a:cubicBezTo>
                    <a:pt x="37514" y="19032"/>
                    <a:pt x="37016" y="18825"/>
                    <a:pt x="37084" y="18705"/>
                  </a:cubicBezTo>
                  <a:cubicBezTo>
                    <a:pt x="37153" y="18585"/>
                    <a:pt x="37273" y="18980"/>
                    <a:pt x="37393" y="19014"/>
                  </a:cubicBezTo>
                  <a:cubicBezTo>
                    <a:pt x="37514" y="19049"/>
                    <a:pt x="37393" y="19014"/>
                    <a:pt x="37514" y="19014"/>
                  </a:cubicBezTo>
                  <a:cubicBezTo>
                    <a:pt x="37634" y="19014"/>
                    <a:pt x="37617" y="18929"/>
                    <a:pt x="37685" y="18929"/>
                  </a:cubicBezTo>
                  <a:cubicBezTo>
                    <a:pt x="37754" y="18929"/>
                    <a:pt x="37685" y="19152"/>
                    <a:pt x="37462" y="19100"/>
                  </a:cubicBezTo>
                  <a:cubicBezTo>
                    <a:pt x="37239" y="19049"/>
                    <a:pt x="36861" y="19650"/>
                    <a:pt x="36912" y="19100"/>
                  </a:cubicBezTo>
                  <a:cubicBezTo>
                    <a:pt x="36775" y="18980"/>
                    <a:pt x="36466" y="19100"/>
                    <a:pt x="36758" y="18860"/>
                  </a:cubicBezTo>
                  <a:cubicBezTo>
                    <a:pt x="37050" y="18619"/>
                    <a:pt x="36620" y="18602"/>
                    <a:pt x="36500" y="18740"/>
                  </a:cubicBezTo>
                  <a:cubicBezTo>
                    <a:pt x="36380" y="18877"/>
                    <a:pt x="36311" y="18740"/>
                    <a:pt x="36380" y="18619"/>
                  </a:cubicBezTo>
                  <a:cubicBezTo>
                    <a:pt x="36449" y="18499"/>
                    <a:pt x="36191" y="18619"/>
                    <a:pt x="36157" y="18619"/>
                  </a:cubicBezTo>
                  <a:cubicBezTo>
                    <a:pt x="36122" y="18619"/>
                    <a:pt x="36380" y="18619"/>
                    <a:pt x="36449" y="18619"/>
                  </a:cubicBezTo>
                  <a:cubicBezTo>
                    <a:pt x="36396" y="18670"/>
                    <a:pt x="36313" y="18670"/>
                    <a:pt x="36260" y="18619"/>
                  </a:cubicBezTo>
                  <a:cubicBezTo>
                    <a:pt x="36260" y="18791"/>
                    <a:pt x="36122" y="18619"/>
                    <a:pt x="36088" y="18740"/>
                  </a:cubicBezTo>
                  <a:cubicBezTo>
                    <a:pt x="36054" y="18860"/>
                    <a:pt x="36088" y="18929"/>
                    <a:pt x="35916" y="18946"/>
                  </a:cubicBezTo>
                  <a:cubicBezTo>
                    <a:pt x="35744" y="18963"/>
                    <a:pt x="35916" y="19221"/>
                    <a:pt x="35796" y="19083"/>
                  </a:cubicBezTo>
                  <a:cubicBezTo>
                    <a:pt x="35916" y="19392"/>
                    <a:pt x="35796" y="19409"/>
                    <a:pt x="35607" y="19598"/>
                  </a:cubicBezTo>
                  <a:cubicBezTo>
                    <a:pt x="35418" y="19787"/>
                    <a:pt x="35607" y="19856"/>
                    <a:pt x="35607" y="19993"/>
                  </a:cubicBezTo>
                  <a:cubicBezTo>
                    <a:pt x="35607" y="20131"/>
                    <a:pt x="35401" y="20097"/>
                    <a:pt x="35470" y="20251"/>
                  </a:cubicBezTo>
                  <a:cubicBezTo>
                    <a:pt x="35538" y="20406"/>
                    <a:pt x="35607" y="20440"/>
                    <a:pt x="35607" y="20698"/>
                  </a:cubicBezTo>
                  <a:cubicBezTo>
                    <a:pt x="35607" y="20955"/>
                    <a:pt x="36054" y="20835"/>
                    <a:pt x="35899" y="20990"/>
                  </a:cubicBezTo>
                  <a:cubicBezTo>
                    <a:pt x="35744" y="21144"/>
                    <a:pt x="35435" y="21144"/>
                    <a:pt x="35212" y="21333"/>
                  </a:cubicBezTo>
                  <a:cubicBezTo>
                    <a:pt x="35212" y="21230"/>
                    <a:pt x="35212" y="21179"/>
                    <a:pt x="35315" y="21144"/>
                  </a:cubicBezTo>
                  <a:cubicBezTo>
                    <a:pt x="35109" y="21144"/>
                    <a:pt x="34851" y="20887"/>
                    <a:pt x="34731" y="21144"/>
                  </a:cubicBezTo>
                  <a:cubicBezTo>
                    <a:pt x="34559" y="21144"/>
                    <a:pt x="34611" y="21144"/>
                    <a:pt x="34491" y="21230"/>
                  </a:cubicBezTo>
                  <a:cubicBezTo>
                    <a:pt x="34370" y="21316"/>
                    <a:pt x="34491" y="21333"/>
                    <a:pt x="34611" y="21385"/>
                  </a:cubicBezTo>
                  <a:cubicBezTo>
                    <a:pt x="34731" y="21436"/>
                    <a:pt x="34422" y="21299"/>
                    <a:pt x="34439" y="21385"/>
                  </a:cubicBezTo>
                  <a:cubicBezTo>
                    <a:pt x="34456" y="21471"/>
                    <a:pt x="34559" y="21385"/>
                    <a:pt x="34439" y="21471"/>
                  </a:cubicBezTo>
                  <a:cubicBezTo>
                    <a:pt x="34319" y="21557"/>
                    <a:pt x="34164" y="21350"/>
                    <a:pt x="34439" y="21471"/>
                  </a:cubicBezTo>
                  <a:cubicBezTo>
                    <a:pt x="34302" y="21471"/>
                    <a:pt x="34250" y="21333"/>
                    <a:pt x="34164" y="21282"/>
                  </a:cubicBezTo>
                  <a:cubicBezTo>
                    <a:pt x="34078" y="21230"/>
                    <a:pt x="33924" y="21402"/>
                    <a:pt x="34164" y="21522"/>
                  </a:cubicBezTo>
                  <a:cubicBezTo>
                    <a:pt x="34405" y="21642"/>
                    <a:pt x="34542" y="21986"/>
                    <a:pt x="34164" y="21728"/>
                  </a:cubicBezTo>
                  <a:cubicBezTo>
                    <a:pt x="34164" y="21728"/>
                    <a:pt x="34164" y="21728"/>
                    <a:pt x="34164" y="21728"/>
                  </a:cubicBezTo>
                  <a:cubicBezTo>
                    <a:pt x="34164" y="21728"/>
                    <a:pt x="34164" y="21849"/>
                    <a:pt x="34164" y="21831"/>
                  </a:cubicBezTo>
                  <a:cubicBezTo>
                    <a:pt x="34353" y="21969"/>
                    <a:pt x="34680" y="22020"/>
                    <a:pt x="34662" y="22295"/>
                  </a:cubicBezTo>
                  <a:cubicBezTo>
                    <a:pt x="34542" y="22295"/>
                    <a:pt x="34473" y="22175"/>
                    <a:pt x="34336" y="22295"/>
                  </a:cubicBezTo>
                  <a:cubicBezTo>
                    <a:pt x="34199" y="22415"/>
                    <a:pt x="34645" y="22536"/>
                    <a:pt x="34456" y="22467"/>
                  </a:cubicBezTo>
                  <a:cubicBezTo>
                    <a:pt x="34267" y="22398"/>
                    <a:pt x="34456" y="22467"/>
                    <a:pt x="34456" y="22467"/>
                  </a:cubicBezTo>
                  <a:cubicBezTo>
                    <a:pt x="34456" y="22467"/>
                    <a:pt x="34456" y="22707"/>
                    <a:pt x="34456" y="22776"/>
                  </a:cubicBezTo>
                  <a:cubicBezTo>
                    <a:pt x="34456" y="22845"/>
                    <a:pt x="34216" y="22587"/>
                    <a:pt x="34250" y="22776"/>
                  </a:cubicBezTo>
                  <a:cubicBezTo>
                    <a:pt x="34250" y="22621"/>
                    <a:pt x="34147" y="22639"/>
                    <a:pt x="34078" y="22518"/>
                  </a:cubicBezTo>
                  <a:cubicBezTo>
                    <a:pt x="34010" y="22398"/>
                    <a:pt x="34078" y="22604"/>
                    <a:pt x="34078" y="22656"/>
                  </a:cubicBezTo>
                  <a:cubicBezTo>
                    <a:pt x="33988" y="22604"/>
                    <a:pt x="33946" y="22498"/>
                    <a:pt x="33975" y="22398"/>
                  </a:cubicBezTo>
                  <a:cubicBezTo>
                    <a:pt x="33855" y="22295"/>
                    <a:pt x="33666" y="22226"/>
                    <a:pt x="33855" y="22089"/>
                  </a:cubicBezTo>
                  <a:cubicBezTo>
                    <a:pt x="34044" y="21952"/>
                    <a:pt x="34199" y="22261"/>
                    <a:pt x="34353" y="22089"/>
                  </a:cubicBezTo>
                  <a:cubicBezTo>
                    <a:pt x="34216" y="22089"/>
                    <a:pt x="34061" y="21917"/>
                    <a:pt x="33958" y="22089"/>
                  </a:cubicBezTo>
                  <a:cubicBezTo>
                    <a:pt x="33855" y="22261"/>
                    <a:pt x="33838" y="21969"/>
                    <a:pt x="33786" y="22089"/>
                  </a:cubicBezTo>
                  <a:cubicBezTo>
                    <a:pt x="33546" y="21849"/>
                    <a:pt x="33374" y="21471"/>
                    <a:pt x="33065" y="21316"/>
                  </a:cubicBezTo>
                  <a:cubicBezTo>
                    <a:pt x="33065" y="21127"/>
                    <a:pt x="33065" y="20921"/>
                    <a:pt x="33065" y="20732"/>
                  </a:cubicBezTo>
                  <a:cubicBezTo>
                    <a:pt x="32859" y="20732"/>
                    <a:pt x="32739" y="20457"/>
                    <a:pt x="32584" y="20320"/>
                  </a:cubicBezTo>
                  <a:cubicBezTo>
                    <a:pt x="32429" y="20182"/>
                    <a:pt x="32326" y="20320"/>
                    <a:pt x="32275" y="20320"/>
                  </a:cubicBezTo>
                  <a:cubicBezTo>
                    <a:pt x="32223" y="20320"/>
                    <a:pt x="32275" y="20320"/>
                    <a:pt x="32395" y="20320"/>
                  </a:cubicBezTo>
                  <a:cubicBezTo>
                    <a:pt x="32515" y="20320"/>
                    <a:pt x="32103" y="20062"/>
                    <a:pt x="31931" y="20131"/>
                  </a:cubicBezTo>
                  <a:cubicBezTo>
                    <a:pt x="31759" y="20200"/>
                    <a:pt x="31416" y="19839"/>
                    <a:pt x="31742" y="19856"/>
                  </a:cubicBezTo>
                  <a:cubicBezTo>
                    <a:pt x="31347" y="19616"/>
                    <a:pt x="31536" y="19135"/>
                    <a:pt x="31175" y="19633"/>
                  </a:cubicBezTo>
                  <a:cubicBezTo>
                    <a:pt x="31175" y="19530"/>
                    <a:pt x="31038" y="19409"/>
                    <a:pt x="31175" y="19306"/>
                  </a:cubicBezTo>
                  <a:cubicBezTo>
                    <a:pt x="31313" y="19203"/>
                    <a:pt x="30832" y="19306"/>
                    <a:pt x="30746" y="19427"/>
                  </a:cubicBezTo>
                  <a:cubicBezTo>
                    <a:pt x="30746" y="19942"/>
                    <a:pt x="31347" y="20268"/>
                    <a:pt x="31656" y="20681"/>
                  </a:cubicBezTo>
                  <a:cubicBezTo>
                    <a:pt x="31811" y="20681"/>
                    <a:pt x="32223" y="20681"/>
                    <a:pt x="31983" y="20887"/>
                  </a:cubicBezTo>
                  <a:cubicBezTo>
                    <a:pt x="32223" y="21024"/>
                    <a:pt x="32979" y="21161"/>
                    <a:pt x="32807" y="21539"/>
                  </a:cubicBezTo>
                  <a:cubicBezTo>
                    <a:pt x="32653" y="21539"/>
                    <a:pt x="32807" y="21282"/>
                    <a:pt x="32532" y="21333"/>
                  </a:cubicBezTo>
                  <a:cubicBezTo>
                    <a:pt x="32258" y="21385"/>
                    <a:pt x="32258" y="21539"/>
                    <a:pt x="32309" y="21625"/>
                  </a:cubicBezTo>
                  <a:cubicBezTo>
                    <a:pt x="32670" y="21728"/>
                    <a:pt x="32309" y="21934"/>
                    <a:pt x="32309" y="22141"/>
                  </a:cubicBezTo>
                  <a:cubicBezTo>
                    <a:pt x="32309" y="22347"/>
                    <a:pt x="31845" y="22415"/>
                    <a:pt x="32086" y="22141"/>
                  </a:cubicBezTo>
                  <a:cubicBezTo>
                    <a:pt x="32197" y="21856"/>
                    <a:pt x="32069" y="21534"/>
                    <a:pt x="31794" y="21402"/>
                  </a:cubicBezTo>
                  <a:cubicBezTo>
                    <a:pt x="31639" y="21402"/>
                    <a:pt x="31794" y="21282"/>
                    <a:pt x="31656" y="21230"/>
                  </a:cubicBezTo>
                  <a:cubicBezTo>
                    <a:pt x="31518" y="21226"/>
                    <a:pt x="31393" y="21147"/>
                    <a:pt x="31330" y="21024"/>
                  </a:cubicBezTo>
                  <a:cubicBezTo>
                    <a:pt x="30317" y="21024"/>
                    <a:pt x="30145" y="18980"/>
                    <a:pt x="29080" y="20217"/>
                  </a:cubicBezTo>
                  <a:cubicBezTo>
                    <a:pt x="29080" y="20423"/>
                    <a:pt x="28736" y="20217"/>
                    <a:pt x="28633" y="20114"/>
                  </a:cubicBezTo>
                  <a:cubicBezTo>
                    <a:pt x="27568" y="19993"/>
                    <a:pt x="28633" y="20921"/>
                    <a:pt x="27448" y="21093"/>
                  </a:cubicBezTo>
                  <a:cubicBezTo>
                    <a:pt x="27534" y="21093"/>
                    <a:pt x="27448" y="21265"/>
                    <a:pt x="27448" y="21213"/>
                  </a:cubicBezTo>
                  <a:cubicBezTo>
                    <a:pt x="26744" y="21763"/>
                    <a:pt x="27448" y="21728"/>
                    <a:pt x="27191" y="22003"/>
                  </a:cubicBezTo>
                  <a:cubicBezTo>
                    <a:pt x="26950" y="22003"/>
                    <a:pt x="27070" y="22450"/>
                    <a:pt x="26847" y="22398"/>
                  </a:cubicBezTo>
                  <a:cubicBezTo>
                    <a:pt x="26418" y="22862"/>
                    <a:pt x="25919" y="22398"/>
                    <a:pt x="25421" y="22896"/>
                  </a:cubicBezTo>
                  <a:cubicBezTo>
                    <a:pt x="25095" y="22896"/>
                    <a:pt x="25147" y="22192"/>
                    <a:pt x="24700" y="22501"/>
                  </a:cubicBezTo>
                  <a:cubicBezTo>
                    <a:pt x="24700" y="22501"/>
                    <a:pt x="24494" y="22364"/>
                    <a:pt x="24408" y="22501"/>
                  </a:cubicBezTo>
                  <a:cubicBezTo>
                    <a:pt x="24426" y="22310"/>
                    <a:pt x="24460" y="22120"/>
                    <a:pt x="24511" y="21934"/>
                  </a:cubicBezTo>
                  <a:cubicBezTo>
                    <a:pt x="24185" y="21934"/>
                    <a:pt x="24511" y="21934"/>
                    <a:pt x="24511" y="21763"/>
                  </a:cubicBezTo>
                  <a:cubicBezTo>
                    <a:pt x="24099" y="22020"/>
                    <a:pt x="24614" y="21299"/>
                    <a:pt x="24631" y="21144"/>
                  </a:cubicBezTo>
                  <a:cubicBezTo>
                    <a:pt x="24648" y="20990"/>
                    <a:pt x="24631" y="20595"/>
                    <a:pt x="24734" y="20457"/>
                  </a:cubicBezTo>
                  <a:lnTo>
                    <a:pt x="24734" y="20457"/>
                  </a:lnTo>
                  <a:cubicBezTo>
                    <a:pt x="24734" y="20457"/>
                    <a:pt x="24734" y="20457"/>
                    <a:pt x="24734" y="20337"/>
                  </a:cubicBezTo>
                  <a:cubicBezTo>
                    <a:pt x="24734" y="20217"/>
                    <a:pt x="24734" y="20337"/>
                    <a:pt x="24734" y="20234"/>
                  </a:cubicBezTo>
                  <a:cubicBezTo>
                    <a:pt x="24734" y="20131"/>
                    <a:pt x="24940" y="20097"/>
                    <a:pt x="25026" y="20045"/>
                  </a:cubicBezTo>
                  <a:cubicBezTo>
                    <a:pt x="25112" y="19993"/>
                    <a:pt x="25404" y="20045"/>
                    <a:pt x="25490" y="20045"/>
                  </a:cubicBezTo>
                  <a:cubicBezTo>
                    <a:pt x="25851" y="20045"/>
                    <a:pt x="26246" y="20217"/>
                    <a:pt x="26607" y="20131"/>
                  </a:cubicBezTo>
                  <a:cubicBezTo>
                    <a:pt x="27242" y="20629"/>
                    <a:pt x="26847" y="18911"/>
                    <a:pt x="27276" y="19564"/>
                  </a:cubicBezTo>
                  <a:cubicBezTo>
                    <a:pt x="27276" y="19461"/>
                    <a:pt x="27173" y="19306"/>
                    <a:pt x="27053" y="19289"/>
                  </a:cubicBezTo>
                  <a:cubicBezTo>
                    <a:pt x="27225" y="19066"/>
                    <a:pt x="26899" y="19014"/>
                    <a:pt x="26813" y="18860"/>
                  </a:cubicBezTo>
                  <a:cubicBezTo>
                    <a:pt x="26727" y="18705"/>
                    <a:pt x="26813" y="18619"/>
                    <a:pt x="26950" y="18722"/>
                  </a:cubicBezTo>
                  <a:cubicBezTo>
                    <a:pt x="26847" y="18568"/>
                    <a:pt x="26727" y="18825"/>
                    <a:pt x="26727" y="18551"/>
                  </a:cubicBezTo>
                  <a:cubicBezTo>
                    <a:pt x="26607" y="18551"/>
                    <a:pt x="26400" y="18345"/>
                    <a:pt x="26229" y="18465"/>
                  </a:cubicBezTo>
                  <a:cubicBezTo>
                    <a:pt x="26057" y="18585"/>
                    <a:pt x="26229" y="18465"/>
                    <a:pt x="26229" y="18345"/>
                  </a:cubicBezTo>
                  <a:cubicBezTo>
                    <a:pt x="26229" y="18224"/>
                    <a:pt x="26332" y="18190"/>
                    <a:pt x="26229" y="18345"/>
                  </a:cubicBezTo>
                  <a:cubicBezTo>
                    <a:pt x="26126" y="18499"/>
                    <a:pt x="26229" y="18345"/>
                    <a:pt x="26229" y="18345"/>
                  </a:cubicBezTo>
                  <a:cubicBezTo>
                    <a:pt x="25851" y="18224"/>
                    <a:pt x="26435" y="18207"/>
                    <a:pt x="26555" y="18121"/>
                  </a:cubicBezTo>
                  <a:cubicBezTo>
                    <a:pt x="26692" y="18293"/>
                    <a:pt x="26795" y="18121"/>
                    <a:pt x="27019" y="18241"/>
                  </a:cubicBezTo>
                  <a:cubicBezTo>
                    <a:pt x="26989" y="18096"/>
                    <a:pt x="26949" y="17952"/>
                    <a:pt x="26899" y="17812"/>
                  </a:cubicBezTo>
                  <a:cubicBezTo>
                    <a:pt x="26899" y="17812"/>
                    <a:pt x="27053" y="17812"/>
                    <a:pt x="27105" y="17812"/>
                  </a:cubicBezTo>
                  <a:cubicBezTo>
                    <a:pt x="27156" y="17812"/>
                    <a:pt x="27397" y="18001"/>
                    <a:pt x="27500" y="17812"/>
                  </a:cubicBezTo>
                  <a:cubicBezTo>
                    <a:pt x="27259" y="17623"/>
                    <a:pt x="27775" y="17709"/>
                    <a:pt x="27775" y="17606"/>
                  </a:cubicBezTo>
                  <a:cubicBezTo>
                    <a:pt x="27775" y="17503"/>
                    <a:pt x="27860" y="17383"/>
                    <a:pt x="27895" y="17280"/>
                  </a:cubicBezTo>
                  <a:cubicBezTo>
                    <a:pt x="27929" y="17177"/>
                    <a:pt x="28204" y="16988"/>
                    <a:pt x="28444" y="17125"/>
                  </a:cubicBezTo>
                  <a:cubicBezTo>
                    <a:pt x="28273" y="17125"/>
                    <a:pt x="28221" y="16919"/>
                    <a:pt x="28444" y="17125"/>
                  </a:cubicBezTo>
                  <a:cubicBezTo>
                    <a:pt x="28668" y="17331"/>
                    <a:pt x="28324" y="17005"/>
                    <a:pt x="28547" y="17022"/>
                  </a:cubicBezTo>
                  <a:cubicBezTo>
                    <a:pt x="28187" y="16764"/>
                    <a:pt x="28925" y="16112"/>
                    <a:pt x="29286" y="16438"/>
                  </a:cubicBezTo>
                  <a:cubicBezTo>
                    <a:pt x="29028" y="16249"/>
                    <a:pt x="29389" y="16112"/>
                    <a:pt x="29458" y="16438"/>
                  </a:cubicBezTo>
                  <a:cubicBezTo>
                    <a:pt x="29458" y="16197"/>
                    <a:pt x="29458" y="16438"/>
                    <a:pt x="29595" y="16438"/>
                  </a:cubicBezTo>
                  <a:cubicBezTo>
                    <a:pt x="29441" y="16026"/>
                    <a:pt x="29750" y="16232"/>
                    <a:pt x="29956" y="16301"/>
                  </a:cubicBezTo>
                  <a:cubicBezTo>
                    <a:pt x="29389" y="16043"/>
                    <a:pt x="29544" y="15493"/>
                    <a:pt x="29389" y="15115"/>
                  </a:cubicBezTo>
                  <a:cubicBezTo>
                    <a:pt x="29630" y="15115"/>
                    <a:pt x="29527" y="14961"/>
                    <a:pt x="29664" y="15115"/>
                  </a:cubicBezTo>
                  <a:cubicBezTo>
                    <a:pt x="29664" y="14634"/>
                    <a:pt x="29836" y="15115"/>
                    <a:pt x="30025" y="15115"/>
                  </a:cubicBezTo>
                  <a:cubicBezTo>
                    <a:pt x="30025" y="15373"/>
                    <a:pt x="29527" y="15528"/>
                    <a:pt x="29922" y="16009"/>
                  </a:cubicBezTo>
                  <a:cubicBezTo>
                    <a:pt x="29922" y="15888"/>
                    <a:pt x="30334" y="16009"/>
                    <a:pt x="30059" y="16094"/>
                  </a:cubicBezTo>
                  <a:cubicBezTo>
                    <a:pt x="30591" y="16094"/>
                    <a:pt x="30385" y="15768"/>
                    <a:pt x="30883" y="16094"/>
                  </a:cubicBezTo>
                  <a:cubicBezTo>
                    <a:pt x="31124" y="16472"/>
                    <a:pt x="31656" y="15356"/>
                    <a:pt x="32103" y="15768"/>
                  </a:cubicBezTo>
                  <a:cubicBezTo>
                    <a:pt x="31828" y="15768"/>
                    <a:pt x="32103" y="16043"/>
                    <a:pt x="32326" y="15768"/>
                  </a:cubicBezTo>
                  <a:cubicBezTo>
                    <a:pt x="32299" y="15829"/>
                    <a:pt x="32250" y="15878"/>
                    <a:pt x="32189" y="15905"/>
                  </a:cubicBezTo>
                  <a:cubicBezTo>
                    <a:pt x="34078" y="15820"/>
                    <a:pt x="31656" y="15270"/>
                    <a:pt x="32704" y="14497"/>
                  </a:cubicBezTo>
                  <a:cubicBezTo>
                    <a:pt x="33082" y="15081"/>
                    <a:pt x="33202" y="14686"/>
                    <a:pt x="33031" y="14222"/>
                  </a:cubicBezTo>
                  <a:cubicBezTo>
                    <a:pt x="33031" y="14428"/>
                    <a:pt x="32739" y="14222"/>
                    <a:pt x="32842" y="14068"/>
                  </a:cubicBezTo>
                  <a:cubicBezTo>
                    <a:pt x="32532" y="14068"/>
                    <a:pt x="32842" y="13758"/>
                    <a:pt x="32842" y="13690"/>
                  </a:cubicBezTo>
                  <a:cubicBezTo>
                    <a:pt x="32842" y="13621"/>
                    <a:pt x="33082" y="13690"/>
                    <a:pt x="32979" y="13690"/>
                  </a:cubicBezTo>
                  <a:lnTo>
                    <a:pt x="33615" y="13793"/>
                  </a:lnTo>
                  <a:cubicBezTo>
                    <a:pt x="33426" y="13501"/>
                    <a:pt x="33615" y="13690"/>
                    <a:pt x="33752" y="13466"/>
                  </a:cubicBezTo>
                  <a:cubicBezTo>
                    <a:pt x="33889" y="13243"/>
                    <a:pt x="33305" y="13363"/>
                    <a:pt x="33546" y="13192"/>
                  </a:cubicBezTo>
                  <a:cubicBezTo>
                    <a:pt x="33546" y="13192"/>
                    <a:pt x="33426" y="13295"/>
                    <a:pt x="33408" y="13192"/>
                  </a:cubicBezTo>
                  <a:cubicBezTo>
                    <a:pt x="33408" y="13346"/>
                    <a:pt x="33099" y="13363"/>
                    <a:pt x="33031" y="13312"/>
                  </a:cubicBezTo>
                  <a:cubicBezTo>
                    <a:pt x="32962" y="13260"/>
                    <a:pt x="33031" y="13312"/>
                    <a:pt x="33031" y="13312"/>
                  </a:cubicBezTo>
                  <a:cubicBezTo>
                    <a:pt x="33031" y="13312"/>
                    <a:pt x="33031" y="13552"/>
                    <a:pt x="33031" y="13312"/>
                  </a:cubicBezTo>
                  <a:cubicBezTo>
                    <a:pt x="33031" y="13449"/>
                    <a:pt x="32601" y="13466"/>
                    <a:pt x="32567" y="13621"/>
                  </a:cubicBezTo>
                  <a:cubicBezTo>
                    <a:pt x="32567" y="13312"/>
                    <a:pt x="32412" y="13415"/>
                    <a:pt x="32172" y="13260"/>
                  </a:cubicBezTo>
                  <a:cubicBezTo>
                    <a:pt x="31931" y="13106"/>
                    <a:pt x="31691" y="12144"/>
                    <a:pt x="31914" y="12058"/>
                  </a:cubicBezTo>
                  <a:cubicBezTo>
                    <a:pt x="32137" y="11972"/>
                    <a:pt x="31914" y="11972"/>
                    <a:pt x="32017" y="12058"/>
                  </a:cubicBezTo>
                  <a:cubicBezTo>
                    <a:pt x="32120" y="12144"/>
                    <a:pt x="32017" y="11921"/>
                    <a:pt x="32017" y="11817"/>
                  </a:cubicBezTo>
                  <a:cubicBezTo>
                    <a:pt x="32017" y="11714"/>
                    <a:pt x="32240" y="11354"/>
                    <a:pt x="32309" y="11457"/>
                  </a:cubicBezTo>
                  <a:cubicBezTo>
                    <a:pt x="32103" y="11010"/>
                    <a:pt x="31708" y="11148"/>
                    <a:pt x="31502" y="11182"/>
                  </a:cubicBezTo>
                  <a:cubicBezTo>
                    <a:pt x="31622" y="11354"/>
                    <a:pt x="31502" y="11577"/>
                    <a:pt x="31656" y="11714"/>
                  </a:cubicBezTo>
                  <a:cubicBezTo>
                    <a:pt x="31532" y="12056"/>
                    <a:pt x="31318" y="12359"/>
                    <a:pt x="31038" y="12590"/>
                  </a:cubicBezTo>
                  <a:cubicBezTo>
                    <a:pt x="31158" y="12676"/>
                    <a:pt x="31038" y="12848"/>
                    <a:pt x="31175" y="12968"/>
                  </a:cubicBezTo>
                  <a:cubicBezTo>
                    <a:pt x="30883" y="13123"/>
                    <a:pt x="32189" y="13999"/>
                    <a:pt x="31382" y="13793"/>
                  </a:cubicBezTo>
                  <a:cubicBezTo>
                    <a:pt x="31382" y="13793"/>
                    <a:pt x="30901" y="13793"/>
                    <a:pt x="31210" y="13913"/>
                  </a:cubicBezTo>
                  <a:cubicBezTo>
                    <a:pt x="31519" y="14033"/>
                    <a:pt x="31811" y="14119"/>
                    <a:pt x="31485" y="14050"/>
                  </a:cubicBezTo>
                  <a:cubicBezTo>
                    <a:pt x="31485" y="14050"/>
                    <a:pt x="31485" y="14257"/>
                    <a:pt x="31364" y="14188"/>
                  </a:cubicBezTo>
                  <a:cubicBezTo>
                    <a:pt x="31244" y="14119"/>
                    <a:pt x="31467" y="14325"/>
                    <a:pt x="31364" y="14342"/>
                  </a:cubicBezTo>
                  <a:cubicBezTo>
                    <a:pt x="31485" y="14342"/>
                    <a:pt x="31519" y="14600"/>
                    <a:pt x="31364" y="14514"/>
                  </a:cubicBezTo>
                  <a:cubicBezTo>
                    <a:pt x="31502" y="14789"/>
                    <a:pt x="31519" y="15510"/>
                    <a:pt x="31090" y="15236"/>
                  </a:cubicBezTo>
                  <a:cubicBezTo>
                    <a:pt x="30815" y="16301"/>
                    <a:pt x="30059" y="14153"/>
                    <a:pt x="30162" y="14050"/>
                  </a:cubicBezTo>
                  <a:cubicBezTo>
                    <a:pt x="29990" y="13947"/>
                    <a:pt x="29939" y="13844"/>
                    <a:pt x="29939" y="13810"/>
                  </a:cubicBezTo>
                  <a:cubicBezTo>
                    <a:pt x="29958" y="13906"/>
                    <a:pt x="29958" y="14006"/>
                    <a:pt x="29939" y="14102"/>
                  </a:cubicBezTo>
                  <a:cubicBezTo>
                    <a:pt x="29939" y="14102"/>
                    <a:pt x="29939" y="14102"/>
                    <a:pt x="29733" y="13965"/>
                  </a:cubicBezTo>
                  <a:cubicBezTo>
                    <a:pt x="29733" y="14119"/>
                    <a:pt x="29733" y="14360"/>
                    <a:pt x="29595" y="14291"/>
                  </a:cubicBezTo>
                  <a:cubicBezTo>
                    <a:pt x="29733" y="14463"/>
                    <a:pt x="29286" y="14583"/>
                    <a:pt x="29183" y="14428"/>
                  </a:cubicBezTo>
                  <a:cubicBezTo>
                    <a:pt x="29080" y="14549"/>
                    <a:pt x="28651" y="14050"/>
                    <a:pt x="29183" y="14102"/>
                  </a:cubicBezTo>
                  <a:cubicBezTo>
                    <a:pt x="28960" y="14102"/>
                    <a:pt x="29183" y="13999"/>
                    <a:pt x="29011" y="13879"/>
                  </a:cubicBezTo>
                  <a:cubicBezTo>
                    <a:pt x="29011" y="14188"/>
                    <a:pt x="28771" y="13690"/>
                    <a:pt x="29011" y="13879"/>
                  </a:cubicBezTo>
                  <a:cubicBezTo>
                    <a:pt x="29252" y="14068"/>
                    <a:pt x="29011" y="13879"/>
                    <a:pt x="29166" y="13776"/>
                  </a:cubicBezTo>
                  <a:cubicBezTo>
                    <a:pt x="28960" y="13776"/>
                    <a:pt x="29166" y="13449"/>
                    <a:pt x="29166" y="13655"/>
                  </a:cubicBezTo>
                  <a:cubicBezTo>
                    <a:pt x="29118" y="13609"/>
                    <a:pt x="29118" y="13533"/>
                    <a:pt x="29164" y="13485"/>
                  </a:cubicBezTo>
                  <a:cubicBezTo>
                    <a:pt x="29165" y="13485"/>
                    <a:pt x="29165" y="13484"/>
                    <a:pt x="29166" y="13484"/>
                  </a:cubicBezTo>
                  <a:cubicBezTo>
                    <a:pt x="28943" y="13569"/>
                    <a:pt x="28822" y="13724"/>
                    <a:pt x="28943" y="13484"/>
                  </a:cubicBezTo>
                  <a:cubicBezTo>
                    <a:pt x="28788" y="13484"/>
                    <a:pt x="28736" y="13569"/>
                    <a:pt x="28943" y="13381"/>
                  </a:cubicBezTo>
                  <a:cubicBezTo>
                    <a:pt x="28599" y="13243"/>
                    <a:pt x="29544" y="13484"/>
                    <a:pt x="29355" y="13157"/>
                  </a:cubicBezTo>
                  <a:cubicBezTo>
                    <a:pt x="29355" y="13329"/>
                    <a:pt x="28582" y="13295"/>
                    <a:pt x="28994" y="13157"/>
                  </a:cubicBezTo>
                  <a:cubicBezTo>
                    <a:pt x="28651" y="13157"/>
                    <a:pt x="28994" y="13037"/>
                    <a:pt x="29183" y="13020"/>
                  </a:cubicBezTo>
                  <a:cubicBezTo>
                    <a:pt x="28822" y="13020"/>
                    <a:pt x="28754" y="12831"/>
                    <a:pt x="29046" y="12917"/>
                  </a:cubicBezTo>
                  <a:cubicBezTo>
                    <a:pt x="28960" y="12917"/>
                    <a:pt x="29046" y="12779"/>
                    <a:pt x="29183" y="12917"/>
                  </a:cubicBezTo>
                  <a:lnTo>
                    <a:pt x="29183" y="12797"/>
                  </a:lnTo>
                  <a:cubicBezTo>
                    <a:pt x="29183" y="12797"/>
                    <a:pt x="29183" y="12797"/>
                    <a:pt x="29441" y="12797"/>
                  </a:cubicBezTo>
                  <a:cubicBezTo>
                    <a:pt x="29114" y="12797"/>
                    <a:pt x="29303" y="12590"/>
                    <a:pt x="29578" y="12797"/>
                  </a:cubicBezTo>
                  <a:cubicBezTo>
                    <a:pt x="29217" y="12505"/>
                    <a:pt x="29578" y="12797"/>
                    <a:pt x="29578" y="12676"/>
                  </a:cubicBezTo>
                  <a:cubicBezTo>
                    <a:pt x="29578" y="12556"/>
                    <a:pt x="29922" y="12213"/>
                    <a:pt x="29767" y="12676"/>
                  </a:cubicBezTo>
                  <a:cubicBezTo>
                    <a:pt x="30007" y="12539"/>
                    <a:pt x="29973" y="12539"/>
                    <a:pt x="30059" y="12298"/>
                  </a:cubicBezTo>
                  <a:cubicBezTo>
                    <a:pt x="30145" y="12058"/>
                    <a:pt x="29784" y="12814"/>
                    <a:pt x="29801" y="12419"/>
                  </a:cubicBezTo>
                  <a:cubicBezTo>
                    <a:pt x="29664" y="12522"/>
                    <a:pt x="29801" y="12161"/>
                    <a:pt x="29801" y="12195"/>
                  </a:cubicBezTo>
                  <a:cubicBezTo>
                    <a:pt x="29801" y="12230"/>
                    <a:pt x="29990" y="12006"/>
                    <a:pt x="30145" y="11766"/>
                  </a:cubicBezTo>
                  <a:cubicBezTo>
                    <a:pt x="29990" y="11886"/>
                    <a:pt x="30059" y="11525"/>
                    <a:pt x="30145" y="11611"/>
                  </a:cubicBezTo>
                  <a:cubicBezTo>
                    <a:pt x="30231" y="11697"/>
                    <a:pt x="30145" y="11440"/>
                    <a:pt x="30145" y="11525"/>
                  </a:cubicBezTo>
                  <a:cubicBezTo>
                    <a:pt x="30042" y="11319"/>
                    <a:pt x="30145" y="11440"/>
                    <a:pt x="30145" y="11337"/>
                  </a:cubicBezTo>
                  <a:cubicBezTo>
                    <a:pt x="29939" y="11337"/>
                    <a:pt x="30145" y="11233"/>
                    <a:pt x="30025" y="11148"/>
                  </a:cubicBezTo>
                  <a:cubicBezTo>
                    <a:pt x="29904" y="11062"/>
                    <a:pt x="30025" y="10821"/>
                    <a:pt x="30334" y="10976"/>
                  </a:cubicBezTo>
                  <a:cubicBezTo>
                    <a:pt x="30179" y="10890"/>
                    <a:pt x="30111" y="10735"/>
                    <a:pt x="30334" y="10838"/>
                  </a:cubicBezTo>
                  <a:cubicBezTo>
                    <a:pt x="30557" y="10941"/>
                    <a:pt x="30162" y="10701"/>
                    <a:pt x="30334" y="10684"/>
                  </a:cubicBezTo>
                  <a:cubicBezTo>
                    <a:pt x="30042" y="10684"/>
                    <a:pt x="30334" y="10684"/>
                    <a:pt x="30334" y="10478"/>
                  </a:cubicBezTo>
                  <a:cubicBezTo>
                    <a:pt x="30523" y="10478"/>
                    <a:pt x="30488" y="10478"/>
                    <a:pt x="30506" y="10478"/>
                  </a:cubicBezTo>
                  <a:cubicBezTo>
                    <a:pt x="30918" y="10564"/>
                    <a:pt x="30214" y="10323"/>
                    <a:pt x="30506" y="10323"/>
                  </a:cubicBezTo>
                  <a:cubicBezTo>
                    <a:pt x="30506" y="10323"/>
                    <a:pt x="30506" y="10220"/>
                    <a:pt x="30506" y="10220"/>
                  </a:cubicBezTo>
                  <a:cubicBezTo>
                    <a:pt x="30506" y="10220"/>
                    <a:pt x="30506" y="9911"/>
                    <a:pt x="30609" y="10117"/>
                  </a:cubicBezTo>
                  <a:cubicBezTo>
                    <a:pt x="30712" y="10323"/>
                    <a:pt x="30609" y="10117"/>
                    <a:pt x="30609" y="10117"/>
                  </a:cubicBezTo>
                  <a:cubicBezTo>
                    <a:pt x="30385" y="9980"/>
                    <a:pt x="30609" y="10014"/>
                    <a:pt x="30609" y="10117"/>
                  </a:cubicBezTo>
                  <a:cubicBezTo>
                    <a:pt x="30609" y="10220"/>
                    <a:pt x="30609" y="9773"/>
                    <a:pt x="30609" y="10117"/>
                  </a:cubicBezTo>
                  <a:cubicBezTo>
                    <a:pt x="30609" y="9670"/>
                    <a:pt x="30609" y="10237"/>
                    <a:pt x="30798" y="10117"/>
                  </a:cubicBezTo>
                  <a:cubicBezTo>
                    <a:pt x="30609" y="9773"/>
                    <a:pt x="31021" y="10117"/>
                    <a:pt x="30798" y="9739"/>
                  </a:cubicBezTo>
                  <a:cubicBezTo>
                    <a:pt x="30901" y="9739"/>
                    <a:pt x="31038" y="9911"/>
                    <a:pt x="31124" y="9894"/>
                  </a:cubicBezTo>
                  <a:cubicBezTo>
                    <a:pt x="31210" y="9877"/>
                    <a:pt x="31124" y="9602"/>
                    <a:pt x="31124" y="9619"/>
                  </a:cubicBezTo>
                  <a:cubicBezTo>
                    <a:pt x="31124" y="9636"/>
                    <a:pt x="30969" y="9464"/>
                    <a:pt x="31124" y="9619"/>
                  </a:cubicBezTo>
                  <a:cubicBezTo>
                    <a:pt x="31279" y="9773"/>
                    <a:pt x="31124" y="9499"/>
                    <a:pt x="31124" y="9619"/>
                  </a:cubicBezTo>
                  <a:cubicBezTo>
                    <a:pt x="31244" y="9447"/>
                    <a:pt x="31279" y="10426"/>
                    <a:pt x="31261" y="9619"/>
                  </a:cubicBezTo>
                  <a:cubicBezTo>
                    <a:pt x="31536" y="10134"/>
                    <a:pt x="31261" y="9516"/>
                    <a:pt x="31450" y="9499"/>
                  </a:cubicBezTo>
                  <a:cubicBezTo>
                    <a:pt x="31639" y="9481"/>
                    <a:pt x="31450" y="9653"/>
                    <a:pt x="31553" y="9842"/>
                  </a:cubicBezTo>
                  <a:cubicBezTo>
                    <a:pt x="31656" y="10031"/>
                    <a:pt x="31639" y="9842"/>
                    <a:pt x="31674" y="9842"/>
                  </a:cubicBezTo>
                  <a:cubicBezTo>
                    <a:pt x="31502" y="9499"/>
                    <a:pt x="31863" y="9688"/>
                    <a:pt x="31845" y="9842"/>
                  </a:cubicBezTo>
                  <a:cubicBezTo>
                    <a:pt x="32172" y="9842"/>
                    <a:pt x="32051" y="10134"/>
                    <a:pt x="31742" y="10031"/>
                  </a:cubicBezTo>
                  <a:cubicBezTo>
                    <a:pt x="31845" y="10031"/>
                    <a:pt x="31948" y="10031"/>
                    <a:pt x="32000" y="10220"/>
                  </a:cubicBezTo>
                  <a:cubicBezTo>
                    <a:pt x="32051" y="10409"/>
                    <a:pt x="32120" y="10083"/>
                    <a:pt x="32275" y="10220"/>
                  </a:cubicBezTo>
                  <a:cubicBezTo>
                    <a:pt x="32275" y="10100"/>
                    <a:pt x="32275" y="10117"/>
                    <a:pt x="32275" y="10048"/>
                  </a:cubicBezTo>
                  <a:cubicBezTo>
                    <a:pt x="32275" y="9980"/>
                    <a:pt x="32653" y="10306"/>
                    <a:pt x="32378" y="10048"/>
                  </a:cubicBezTo>
                  <a:cubicBezTo>
                    <a:pt x="32378" y="10237"/>
                    <a:pt x="32567" y="10048"/>
                    <a:pt x="32584" y="10220"/>
                  </a:cubicBezTo>
                  <a:cubicBezTo>
                    <a:pt x="32601" y="10392"/>
                    <a:pt x="33220" y="10220"/>
                    <a:pt x="33683" y="10529"/>
                  </a:cubicBezTo>
                  <a:cubicBezTo>
                    <a:pt x="33563" y="10392"/>
                    <a:pt x="34044" y="10735"/>
                    <a:pt x="33804" y="10529"/>
                  </a:cubicBezTo>
                  <a:cubicBezTo>
                    <a:pt x="34697" y="10838"/>
                    <a:pt x="34611" y="11852"/>
                    <a:pt x="33597" y="11354"/>
                  </a:cubicBezTo>
                  <a:cubicBezTo>
                    <a:pt x="33477" y="11354"/>
                    <a:pt x="33477" y="11354"/>
                    <a:pt x="33426" y="11354"/>
                  </a:cubicBezTo>
                  <a:cubicBezTo>
                    <a:pt x="33374" y="11354"/>
                    <a:pt x="32910" y="11096"/>
                    <a:pt x="33065" y="11354"/>
                  </a:cubicBezTo>
                  <a:cubicBezTo>
                    <a:pt x="33220" y="11611"/>
                    <a:pt x="33460" y="11491"/>
                    <a:pt x="33357" y="11663"/>
                  </a:cubicBezTo>
                  <a:cubicBezTo>
                    <a:pt x="33632" y="11663"/>
                    <a:pt x="34834" y="13277"/>
                    <a:pt x="34576" y="12333"/>
                  </a:cubicBezTo>
                  <a:cubicBezTo>
                    <a:pt x="34388" y="12505"/>
                    <a:pt x="34113" y="12058"/>
                    <a:pt x="34250" y="12006"/>
                  </a:cubicBezTo>
                  <a:cubicBezTo>
                    <a:pt x="35693" y="12917"/>
                    <a:pt x="33975" y="11148"/>
                    <a:pt x="34972" y="11474"/>
                  </a:cubicBezTo>
                  <a:cubicBezTo>
                    <a:pt x="34972" y="11337"/>
                    <a:pt x="35092" y="11474"/>
                    <a:pt x="35143" y="11474"/>
                  </a:cubicBezTo>
                  <a:cubicBezTo>
                    <a:pt x="34895" y="11040"/>
                    <a:pt x="34569" y="10656"/>
                    <a:pt x="34181" y="10340"/>
                  </a:cubicBezTo>
                  <a:cubicBezTo>
                    <a:pt x="34491" y="10340"/>
                    <a:pt x="34972" y="10443"/>
                    <a:pt x="34800" y="10753"/>
                  </a:cubicBezTo>
                  <a:cubicBezTo>
                    <a:pt x="35195" y="11354"/>
                    <a:pt x="35349" y="10753"/>
                    <a:pt x="35143" y="10529"/>
                  </a:cubicBezTo>
                  <a:cubicBezTo>
                    <a:pt x="35315" y="10529"/>
                    <a:pt x="35143" y="9945"/>
                    <a:pt x="35401" y="10289"/>
                  </a:cubicBezTo>
                  <a:cubicBezTo>
                    <a:pt x="35401" y="10186"/>
                    <a:pt x="35178" y="9980"/>
                    <a:pt x="35401" y="10151"/>
                  </a:cubicBezTo>
                  <a:cubicBezTo>
                    <a:pt x="35229" y="9705"/>
                    <a:pt x="35521" y="10151"/>
                    <a:pt x="35727" y="10306"/>
                  </a:cubicBezTo>
                  <a:cubicBezTo>
                    <a:pt x="35727" y="10203"/>
                    <a:pt x="35727" y="10169"/>
                    <a:pt x="35727" y="10306"/>
                  </a:cubicBezTo>
                  <a:cubicBezTo>
                    <a:pt x="35504" y="10048"/>
                    <a:pt x="35882" y="10134"/>
                    <a:pt x="35830" y="9842"/>
                  </a:cubicBezTo>
                  <a:cubicBezTo>
                    <a:pt x="35951" y="9997"/>
                    <a:pt x="36311" y="10272"/>
                    <a:pt x="36019" y="9945"/>
                  </a:cubicBezTo>
                  <a:cubicBezTo>
                    <a:pt x="36191" y="9945"/>
                    <a:pt x="35916" y="9791"/>
                    <a:pt x="36122" y="9945"/>
                  </a:cubicBezTo>
                  <a:cubicBezTo>
                    <a:pt x="36035" y="9882"/>
                    <a:pt x="35943" y="9824"/>
                    <a:pt x="35848" y="9773"/>
                  </a:cubicBezTo>
                  <a:lnTo>
                    <a:pt x="35848" y="9773"/>
                  </a:lnTo>
                  <a:cubicBezTo>
                    <a:pt x="35057" y="9155"/>
                    <a:pt x="36586" y="9619"/>
                    <a:pt x="36981" y="9894"/>
                  </a:cubicBezTo>
                  <a:cubicBezTo>
                    <a:pt x="36792" y="9619"/>
                    <a:pt x="36517" y="9567"/>
                    <a:pt x="36260" y="9361"/>
                  </a:cubicBezTo>
                  <a:lnTo>
                    <a:pt x="36260" y="9361"/>
                  </a:lnTo>
                  <a:cubicBezTo>
                    <a:pt x="36260" y="9361"/>
                    <a:pt x="36260" y="9361"/>
                    <a:pt x="36140" y="9361"/>
                  </a:cubicBezTo>
                  <a:lnTo>
                    <a:pt x="36140" y="9361"/>
                  </a:lnTo>
                  <a:lnTo>
                    <a:pt x="35882" y="9155"/>
                  </a:lnTo>
                  <a:cubicBezTo>
                    <a:pt x="36019" y="9155"/>
                    <a:pt x="35624" y="8983"/>
                    <a:pt x="35727" y="8983"/>
                  </a:cubicBezTo>
                  <a:cubicBezTo>
                    <a:pt x="35504" y="8880"/>
                    <a:pt x="34353" y="7918"/>
                    <a:pt x="34594" y="7884"/>
                  </a:cubicBezTo>
                  <a:cubicBezTo>
                    <a:pt x="35435" y="8193"/>
                    <a:pt x="36311" y="9086"/>
                    <a:pt x="37136" y="9602"/>
                  </a:cubicBezTo>
                  <a:lnTo>
                    <a:pt x="37136" y="9602"/>
                  </a:lnTo>
                  <a:cubicBezTo>
                    <a:pt x="37389" y="9800"/>
                    <a:pt x="37614" y="10031"/>
                    <a:pt x="37806" y="10289"/>
                  </a:cubicBezTo>
                  <a:lnTo>
                    <a:pt x="37806" y="10289"/>
                  </a:lnTo>
                  <a:cubicBezTo>
                    <a:pt x="37995" y="10409"/>
                    <a:pt x="37977" y="10581"/>
                    <a:pt x="37806" y="10289"/>
                  </a:cubicBezTo>
                  <a:cubicBezTo>
                    <a:pt x="37806" y="10289"/>
                    <a:pt x="37479" y="10289"/>
                    <a:pt x="37703" y="10426"/>
                  </a:cubicBezTo>
                  <a:cubicBezTo>
                    <a:pt x="38939" y="10701"/>
                    <a:pt x="37256" y="9619"/>
                    <a:pt x="37101" y="9275"/>
                  </a:cubicBezTo>
                  <a:cubicBezTo>
                    <a:pt x="37101" y="9275"/>
                    <a:pt x="37101" y="9275"/>
                    <a:pt x="37101" y="9275"/>
                  </a:cubicBezTo>
                  <a:cubicBezTo>
                    <a:pt x="36284" y="8916"/>
                    <a:pt x="35525" y="8435"/>
                    <a:pt x="34851" y="7850"/>
                  </a:cubicBezTo>
                  <a:cubicBezTo>
                    <a:pt x="35229" y="8021"/>
                    <a:pt x="35573" y="8399"/>
                    <a:pt x="35933" y="8451"/>
                  </a:cubicBezTo>
                  <a:cubicBezTo>
                    <a:pt x="35796" y="8262"/>
                    <a:pt x="36208" y="8571"/>
                    <a:pt x="36105" y="8451"/>
                  </a:cubicBezTo>
                  <a:cubicBezTo>
                    <a:pt x="35827" y="8436"/>
                    <a:pt x="35564" y="8320"/>
                    <a:pt x="35367" y="8125"/>
                  </a:cubicBezTo>
                  <a:cubicBezTo>
                    <a:pt x="35727" y="8279"/>
                    <a:pt x="35367" y="8125"/>
                    <a:pt x="35367" y="8039"/>
                  </a:cubicBezTo>
                  <a:lnTo>
                    <a:pt x="35367" y="8039"/>
                  </a:lnTo>
                  <a:cubicBezTo>
                    <a:pt x="34886" y="7455"/>
                    <a:pt x="37084" y="8880"/>
                    <a:pt x="36363" y="8331"/>
                  </a:cubicBezTo>
                  <a:cubicBezTo>
                    <a:pt x="36637" y="8531"/>
                    <a:pt x="36938" y="8693"/>
                    <a:pt x="37256" y="8812"/>
                  </a:cubicBezTo>
                  <a:cubicBezTo>
                    <a:pt x="36947" y="8605"/>
                    <a:pt x="37256" y="8691"/>
                    <a:pt x="37428" y="8812"/>
                  </a:cubicBezTo>
                  <a:cubicBezTo>
                    <a:pt x="37325" y="8709"/>
                    <a:pt x="37033" y="8588"/>
                    <a:pt x="37101" y="8709"/>
                  </a:cubicBezTo>
                  <a:cubicBezTo>
                    <a:pt x="36569" y="8468"/>
                    <a:pt x="36019" y="8056"/>
                    <a:pt x="35384" y="7798"/>
                  </a:cubicBezTo>
                  <a:cubicBezTo>
                    <a:pt x="35212" y="7798"/>
                    <a:pt x="34405" y="7403"/>
                    <a:pt x="34525" y="7231"/>
                  </a:cubicBezTo>
                  <a:cubicBezTo>
                    <a:pt x="34284" y="6922"/>
                    <a:pt x="34697" y="7334"/>
                    <a:pt x="34851" y="7317"/>
                  </a:cubicBezTo>
                  <a:cubicBezTo>
                    <a:pt x="34628" y="7317"/>
                    <a:pt x="34491" y="7042"/>
                    <a:pt x="34267" y="7008"/>
                  </a:cubicBezTo>
                  <a:cubicBezTo>
                    <a:pt x="34044" y="6974"/>
                    <a:pt x="34061" y="7008"/>
                    <a:pt x="34027" y="6922"/>
                  </a:cubicBezTo>
                  <a:cubicBezTo>
                    <a:pt x="33992" y="6836"/>
                    <a:pt x="34130" y="6922"/>
                    <a:pt x="34027" y="6922"/>
                  </a:cubicBezTo>
                  <a:cubicBezTo>
                    <a:pt x="33924" y="6922"/>
                    <a:pt x="33838" y="6836"/>
                    <a:pt x="33872" y="6922"/>
                  </a:cubicBezTo>
                  <a:cubicBezTo>
                    <a:pt x="33907" y="7008"/>
                    <a:pt x="33683" y="6802"/>
                    <a:pt x="33872" y="6922"/>
                  </a:cubicBezTo>
                  <a:lnTo>
                    <a:pt x="33615" y="6768"/>
                  </a:lnTo>
                  <a:cubicBezTo>
                    <a:pt x="33615" y="6768"/>
                    <a:pt x="33615" y="6768"/>
                    <a:pt x="33615" y="6768"/>
                  </a:cubicBezTo>
                  <a:lnTo>
                    <a:pt x="33168" y="6458"/>
                  </a:lnTo>
                  <a:lnTo>
                    <a:pt x="33168" y="6458"/>
                  </a:lnTo>
                  <a:cubicBezTo>
                    <a:pt x="33086" y="6395"/>
                    <a:pt x="33000" y="6338"/>
                    <a:pt x="32910" y="6287"/>
                  </a:cubicBezTo>
                  <a:lnTo>
                    <a:pt x="32910" y="6287"/>
                  </a:lnTo>
                  <a:lnTo>
                    <a:pt x="32910" y="6287"/>
                  </a:lnTo>
                  <a:lnTo>
                    <a:pt x="32910" y="6287"/>
                  </a:lnTo>
                  <a:lnTo>
                    <a:pt x="32687" y="6184"/>
                  </a:lnTo>
                  <a:lnTo>
                    <a:pt x="32687" y="6184"/>
                  </a:lnTo>
                  <a:cubicBezTo>
                    <a:pt x="32687" y="6184"/>
                    <a:pt x="32515" y="6184"/>
                    <a:pt x="32687" y="6184"/>
                  </a:cubicBezTo>
                  <a:lnTo>
                    <a:pt x="32687" y="6184"/>
                  </a:lnTo>
                  <a:lnTo>
                    <a:pt x="32687" y="6184"/>
                  </a:lnTo>
                  <a:lnTo>
                    <a:pt x="32962" y="6287"/>
                  </a:lnTo>
                  <a:lnTo>
                    <a:pt x="32739" y="6184"/>
                  </a:lnTo>
                  <a:lnTo>
                    <a:pt x="32893" y="6184"/>
                  </a:lnTo>
                  <a:lnTo>
                    <a:pt x="32807" y="6184"/>
                  </a:lnTo>
                  <a:cubicBezTo>
                    <a:pt x="32762" y="6174"/>
                    <a:pt x="32715" y="6174"/>
                    <a:pt x="32670" y="6184"/>
                  </a:cubicBezTo>
                  <a:lnTo>
                    <a:pt x="32670" y="6184"/>
                  </a:lnTo>
                  <a:cubicBezTo>
                    <a:pt x="32625" y="6193"/>
                    <a:pt x="32578" y="6193"/>
                    <a:pt x="32532" y="6184"/>
                  </a:cubicBezTo>
                  <a:lnTo>
                    <a:pt x="32876" y="6304"/>
                  </a:lnTo>
                  <a:cubicBezTo>
                    <a:pt x="32750" y="6242"/>
                    <a:pt x="32618" y="6196"/>
                    <a:pt x="32481" y="6166"/>
                  </a:cubicBezTo>
                  <a:lnTo>
                    <a:pt x="32481" y="6166"/>
                  </a:lnTo>
                  <a:cubicBezTo>
                    <a:pt x="32481" y="6166"/>
                    <a:pt x="32292" y="6166"/>
                    <a:pt x="32343" y="6166"/>
                  </a:cubicBezTo>
                  <a:cubicBezTo>
                    <a:pt x="32395" y="6166"/>
                    <a:pt x="32343" y="6166"/>
                    <a:pt x="32343" y="6166"/>
                  </a:cubicBezTo>
                  <a:lnTo>
                    <a:pt x="32343" y="6166"/>
                  </a:lnTo>
                  <a:lnTo>
                    <a:pt x="32206" y="6166"/>
                  </a:lnTo>
                  <a:lnTo>
                    <a:pt x="32206" y="6166"/>
                  </a:lnTo>
                  <a:lnTo>
                    <a:pt x="31742" y="6029"/>
                  </a:lnTo>
                  <a:lnTo>
                    <a:pt x="31742" y="6029"/>
                  </a:lnTo>
                  <a:cubicBezTo>
                    <a:pt x="31571" y="6029"/>
                    <a:pt x="30763" y="5720"/>
                    <a:pt x="30952" y="5754"/>
                  </a:cubicBezTo>
                  <a:lnTo>
                    <a:pt x="30952" y="5754"/>
                  </a:lnTo>
                  <a:lnTo>
                    <a:pt x="31055" y="5754"/>
                  </a:lnTo>
                  <a:lnTo>
                    <a:pt x="31055" y="5754"/>
                  </a:lnTo>
                  <a:cubicBezTo>
                    <a:pt x="31244" y="5754"/>
                    <a:pt x="31416" y="5857"/>
                    <a:pt x="31605" y="5909"/>
                  </a:cubicBezTo>
                  <a:lnTo>
                    <a:pt x="31416" y="5909"/>
                  </a:lnTo>
                  <a:lnTo>
                    <a:pt x="31588" y="5909"/>
                  </a:lnTo>
                  <a:lnTo>
                    <a:pt x="31485" y="5909"/>
                  </a:lnTo>
                  <a:cubicBezTo>
                    <a:pt x="31588" y="5909"/>
                    <a:pt x="31364" y="5909"/>
                    <a:pt x="31485" y="5909"/>
                  </a:cubicBezTo>
                  <a:lnTo>
                    <a:pt x="31485" y="5909"/>
                  </a:lnTo>
                  <a:cubicBezTo>
                    <a:pt x="31794" y="5995"/>
                    <a:pt x="32481" y="6201"/>
                    <a:pt x="31811" y="5909"/>
                  </a:cubicBezTo>
                  <a:lnTo>
                    <a:pt x="31811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2292" y="6046"/>
                  </a:lnTo>
                  <a:lnTo>
                    <a:pt x="32051" y="6046"/>
                  </a:lnTo>
                  <a:lnTo>
                    <a:pt x="32378" y="6046"/>
                  </a:lnTo>
                  <a:lnTo>
                    <a:pt x="32635" y="6046"/>
                  </a:lnTo>
                  <a:lnTo>
                    <a:pt x="32635" y="6046"/>
                  </a:lnTo>
                  <a:cubicBezTo>
                    <a:pt x="32412" y="6046"/>
                    <a:pt x="32635" y="6046"/>
                    <a:pt x="32773" y="6046"/>
                  </a:cubicBezTo>
                  <a:lnTo>
                    <a:pt x="32773" y="6046"/>
                  </a:lnTo>
                  <a:lnTo>
                    <a:pt x="32773" y="6046"/>
                  </a:lnTo>
                  <a:cubicBezTo>
                    <a:pt x="33198" y="6156"/>
                    <a:pt x="33612" y="6306"/>
                    <a:pt x="34010" y="6493"/>
                  </a:cubicBezTo>
                  <a:cubicBezTo>
                    <a:pt x="34010" y="6493"/>
                    <a:pt x="34010" y="6493"/>
                    <a:pt x="34010" y="6493"/>
                  </a:cubicBezTo>
                  <a:cubicBezTo>
                    <a:pt x="34010" y="6493"/>
                    <a:pt x="34456" y="6665"/>
                    <a:pt x="34645" y="6768"/>
                  </a:cubicBezTo>
                  <a:lnTo>
                    <a:pt x="34645" y="6768"/>
                  </a:lnTo>
                  <a:lnTo>
                    <a:pt x="35470" y="7163"/>
                  </a:lnTo>
                  <a:cubicBezTo>
                    <a:pt x="35212" y="7025"/>
                    <a:pt x="34954" y="6871"/>
                    <a:pt x="34662" y="6733"/>
                  </a:cubicBezTo>
                  <a:lnTo>
                    <a:pt x="34662" y="6733"/>
                  </a:lnTo>
                  <a:lnTo>
                    <a:pt x="34353" y="6596"/>
                  </a:lnTo>
                  <a:lnTo>
                    <a:pt x="34491" y="6596"/>
                  </a:lnTo>
                  <a:cubicBezTo>
                    <a:pt x="34491" y="6596"/>
                    <a:pt x="34044" y="6441"/>
                    <a:pt x="34250" y="6493"/>
                  </a:cubicBezTo>
                  <a:lnTo>
                    <a:pt x="34113" y="6493"/>
                  </a:lnTo>
                  <a:lnTo>
                    <a:pt x="34422" y="6596"/>
                  </a:lnTo>
                  <a:cubicBezTo>
                    <a:pt x="34327" y="6538"/>
                    <a:pt x="34222" y="6497"/>
                    <a:pt x="34113" y="6476"/>
                  </a:cubicBezTo>
                  <a:cubicBezTo>
                    <a:pt x="34287" y="6517"/>
                    <a:pt x="34459" y="6568"/>
                    <a:pt x="34628" y="6630"/>
                  </a:cubicBezTo>
                  <a:lnTo>
                    <a:pt x="34473" y="6630"/>
                  </a:lnTo>
                  <a:lnTo>
                    <a:pt x="34473" y="6630"/>
                  </a:lnTo>
                  <a:lnTo>
                    <a:pt x="33700" y="4827"/>
                  </a:lnTo>
                  <a:cubicBezTo>
                    <a:pt x="42679" y="7791"/>
                    <a:pt x="48892" y="15993"/>
                    <a:pt x="49314" y="25438"/>
                  </a:cubicBezTo>
                  <a:cubicBezTo>
                    <a:pt x="49301" y="25780"/>
                    <a:pt x="49255" y="26119"/>
                    <a:pt x="49177" y="26452"/>
                  </a:cubicBezTo>
                  <a:cubicBezTo>
                    <a:pt x="49245" y="26349"/>
                    <a:pt x="49159" y="26538"/>
                    <a:pt x="49159" y="26589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39" name="Google Shape;239;p66"/>
            <p:cNvSpPr/>
            <p:nvPr/>
          </p:nvSpPr>
          <p:spPr>
            <a:xfrm rot="-5400000">
              <a:off x="12026199" y="6563439"/>
              <a:ext cx="13277" cy="68070"/>
            </a:xfrm>
            <a:custGeom>
              <a:avLst/>
              <a:gdLst/>
              <a:ahLst/>
              <a:cxnLst/>
              <a:rect l="l" t="t" r="r" b="b"/>
              <a:pathLst>
                <a:path w="13277" h="68070" extrusionOk="0">
                  <a:moveTo>
                    <a:pt x="13277" y="12024"/>
                  </a:moveTo>
                  <a:lnTo>
                    <a:pt x="0" y="12024"/>
                  </a:lnTo>
                  <a:lnTo>
                    <a:pt x="0" y="0"/>
                  </a:lnTo>
                  <a:lnTo>
                    <a:pt x="13277" y="0"/>
                  </a:lnTo>
                  <a:close/>
                  <a:moveTo>
                    <a:pt x="0" y="17984"/>
                  </a:moveTo>
                  <a:lnTo>
                    <a:pt x="13277" y="17984"/>
                  </a:lnTo>
                  <a:lnTo>
                    <a:pt x="13277" y="68070"/>
                  </a:lnTo>
                  <a:lnTo>
                    <a:pt x="0" y="6807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40" name="Google Shape;240;p66"/>
            <p:cNvSpPr/>
            <p:nvPr/>
          </p:nvSpPr>
          <p:spPr>
            <a:xfrm rot="-5400000">
              <a:off x="12018640" y="6529825"/>
              <a:ext cx="45208" cy="51256"/>
            </a:xfrm>
            <a:custGeom>
              <a:avLst/>
              <a:gdLst/>
              <a:ahLst/>
              <a:cxnLst/>
              <a:rect l="l" t="t" r="r" b="b"/>
              <a:pathLst>
                <a:path w="45208" h="51256" extrusionOk="0">
                  <a:moveTo>
                    <a:pt x="40279" y="4038"/>
                  </a:moveTo>
                  <a:cubicBezTo>
                    <a:pt x="43565" y="6752"/>
                    <a:pt x="45209" y="11246"/>
                    <a:pt x="45209" y="17521"/>
                  </a:cubicBezTo>
                  <a:lnTo>
                    <a:pt x="45209" y="51256"/>
                  </a:lnTo>
                  <a:lnTo>
                    <a:pt x="31794" y="51256"/>
                  </a:lnTo>
                  <a:lnTo>
                    <a:pt x="31794" y="20785"/>
                  </a:lnTo>
                  <a:cubicBezTo>
                    <a:pt x="31892" y="18712"/>
                    <a:pt x="31535" y="16642"/>
                    <a:pt x="30746" y="14722"/>
                  </a:cubicBezTo>
                  <a:cubicBezTo>
                    <a:pt x="29458" y="12162"/>
                    <a:pt x="27036" y="10874"/>
                    <a:pt x="23446" y="10874"/>
                  </a:cubicBezTo>
                  <a:cubicBezTo>
                    <a:pt x="19509" y="10574"/>
                    <a:pt x="15832" y="12861"/>
                    <a:pt x="14360" y="16525"/>
                  </a:cubicBezTo>
                  <a:cubicBezTo>
                    <a:pt x="13437" y="18959"/>
                    <a:pt x="13005" y="21550"/>
                    <a:pt x="13089" y="24152"/>
                  </a:cubicBezTo>
                  <a:lnTo>
                    <a:pt x="13089" y="51256"/>
                  </a:lnTo>
                  <a:lnTo>
                    <a:pt x="0" y="51256"/>
                  </a:lnTo>
                  <a:lnTo>
                    <a:pt x="0" y="1272"/>
                  </a:lnTo>
                  <a:lnTo>
                    <a:pt x="12676" y="1272"/>
                  </a:lnTo>
                  <a:lnTo>
                    <a:pt x="12676" y="8607"/>
                  </a:lnTo>
                  <a:cubicBezTo>
                    <a:pt x="13939" y="6498"/>
                    <a:pt x="15548" y="4617"/>
                    <a:pt x="17434" y="3042"/>
                  </a:cubicBezTo>
                  <a:cubicBezTo>
                    <a:pt x="20409" y="938"/>
                    <a:pt x="23996" y="-125"/>
                    <a:pt x="27637" y="19"/>
                  </a:cubicBezTo>
                  <a:cubicBezTo>
                    <a:pt x="32194" y="-181"/>
                    <a:pt x="36674" y="1243"/>
                    <a:pt x="40279" y="403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41" name="Google Shape;241;p66"/>
            <p:cNvSpPr/>
            <p:nvPr/>
          </p:nvSpPr>
          <p:spPr>
            <a:xfrm rot="-5400000">
              <a:off x="12018195" y="6477145"/>
              <a:ext cx="28942" cy="68414"/>
            </a:xfrm>
            <a:custGeom>
              <a:avLst/>
              <a:gdLst/>
              <a:ahLst/>
              <a:cxnLst/>
              <a:rect l="l" t="t" r="r" b="b"/>
              <a:pathLst>
                <a:path w="28942" h="68414" extrusionOk="0">
                  <a:moveTo>
                    <a:pt x="25868" y="0"/>
                  </a:moveTo>
                  <a:lnTo>
                    <a:pt x="28616" y="206"/>
                  </a:lnTo>
                  <a:lnTo>
                    <a:pt x="28616" y="10941"/>
                  </a:lnTo>
                  <a:cubicBezTo>
                    <a:pt x="27390" y="10808"/>
                    <a:pt x="26157" y="10739"/>
                    <a:pt x="24923" y="10735"/>
                  </a:cubicBezTo>
                  <a:cubicBezTo>
                    <a:pt x="23616" y="10538"/>
                    <a:pt x="22290" y="10956"/>
                    <a:pt x="21333" y="11869"/>
                  </a:cubicBezTo>
                  <a:cubicBezTo>
                    <a:pt x="20704" y="12627"/>
                    <a:pt x="20358" y="13580"/>
                    <a:pt x="20354" y="14566"/>
                  </a:cubicBezTo>
                  <a:lnTo>
                    <a:pt x="20354" y="18791"/>
                  </a:lnTo>
                  <a:lnTo>
                    <a:pt x="28943" y="18791"/>
                  </a:lnTo>
                  <a:lnTo>
                    <a:pt x="28943" y="28032"/>
                  </a:lnTo>
                  <a:lnTo>
                    <a:pt x="20354" y="28032"/>
                  </a:lnTo>
                  <a:lnTo>
                    <a:pt x="20354" y="68414"/>
                  </a:lnTo>
                  <a:lnTo>
                    <a:pt x="7352" y="68414"/>
                  </a:lnTo>
                  <a:lnTo>
                    <a:pt x="7352" y="28032"/>
                  </a:lnTo>
                  <a:lnTo>
                    <a:pt x="0" y="28032"/>
                  </a:lnTo>
                  <a:lnTo>
                    <a:pt x="0" y="18791"/>
                  </a:lnTo>
                  <a:lnTo>
                    <a:pt x="7163" y="18791"/>
                  </a:lnTo>
                  <a:lnTo>
                    <a:pt x="7163" y="15579"/>
                  </a:lnTo>
                  <a:cubicBezTo>
                    <a:pt x="7163" y="10220"/>
                    <a:pt x="8067" y="6527"/>
                    <a:pt x="9877" y="4500"/>
                  </a:cubicBezTo>
                  <a:cubicBezTo>
                    <a:pt x="11783" y="1494"/>
                    <a:pt x="16352" y="0"/>
                    <a:pt x="23618" y="0"/>
                  </a:cubicBezTo>
                  <a:cubicBezTo>
                    <a:pt x="24442" y="0"/>
                    <a:pt x="25198" y="0"/>
                    <a:pt x="25868" y="0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42" name="Google Shape;242;p66"/>
            <p:cNvSpPr/>
            <p:nvPr/>
          </p:nvSpPr>
          <p:spPr>
            <a:xfrm rot="-5400000">
              <a:off x="12016830" y="6161182"/>
              <a:ext cx="49036" cy="51048"/>
            </a:xfrm>
            <a:custGeom>
              <a:avLst/>
              <a:gdLst/>
              <a:ahLst/>
              <a:cxnLst/>
              <a:rect l="l" t="t" r="r" b="b"/>
              <a:pathLst>
                <a:path w="49036" h="51048" extrusionOk="0">
                  <a:moveTo>
                    <a:pt x="42949" y="43542"/>
                  </a:moveTo>
                  <a:cubicBezTo>
                    <a:pt x="38907" y="48535"/>
                    <a:pt x="32763" y="51037"/>
                    <a:pt x="24519" y="51049"/>
                  </a:cubicBezTo>
                  <a:cubicBezTo>
                    <a:pt x="16274" y="51060"/>
                    <a:pt x="10125" y="48558"/>
                    <a:pt x="6071" y="43542"/>
                  </a:cubicBezTo>
                  <a:cubicBezTo>
                    <a:pt x="2000" y="38452"/>
                    <a:pt x="-145" y="32091"/>
                    <a:pt x="8" y="25576"/>
                  </a:cubicBezTo>
                  <a:cubicBezTo>
                    <a:pt x="-130" y="19058"/>
                    <a:pt x="2016" y="12697"/>
                    <a:pt x="6071" y="7592"/>
                  </a:cubicBezTo>
                  <a:cubicBezTo>
                    <a:pt x="10125" y="2519"/>
                    <a:pt x="16274" y="-11"/>
                    <a:pt x="24519" y="0"/>
                  </a:cubicBezTo>
                  <a:cubicBezTo>
                    <a:pt x="32763" y="12"/>
                    <a:pt x="38907" y="2542"/>
                    <a:pt x="42949" y="7592"/>
                  </a:cubicBezTo>
                  <a:cubicBezTo>
                    <a:pt x="47010" y="12695"/>
                    <a:pt x="49160" y="19056"/>
                    <a:pt x="49030" y="25576"/>
                  </a:cubicBezTo>
                  <a:cubicBezTo>
                    <a:pt x="49177" y="32093"/>
                    <a:pt x="47023" y="38454"/>
                    <a:pt x="42949" y="43542"/>
                  </a:cubicBezTo>
                  <a:close/>
                  <a:moveTo>
                    <a:pt x="32918" y="36672"/>
                  </a:moveTo>
                  <a:cubicBezTo>
                    <a:pt x="35077" y="33390"/>
                    <a:pt x="36115" y="29497"/>
                    <a:pt x="35872" y="25576"/>
                  </a:cubicBezTo>
                  <a:cubicBezTo>
                    <a:pt x="36123" y="21654"/>
                    <a:pt x="35086" y="17758"/>
                    <a:pt x="32918" y="14480"/>
                  </a:cubicBezTo>
                  <a:cubicBezTo>
                    <a:pt x="28893" y="9808"/>
                    <a:pt x="21844" y="9283"/>
                    <a:pt x="17172" y="13307"/>
                  </a:cubicBezTo>
                  <a:cubicBezTo>
                    <a:pt x="16753" y="13668"/>
                    <a:pt x="16360" y="14060"/>
                    <a:pt x="15999" y="14480"/>
                  </a:cubicBezTo>
                  <a:cubicBezTo>
                    <a:pt x="13826" y="17756"/>
                    <a:pt x="12782" y="21652"/>
                    <a:pt x="13027" y="25576"/>
                  </a:cubicBezTo>
                  <a:cubicBezTo>
                    <a:pt x="12782" y="29510"/>
                    <a:pt x="13824" y="33418"/>
                    <a:pt x="15999" y="36706"/>
                  </a:cubicBezTo>
                  <a:cubicBezTo>
                    <a:pt x="19994" y="41378"/>
                    <a:pt x="27020" y="41927"/>
                    <a:pt x="31692" y="37932"/>
                  </a:cubicBezTo>
                  <a:cubicBezTo>
                    <a:pt x="32131" y="37556"/>
                    <a:pt x="32542" y="37146"/>
                    <a:pt x="32918" y="36706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43" name="Google Shape;243;p66"/>
            <p:cNvSpPr/>
            <p:nvPr/>
          </p:nvSpPr>
          <p:spPr>
            <a:xfrm rot="-5400000">
              <a:off x="12005374" y="6370523"/>
              <a:ext cx="71791" cy="51205"/>
            </a:xfrm>
            <a:custGeom>
              <a:avLst/>
              <a:gdLst/>
              <a:ahLst/>
              <a:cxnLst/>
              <a:rect l="l" t="t" r="r" b="b"/>
              <a:pathLst>
                <a:path w="71791" h="51205" extrusionOk="0">
                  <a:moveTo>
                    <a:pt x="62643" y="1307"/>
                  </a:moveTo>
                  <a:cubicBezTo>
                    <a:pt x="64938" y="2282"/>
                    <a:pt x="66944" y="3832"/>
                    <a:pt x="68466" y="5808"/>
                  </a:cubicBezTo>
                  <a:cubicBezTo>
                    <a:pt x="69936" y="7685"/>
                    <a:pt x="70917" y="9898"/>
                    <a:pt x="71317" y="12249"/>
                  </a:cubicBezTo>
                  <a:cubicBezTo>
                    <a:pt x="71680" y="14693"/>
                    <a:pt x="71834" y="17164"/>
                    <a:pt x="71781" y="19635"/>
                  </a:cubicBezTo>
                  <a:lnTo>
                    <a:pt x="71781" y="51205"/>
                  </a:lnTo>
                  <a:lnTo>
                    <a:pt x="58349" y="51205"/>
                  </a:lnTo>
                  <a:lnTo>
                    <a:pt x="58349" y="19308"/>
                  </a:lnTo>
                  <a:cubicBezTo>
                    <a:pt x="58414" y="17701"/>
                    <a:pt x="58101" y="16101"/>
                    <a:pt x="57438" y="14636"/>
                  </a:cubicBezTo>
                  <a:cubicBezTo>
                    <a:pt x="56188" y="12289"/>
                    <a:pt x="53642" y="10931"/>
                    <a:pt x="50997" y="11201"/>
                  </a:cubicBezTo>
                  <a:cubicBezTo>
                    <a:pt x="47802" y="10957"/>
                    <a:pt x="44803" y="12763"/>
                    <a:pt x="43525" y="15701"/>
                  </a:cubicBezTo>
                  <a:cubicBezTo>
                    <a:pt x="42766" y="17522"/>
                    <a:pt x="42404" y="19483"/>
                    <a:pt x="42460" y="21455"/>
                  </a:cubicBezTo>
                  <a:lnTo>
                    <a:pt x="42460" y="51205"/>
                  </a:lnTo>
                  <a:lnTo>
                    <a:pt x="29269" y="51205"/>
                  </a:lnTo>
                  <a:lnTo>
                    <a:pt x="29269" y="21387"/>
                  </a:lnTo>
                  <a:cubicBezTo>
                    <a:pt x="29389" y="19189"/>
                    <a:pt x="29080" y="16990"/>
                    <a:pt x="28359" y="14911"/>
                  </a:cubicBezTo>
                  <a:cubicBezTo>
                    <a:pt x="27192" y="12446"/>
                    <a:pt x="24595" y="10986"/>
                    <a:pt x="21883" y="11270"/>
                  </a:cubicBezTo>
                  <a:cubicBezTo>
                    <a:pt x="18138" y="11270"/>
                    <a:pt x="15626" y="12484"/>
                    <a:pt x="14342" y="14911"/>
                  </a:cubicBezTo>
                  <a:cubicBezTo>
                    <a:pt x="13527" y="16854"/>
                    <a:pt x="13162" y="18956"/>
                    <a:pt x="13277" y="21060"/>
                  </a:cubicBezTo>
                  <a:lnTo>
                    <a:pt x="13277" y="51205"/>
                  </a:lnTo>
                  <a:lnTo>
                    <a:pt x="0" y="51205"/>
                  </a:lnTo>
                  <a:lnTo>
                    <a:pt x="0" y="1221"/>
                  </a:lnTo>
                  <a:lnTo>
                    <a:pt x="12728" y="1221"/>
                  </a:lnTo>
                  <a:lnTo>
                    <a:pt x="12728" y="8556"/>
                  </a:lnTo>
                  <a:cubicBezTo>
                    <a:pt x="13930" y="6449"/>
                    <a:pt x="15488" y="4567"/>
                    <a:pt x="17331" y="2991"/>
                  </a:cubicBezTo>
                  <a:cubicBezTo>
                    <a:pt x="23120" y="-769"/>
                    <a:pt x="30538" y="-929"/>
                    <a:pt x="36483" y="2578"/>
                  </a:cubicBezTo>
                  <a:cubicBezTo>
                    <a:pt x="38381" y="4179"/>
                    <a:pt x="39841" y="6236"/>
                    <a:pt x="40726" y="8556"/>
                  </a:cubicBezTo>
                  <a:cubicBezTo>
                    <a:pt x="42206" y="5843"/>
                    <a:pt x="44413" y="3595"/>
                    <a:pt x="47098" y="2063"/>
                  </a:cubicBezTo>
                  <a:cubicBezTo>
                    <a:pt x="49896" y="665"/>
                    <a:pt x="52988" y="-42"/>
                    <a:pt x="56116" y="2"/>
                  </a:cubicBezTo>
                  <a:cubicBezTo>
                    <a:pt x="58356" y="15"/>
                    <a:pt x="60571" y="458"/>
                    <a:pt x="62643" y="1307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44" name="Google Shape;244;p66"/>
            <p:cNvSpPr/>
            <p:nvPr/>
          </p:nvSpPr>
          <p:spPr>
            <a:xfrm rot="-5400000">
              <a:off x="12026199" y="6307354"/>
              <a:ext cx="13277" cy="68070"/>
            </a:xfrm>
            <a:custGeom>
              <a:avLst/>
              <a:gdLst/>
              <a:ahLst/>
              <a:cxnLst/>
              <a:rect l="l" t="t" r="r" b="b"/>
              <a:pathLst>
                <a:path w="13277" h="68070" extrusionOk="0">
                  <a:moveTo>
                    <a:pt x="13278" y="12024"/>
                  </a:moveTo>
                  <a:lnTo>
                    <a:pt x="0" y="12024"/>
                  </a:lnTo>
                  <a:lnTo>
                    <a:pt x="0" y="0"/>
                  </a:lnTo>
                  <a:lnTo>
                    <a:pt x="13278" y="0"/>
                  </a:lnTo>
                  <a:close/>
                  <a:moveTo>
                    <a:pt x="0" y="17984"/>
                  </a:moveTo>
                  <a:lnTo>
                    <a:pt x="13278" y="17984"/>
                  </a:lnTo>
                  <a:lnTo>
                    <a:pt x="13278" y="68070"/>
                  </a:lnTo>
                  <a:lnTo>
                    <a:pt x="0" y="6807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45" name="Google Shape;245;p66"/>
            <p:cNvSpPr/>
            <p:nvPr/>
          </p:nvSpPr>
          <p:spPr>
            <a:xfrm rot="-5400000">
              <a:off x="12018641" y="6273739"/>
              <a:ext cx="45208" cy="51255"/>
            </a:xfrm>
            <a:custGeom>
              <a:avLst/>
              <a:gdLst/>
              <a:ahLst/>
              <a:cxnLst/>
              <a:rect l="l" t="t" r="r" b="b"/>
              <a:pathLst>
                <a:path w="45208" h="51255" extrusionOk="0">
                  <a:moveTo>
                    <a:pt x="40296" y="4038"/>
                  </a:moveTo>
                  <a:cubicBezTo>
                    <a:pt x="43560" y="6752"/>
                    <a:pt x="45209" y="11252"/>
                    <a:pt x="45209" y="17521"/>
                  </a:cubicBezTo>
                  <a:lnTo>
                    <a:pt x="45209" y="51256"/>
                  </a:lnTo>
                  <a:lnTo>
                    <a:pt x="31794" y="51256"/>
                  </a:lnTo>
                  <a:lnTo>
                    <a:pt x="31794" y="20785"/>
                  </a:lnTo>
                  <a:cubicBezTo>
                    <a:pt x="31900" y="18711"/>
                    <a:pt x="31543" y="16639"/>
                    <a:pt x="30746" y="14722"/>
                  </a:cubicBezTo>
                  <a:cubicBezTo>
                    <a:pt x="29458" y="12162"/>
                    <a:pt x="27036" y="10874"/>
                    <a:pt x="23446" y="10874"/>
                  </a:cubicBezTo>
                  <a:cubicBezTo>
                    <a:pt x="19511" y="10565"/>
                    <a:pt x="15833" y="12857"/>
                    <a:pt x="14377" y="16525"/>
                  </a:cubicBezTo>
                  <a:cubicBezTo>
                    <a:pt x="13439" y="18955"/>
                    <a:pt x="13001" y="21549"/>
                    <a:pt x="13089" y="24151"/>
                  </a:cubicBezTo>
                  <a:lnTo>
                    <a:pt x="13089" y="51256"/>
                  </a:lnTo>
                  <a:lnTo>
                    <a:pt x="0" y="51256"/>
                  </a:lnTo>
                  <a:lnTo>
                    <a:pt x="0" y="1272"/>
                  </a:lnTo>
                  <a:lnTo>
                    <a:pt x="12676" y="1272"/>
                  </a:lnTo>
                  <a:lnTo>
                    <a:pt x="12676" y="8607"/>
                  </a:lnTo>
                  <a:cubicBezTo>
                    <a:pt x="13946" y="6502"/>
                    <a:pt x="15553" y="4622"/>
                    <a:pt x="17434" y="3042"/>
                  </a:cubicBezTo>
                  <a:cubicBezTo>
                    <a:pt x="20409" y="938"/>
                    <a:pt x="23996" y="-125"/>
                    <a:pt x="27637" y="18"/>
                  </a:cubicBezTo>
                  <a:cubicBezTo>
                    <a:pt x="32199" y="-181"/>
                    <a:pt x="36684" y="1243"/>
                    <a:pt x="40296" y="403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46" name="Google Shape;246;p66"/>
            <p:cNvSpPr/>
            <p:nvPr/>
          </p:nvSpPr>
          <p:spPr>
            <a:xfrm rot="-5400000">
              <a:off x="12017163" y="6218687"/>
              <a:ext cx="48082" cy="51510"/>
            </a:xfrm>
            <a:custGeom>
              <a:avLst/>
              <a:gdLst/>
              <a:ahLst/>
              <a:cxnLst/>
              <a:rect l="l" t="t" r="r" b="b"/>
              <a:pathLst>
                <a:path w="48082" h="51510" extrusionOk="0">
                  <a:moveTo>
                    <a:pt x="35384" y="2281"/>
                  </a:moveTo>
                  <a:cubicBezTo>
                    <a:pt x="38804" y="3821"/>
                    <a:pt x="41712" y="6306"/>
                    <a:pt x="43766" y="9444"/>
                  </a:cubicBezTo>
                  <a:cubicBezTo>
                    <a:pt x="45803" y="12448"/>
                    <a:pt x="47126" y="15880"/>
                    <a:pt x="47631" y="19475"/>
                  </a:cubicBezTo>
                  <a:cubicBezTo>
                    <a:pt x="48021" y="22665"/>
                    <a:pt x="48160" y="25881"/>
                    <a:pt x="48043" y="29094"/>
                  </a:cubicBezTo>
                  <a:lnTo>
                    <a:pt x="12711" y="29094"/>
                  </a:lnTo>
                  <a:cubicBezTo>
                    <a:pt x="12900" y="33955"/>
                    <a:pt x="14600" y="37373"/>
                    <a:pt x="17778" y="39400"/>
                  </a:cubicBezTo>
                  <a:cubicBezTo>
                    <a:pt x="19884" y="40669"/>
                    <a:pt x="22311" y="41306"/>
                    <a:pt x="24769" y="41237"/>
                  </a:cubicBezTo>
                  <a:cubicBezTo>
                    <a:pt x="27307" y="41354"/>
                    <a:pt x="29803" y="40563"/>
                    <a:pt x="31811" y="39004"/>
                  </a:cubicBezTo>
                  <a:cubicBezTo>
                    <a:pt x="32891" y="38080"/>
                    <a:pt x="33774" y="36947"/>
                    <a:pt x="34405" y="35672"/>
                  </a:cubicBezTo>
                  <a:lnTo>
                    <a:pt x="47407" y="35672"/>
                  </a:lnTo>
                  <a:cubicBezTo>
                    <a:pt x="46818" y="39021"/>
                    <a:pt x="45169" y="42092"/>
                    <a:pt x="42701" y="44432"/>
                  </a:cubicBezTo>
                  <a:cubicBezTo>
                    <a:pt x="38355" y="49156"/>
                    <a:pt x="32292" y="51509"/>
                    <a:pt x="24459" y="51509"/>
                  </a:cubicBezTo>
                  <a:cubicBezTo>
                    <a:pt x="18245" y="51584"/>
                    <a:pt x="12202" y="49474"/>
                    <a:pt x="7386" y="45549"/>
                  </a:cubicBezTo>
                  <a:cubicBezTo>
                    <a:pt x="2461" y="41564"/>
                    <a:pt x="0" y="35094"/>
                    <a:pt x="0" y="26139"/>
                  </a:cubicBezTo>
                  <a:cubicBezTo>
                    <a:pt x="0" y="17746"/>
                    <a:pt x="2228" y="11304"/>
                    <a:pt x="6682" y="6816"/>
                  </a:cubicBezTo>
                  <a:cubicBezTo>
                    <a:pt x="11252" y="2254"/>
                    <a:pt x="17508" y="-208"/>
                    <a:pt x="23961" y="14"/>
                  </a:cubicBezTo>
                  <a:cubicBezTo>
                    <a:pt x="27886" y="-52"/>
                    <a:pt x="31782" y="721"/>
                    <a:pt x="35384" y="2281"/>
                  </a:cubicBezTo>
                  <a:close/>
                  <a:moveTo>
                    <a:pt x="16490" y="13223"/>
                  </a:moveTo>
                  <a:cubicBezTo>
                    <a:pt x="14554" y="15309"/>
                    <a:pt x="13350" y="17967"/>
                    <a:pt x="13054" y="20797"/>
                  </a:cubicBezTo>
                  <a:lnTo>
                    <a:pt x="34886" y="20797"/>
                  </a:lnTo>
                  <a:cubicBezTo>
                    <a:pt x="34844" y="17880"/>
                    <a:pt x="33601" y="15108"/>
                    <a:pt x="31450" y="13137"/>
                  </a:cubicBezTo>
                  <a:cubicBezTo>
                    <a:pt x="29363" y="11367"/>
                    <a:pt x="26698" y="10426"/>
                    <a:pt x="23961" y="10491"/>
                  </a:cubicBezTo>
                  <a:cubicBezTo>
                    <a:pt x="21201" y="10337"/>
                    <a:pt x="18499" y="11325"/>
                    <a:pt x="16490" y="13223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247" name="Google Shape;247;p66"/>
          <p:cNvSpPr txBox="1"/>
          <p:nvPr/>
        </p:nvSpPr>
        <p:spPr>
          <a:xfrm rot="-5400000">
            <a:off x="11250971" y="5290633"/>
            <a:ext cx="1567737" cy="110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</a:pPr>
            <a:r>
              <a:rPr lang="en-US" sz="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Copyright © 2020. All rights reserved.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48" name="Google Shape;248;p66"/>
          <p:cNvSpPr txBox="1">
            <a:spLocks noGrp="1"/>
          </p:cNvSpPr>
          <p:nvPr>
            <p:ph type="sldNum" idx="12"/>
          </p:nvPr>
        </p:nvSpPr>
        <p:spPr>
          <a:xfrm>
            <a:off x="11490153" y="6465614"/>
            <a:ext cx="150682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marL="0" marR="0" lvl="0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249" name="Google Shape;249;p66"/>
          <p:cNvSpPr txBox="1">
            <a:spLocks noGrp="1"/>
          </p:cNvSpPr>
          <p:nvPr>
            <p:ph type="ftr" idx="11"/>
          </p:nvPr>
        </p:nvSpPr>
        <p:spPr>
          <a:xfrm>
            <a:off x="550863" y="6465614"/>
            <a:ext cx="5545138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000" b="0" i="0" u="none" strike="noStrike" cap="none">
                <a:solidFill>
                  <a:schemeClr val="lt2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71954118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/3 Blue on Right">
  <p:cSld name="1/3 Blue on Right">
    <p:spTree>
      <p:nvGrpSpPr>
        <p:cNvPr id="1" name="Shape 25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1" name="Google Shape;251;p67"/>
          <p:cNvSpPr/>
          <p:nvPr/>
        </p:nvSpPr>
        <p:spPr>
          <a:xfrm>
            <a:off x="8134763" y="-1"/>
            <a:ext cx="4059776" cy="6858001"/>
          </a:xfrm>
          <a:prstGeom prst="rect">
            <a:avLst/>
          </a:prstGeom>
          <a:gradFill>
            <a:gsLst>
              <a:gs pos="0">
                <a:srgbClr val="062379"/>
              </a:gs>
              <a:gs pos="16000">
                <a:srgbClr val="062379"/>
              </a:gs>
              <a:gs pos="45000">
                <a:srgbClr val="0934B6">
                  <a:alpha val="88235"/>
                </a:srgbClr>
              </a:gs>
              <a:gs pos="79000">
                <a:srgbClr val="036DFF">
                  <a:alpha val="80000"/>
                </a:srgbClr>
              </a:gs>
              <a:gs pos="100000">
                <a:srgbClr val="43E1D3"/>
              </a:gs>
            </a:gsLst>
            <a:lin ang="270000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52" name="Google Shape;252;p67"/>
          <p:cNvSpPr txBox="1">
            <a:spLocks noGrp="1"/>
          </p:cNvSpPr>
          <p:nvPr>
            <p:ph type="title"/>
          </p:nvPr>
        </p:nvSpPr>
        <p:spPr>
          <a:xfrm>
            <a:off x="539400" y="562841"/>
            <a:ext cx="7261122" cy="4185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200"/>
              <a:buFont typeface="Franklin Gothic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53" name="Google Shape;253;p67"/>
          <p:cNvSpPr txBox="1">
            <a:spLocks noGrp="1"/>
          </p:cNvSpPr>
          <p:nvPr>
            <p:ph type="sldNum" idx="12"/>
          </p:nvPr>
        </p:nvSpPr>
        <p:spPr>
          <a:xfrm>
            <a:off x="11490453" y="6445294"/>
            <a:ext cx="150683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marL="0" marR="0" lvl="0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54" name="Google Shape;254;p67"/>
          <p:cNvCxnSpPr/>
          <p:nvPr/>
        </p:nvCxnSpPr>
        <p:spPr>
          <a:xfrm>
            <a:off x="539400" y="484910"/>
            <a:ext cx="540000" cy="0"/>
          </a:xfrm>
          <a:prstGeom prst="straightConnector1">
            <a:avLst/>
          </a:prstGeom>
          <a:noFill/>
          <a:ln w="38100" cap="flat" cmpd="sng">
            <a:solidFill>
              <a:schemeClr val="dk2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255" name="Google Shape;255;p67"/>
          <p:cNvGrpSpPr/>
          <p:nvPr/>
        </p:nvGrpSpPr>
        <p:grpSpPr>
          <a:xfrm>
            <a:off x="11998459" y="6162188"/>
            <a:ext cx="68500" cy="441925"/>
            <a:chOff x="11998459" y="6162188"/>
            <a:chExt cx="68500" cy="441925"/>
          </a:xfrm>
        </p:grpSpPr>
        <p:sp>
          <p:nvSpPr>
            <p:cNvPr id="256" name="Google Shape;256;p67"/>
            <p:cNvSpPr/>
            <p:nvPr/>
          </p:nvSpPr>
          <p:spPr>
            <a:xfrm rot="-5400000">
              <a:off x="12063068" y="6476346"/>
              <a:ext cx="17" cy="1717"/>
            </a:xfrm>
            <a:custGeom>
              <a:avLst/>
              <a:gdLst/>
              <a:ahLst/>
              <a:cxnLst/>
              <a:rect l="l" t="t" r="r" b="b"/>
              <a:pathLst>
                <a:path w="17" h="1717" extrusionOk="0">
                  <a:moveTo>
                    <a:pt x="0" y="0"/>
                  </a:moveTo>
                  <a:lnTo>
                    <a:pt x="17" y="0"/>
                  </a:lnTo>
                  <a:lnTo>
                    <a:pt x="17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57" name="Google Shape;257;p67"/>
            <p:cNvSpPr/>
            <p:nvPr/>
          </p:nvSpPr>
          <p:spPr>
            <a:xfrm rot="-5400000">
              <a:off x="12023737" y="6455896"/>
              <a:ext cx="453" cy="271"/>
            </a:xfrm>
            <a:custGeom>
              <a:avLst/>
              <a:gdLst/>
              <a:ahLst/>
              <a:cxnLst/>
              <a:rect l="l" t="t" r="r" b="b"/>
              <a:pathLst>
                <a:path w="453" h="271" extrusionOk="0">
                  <a:moveTo>
                    <a:pt x="0" y="0"/>
                  </a:moveTo>
                  <a:cubicBezTo>
                    <a:pt x="258" y="172"/>
                    <a:pt x="498" y="344"/>
                    <a:pt x="447" y="240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58" name="Google Shape;258;p67"/>
            <p:cNvSpPr/>
            <p:nvPr/>
          </p:nvSpPr>
          <p:spPr>
            <a:xfrm rot="-5400000">
              <a:off x="12023907" y="6477766"/>
              <a:ext cx="15" cy="76"/>
            </a:xfrm>
            <a:custGeom>
              <a:avLst/>
              <a:gdLst/>
              <a:ahLst/>
              <a:cxnLst/>
              <a:rect l="l" t="t" r="r" b="b"/>
              <a:pathLst>
                <a:path w="15" h="76" extrusionOk="0">
                  <a:moveTo>
                    <a:pt x="15" y="38"/>
                  </a:moveTo>
                  <a:cubicBezTo>
                    <a:pt x="15" y="38"/>
                    <a:pt x="15" y="-48"/>
                    <a:pt x="15" y="38"/>
                  </a:cubicBezTo>
                  <a:cubicBezTo>
                    <a:pt x="15" y="124"/>
                    <a:pt x="-19" y="38"/>
                    <a:pt x="15" y="3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59" name="Google Shape;259;p67"/>
            <p:cNvSpPr/>
            <p:nvPr/>
          </p:nvSpPr>
          <p:spPr>
            <a:xfrm rot="-5400000">
              <a:off x="12021636" y="6473651"/>
              <a:ext cx="261" cy="103"/>
            </a:xfrm>
            <a:custGeom>
              <a:avLst/>
              <a:gdLst/>
              <a:ahLst/>
              <a:cxnLst/>
              <a:rect l="l" t="t" r="r" b="b"/>
              <a:pathLst>
                <a:path w="261" h="103" extrusionOk="0">
                  <a:moveTo>
                    <a:pt x="262" y="0"/>
                  </a:moveTo>
                  <a:lnTo>
                    <a:pt x="56" y="103"/>
                  </a:lnTo>
                  <a:cubicBezTo>
                    <a:pt x="176" y="103"/>
                    <a:pt x="-116" y="103"/>
                    <a:pt x="56" y="103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60" name="Google Shape;260;p67"/>
            <p:cNvSpPr/>
            <p:nvPr/>
          </p:nvSpPr>
          <p:spPr>
            <a:xfrm rot="-5400000">
              <a:off x="12015635" y="6442208"/>
              <a:ext cx="51323" cy="51323"/>
            </a:xfrm>
            <a:custGeom>
              <a:avLst/>
              <a:gdLst/>
              <a:ahLst/>
              <a:cxnLst/>
              <a:rect l="l" t="t" r="r" b="b"/>
              <a:pathLst>
                <a:path w="51323" h="51323" extrusionOk="0">
                  <a:moveTo>
                    <a:pt x="25662" y="0"/>
                  </a:moveTo>
                  <a:cubicBezTo>
                    <a:pt x="11489" y="0"/>
                    <a:pt x="0" y="11489"/>
                    <a:pt x="0" y="25662"/>
                  </a:cubicBezTo>
                  <a:cubicBezTo>
                    <a:pt x="0" y="39834"/>
                    <a:pt x="11489" y="51323"/>
                    <a:pt x="25662" y="51323"/>
                  </a:cubicBezTo>
                  <a:cubicBezTo>
                    <a:pt x="39835" y="51323"/>
                    <a:pt x="51324" y="39834"/>
                    <a:pt x="51324" y="25662"/>
                  </a:cubicBezTo>
                  <a:cubicBezTo>
                    <a:pt x="51324" y="25645"/>
                    <a:pt x="51324" y="25627"/>
                    <a:pt x="51324" y="25610"/>
                  </a:cubicBezTo>
                  <a:cubicBezTo>
                    <a:pt x="51314" y="11457"/>
                    <a:pt x="39833" y="-9"/>
                    <a:pt x="25679" y="0"/>
                  </a:cubicBezTo>
                  <a:cubicBezTo>
                    <a:pt x="25673" y="0"/>
                    <a:pt x="25667" y="0"/>
                    <a:pt x="25662" y="0"/>
                  </a:cubicBezTo>
                  <a:close/>
                  <a:moveTo>
                    <a:pt x="26967" y="15648"/>
                  </a:moveTo>
                  <a:cubicBezTo>
                    <a:pt x="26864" y="15648"/>
                    <a:pt x="26967" y="15785"/>
                    <a:pt x="26967" y="15837"/>
                  </a:cubicBezTo>
                  <a:cubicBezTo>
                    <a:pt x="26894" y="15820"/>
                    <a:pt x="26817" y="15820"/>
                    <a:pt x="26744" y="15837"/>
                  </a:cubicBezTo>
                  <a:cubicBezTo>
                    <a:pt x="26899" y="15837"/>
                    <a:pt x="27139" y="16043"/>
                    <a:pt x="26933" y="16163"/>
                  </a:cubicBezTo>
                  <a:cubicBezTo>
                    <a:pt x="26727" y="16283"/>
                    <a:pt x="27019" y="16163"/>
                    <a:pt x="27036" y="16163"/>
                  </a:cubicBezTo>
                  <a:cubicBezTo>
                    <a:pt x="27173" y="15854"/>
                    <a:pt x="27586" y="16283"/>
                    <a:pt x="27294" y="16489"/>
                  </a:cubicBezTo>
                  <a:lnTo>
                    <a:pt x="27294" y="16489"/>
                  </a:lnTo>
                  <a:cubicBezTo>
                    <a:pt x="27294" y="16489"/>
                    <a:pt x="27294" y="16489"/>
                    <a:pt x="27294" y="16489"/>
                  </a:cubicBezTo>
                  <a:lnTo>
                    <a:pt x="27294" y="16489"/>
                  </a:lnTo>
                  <a:cubicBezTo>
                    <a:pt x="27294" y="16489"/>
                    <a:pt x="27191" y="16489"/>
                    <a:pt x="27156" y="16489"/>
                  </a:cubicBezTo>
                  <a:cubicBezTo>
                    <a:pt x="27122" y="16489"/>
                    <a:pt x="27156" y="16489"/>
                    <a:pt x="27156" y="16593"/>
                  </a:cubicBezTo>
                  <a:cubicBezTo>
                    <a:pt x="27156" y="16696"/>
                    <a:pt x="27276" y="16593"/>
                    <a:pt x="27156" y="16593"/>
                  </a:cubicBezTo>
                  <a:cubicBezTo>
                    <a:pt x="27036" y="16593"/>
                    <a:pt x="27294" y="16593"/>
                    <a:pt x="27379" y="16593"/>
                  </a:cubicBezTo>
                  <a:cubicBezTo>
                    <a:pt x="27465" y="16593"/>
                    <a:pt x="27276" y="16713"/>
                    <a:pt x="27276" y="16799"/>
                  </a:cubicBezTo>
                  <a:cubicBezTo>
                    <a:pt x="27276" y="16885"/>
                    <a:pt x="26795" y="16936"/>
                    <a:pt x="26744" y="16799"/>
                  </a:cubicBezTo>
                  <a:cubicBezTo>
                    <a:pt x="26692" y="16661"/>
                    <a:pt x="26297" y="16799"/>
                    <a:pt x="26074" y="16902"/>
                  </a:cubicBezTo>
                  <a:cubicBezTo>
                    <a:pt x="25851" y="17005"/>
                    <a:pt x="26074" y="17125"/>
                    <a:pt x="25868" y="16988"/>
                  </a:cubicBezTo>
                  <a:cubicBezTo>
                    <a:pt x="25662" y="16850"/>
                    <a:pt x="25610" y="16988"/>
                    <a:pt x="25559" y="17142"/>
                  </a:cubicBezTo>
                  <a:cubicBezTo>
                    <a:pt x="25507" y="17297"/>
                    <a:pt x="25559" y="17142"/>
                    <a:pt x="25404" y="17142"/>
                  </a:cubicBezTo>
                  <a:cubicBezTo>
                    <a:pt x="25553" y="17029"/>
                    <a:pt x="25690" y="16902"/>
                    <a:pt x="25816" y="16764"/>
                  </a:cubicBezTo>
                  <a:cubicBezTo>
                    <a:pt x="25816" y="16593"/>
                    <a:pt x="26057" y="16764"/>
                    <a:pt x="26194" y="16764"/>
                  </a:cubicBezTo>
                  <a:cubicBezTo>
                    <a:pt x="26332" y="16764"/>
                    <a:pt x="26297" y="16610"/>
                    <a:pt x="26349" y="16541"/>
                  </a:cubicBezTo>
                  <a:cubicBezTo>
                    <a:pt x="26400" y="16472"/>
                    <a:pt x="26091" y="16764"/>
                    <a:pt x="26005" y="16627"/>
                  </a:cubicBezTo>
                  <a:cubicBezTo>
                    <a:pt x="25919" y="16489"/>
                    <a:pt x="25748" y="16627"/>
                    <a:pt x="25902" y="16627"/>
                  </a:cubicBezTo>
                  <a:cubicBezTo>
                    <a:pt x="26057" y="16627"/>
                    <a:pt x="25765" y="16627"/>
                    <a:pt x="25662" y="16627"/>
                  </a:cubicBezTo>
                  <a:lnTo>
                    <a:pt x="25662" y="16627"/>
                  </a:lnTo>
                  <a:cubicBezTo>
                    <a:pt x="25662" y="16627"/>
                    <a:pt x="25662" y="16627"/>
                    <a:pt x="25662" y="16627"/>
                  </a:cubicBezTo>
                  <a:cubicBezTo>
                    <a:pt x="25919" y="16541"/>
                    <a:pt x="26040" y="16472"/>
                    <a:pt x="26005" y="16215"/>
                  </a:cubicBezTo>
                  <a:lnTo>
                    <a:pt x="25834" y="16215"/>
                  </a:lnTo>
                  <a:cubicBezTo>
                    <a:pt x="25954" y="16094"/>
                    <a:pt x="26126" y="15940"/>
                    <a:pt x="26297" y="16060"/>
                  </a:cubicBezTo>
                  <a:cubicBezTo>
                    <a:pt x="26160" y="15888"/>
                    <a:pt x="26297" y="16060"/>
                    <a:pt x="26297" y="16060"/>
                  </a:cubicBezTo>
                  <a:cubicBezTo>
                    <a:pt x="26297" y="16060"/>
                    <a:pt x="26194" y="15837"/>
                    <a:pt x="26297" y="15785"/>
                  </a:cubicBezTo>
                  <a:cubicBezTo>
                    <a:pt x="26400" y="15734"/>
                    <a:pt x="26297" y="15648"/>
                    <a:pt x="26194" y="15785"/>
                  </a:cubicBezTo>
                  <a:lnTo>
                    <a:pt x="26194" y="15785"/>
                  </a:lnTo>
                  <a:cubicBezTo>
                    <a:pt x="26057" y="15785"/>
                    <a:pt x="26194" y="15476"/>
                    <a:pt x="26194" y="15493"/>
                  </a:cubicBezTo>
                  <a:cubicBezTo>
                    <a:pt x="26023" y="15493"/>
                    <a:pt x="25988" y="15613"/>
                    <a:pt x="25834" y="15493"/>
                  </a:cubicBezTo>
                  <a:cubicBezTo>
                    <a:pt x="25679" y="15373"/>
                    <a:pt x="25834" y="15493"/>
                    <a:pt x="25834" y="15596"/>
                  </a:cubicBezTo>
                  <a:cubicBezTo>
                    <a:pt x="25834" y="15699"/>
                    <a:pt x="25662" y="15459"/>
                    <a:pt x="25713" y="15596"/>
                  </a:cubicBezTo>
                  <a:cubicBezTo>
                    <a:pt x="25765" y="15734"/>
                    <a:pt x="25713" y="15493"/>
                    <a:pt x="25713" y="15459"/>
                  </a:cubicBezTo>
                  <a:lnTo>
                    <a:pt x="25713" y="15459"/>
                  </a:lnTo>
                  <a:cubicBezTo>
                    <a:pt x="25713" y="15459"/>
                    <a:pt x="25713" y="15287"/>
                    <a:pt x="25816" y="15236"/>
                  </a:cubicBezTo>
                  <a:cubicBezTo>
                    <a:pt x="25919" y="15184"/>
                    <a:pt x="25713" y="15029"/>
                    <a:pt x="25816" y="15064"/>
                  </a:cubicBezTo>
                  <a:cubicBezTo>
                    <a:pt x="25919" y="15098"/>
                    <a:pt x="25816" y="15064"/>
                    <a:pt x="25816" y="14961"/>
                  </a:cubicBezTo>
                  <a:cubicBezTo>
                    <a:pt x="25816" y="14858"/>
                    <a:pt x="25816" y="15047"/>
                    <a:pt x="25816" y="15081"/>
                  </a:cubicBezTo>
                  <a:lnTo>
                    <a:pt x="25816" y="15081"/>
                  </a:lnTo>
                  <a:cubicBezTo>
                    <a:pt x="25816" y="15081"/>
                    <a:pt x="25816" y="15081"/>
                    <a:pt x="25816" y="15081"/>
                  </a:cubicBezTo>
                  <a:cubicBezTo>
                    <a:pt x="25816" y="15081"/>
                    <a:pt x="25816" y="15081"/>
                    <a:pt x="25816" y="15081"/>
                  </a:cubicBezTo>
                  <a:cubicBezTo>
                    <a:pt x="25812" y="15173"/>
                    <a:pt x="25812" y="15264"/>
                    <a:pt x="25816" y="15356"/>
                  </a:cubicBezTo>
                  <a:cubicBezTo>
                    <a:pt x="25713" y="15356"/>
                    <a:pt x="25816" y="15218"/>
                    <a:pt x="25816" y="15167"/>
                  </a:cubicBezTo>
                  <a:cubicBezTo>
                    <a:pt x="25816" y="15115"/>
                    <a:pt x="25816" y="14858"/>
                    <a:pt x="25919" y="14823"/>
                  </a:cubicBezTo>
                  <a:cubicBezTo>
                    <a:pt x="26023" y="14789"/>
                    <a:pt x="25919" y="14823"/>
                    <a:pt x="25919" y="14823"/>
                  </a:cubicBezTo>
                  <a:cubicBezTo>
                    <a:pt x="25919" y="14823"/>
                    <a:pt x="25799" y="14978"/>
                    <a:pt x="25731" y="14823"/>
                  </a:cubicBezTo>
                  <a:cubicBezTo>
                    <a:pt x="25662" y="14669"/>
                    <a:pt x="25731" y="14823"/>
                    <a:pt x="25731" y="14823"/>
                  </a:cubicBezTo>
                  <a:cubicBezTo>
                    <a:pt x="25731" y="14823"/>
                    <a:pt x="25731" y="14686"/>
                    <a:pt x="25868" y="14737"/>
                  </a:cubicBezTo>
                  <a:cubicBezTo>
                    <a:pt x="26005" y="14789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lnTo>
                    <a:pt x="25868" y="14737"/>
                  </a:lnTo>
                  <a:lnTo>
                    <a:pt x="25868" y="14652"/>
                  </a:lnTo>
                  <a:cubicBezTo>
                    <a:pt x="25868" y="14652"/>
                    <a:pt x="25868" y="14652"/>
                    <a:pt x="25868" y="14652"/>
                  </a:cubicBezTo>
                  <a:cubicBezTo>
                    <a:pt x="25868" y="14652"/>
                    <a:pt x="25868" y="14566"/>
                    <a:pt x="25868" y="14514"/>
                  </a:cubicBezTo>
                  <a:lnTo>
                    <a:pt x="25868" y="14514"/>
                  </a:lnTo>
                  <a:cubicBezTo>
                    <a:pt x="25868" y="14514"/>
                    <a:pt x="25868" y="14514"/>
                    <a:pt x="25868" y="14514"/>
                  </a:cubicBezTo>
                  <a:cubicBezTo>
                    <a:pt x="25868" y="14514"/>
                    <a:pt x="25868" y="14514"/>
                    <a:pt x="25971" y="14514"/>
                  </a:cubicBezTo>
                  <a:cubicBezTo>
                    <a:pt x="25976" y="14486"/>
                    <a:pt x="25976" y="14457"/>
                    <a:pt x="25971" y="14428"/>
                  </a:cubicBezTo>
                  <a:cubicBezTo>
                    <a:pt x="25971" y="14428"/>
                    <a:pt x="26091" y="14085"/>
                    <a:pt x="26126" y="14291"/>
                  </a:cubicBezTo>
                  <a:cubicBezTo>
                    <a:pt x="26160" y="14497"/>
                    <a:pt x="26126" y="14291"/>
                    <a:pt x="26126" y="14291"/>
                  </a:cubicBezTo>
                  <a:cubicBezTo>
                    <a:pt x="26538" y="14136"/>
                    <a:pt x="26435" y="14291"/>
                    <a:pt x="26126" y="14531"/>
                  </a:cubicBezTo>
                  <a:lnTo>
                    <a:pt x="26126" y="14531"/>
                  </a:lnTo>
                  <a:cubicBezTo>
                    <a:pt x="25902" y="14737"/>
                    <a:pt x="26366" y="14531"/>
                    <a:pt x="26486" y="14531"/>
                  </a:cubicBezTo>
                  <a:cubicBezTo>
                    <a:pt x="26607" y="14531"/>
                    <a:pt x="26486" y="15029"/>
                    <a:pt x="26263" y="14995"/>
                  </a:cubicBezTo>
                  <a:cubicBezTo>
                    <a:pt x="26040" y="14961"/>
                    <a:pt x="26263" y="14995"/>
                    <a:pt x="26263" y="14995"/>
                  </a:cubicBezTo>
                  <a:cubicBezTo>
                    <a:pt x="26263" y="14995"/>
                    <a:pt x="26108" y="15133"/>
                    <a:pt x="26005" y="14995"/>
                  </a:cubicBezTo>
                  <a:cubicBezTo>
                    <a:pt x="26064" y="15057"/>
                    <a:pt x="26162" y="15059"/>
                    <a:pt x="26224" y="15000"/>
                  </a:cubicBezTo>
                  <a:cubicBezTo>
                    <a:pt x="26226" y="14998"/>
                    <a:pt x="26227" y="14997"/>
                    <a:pt x="26229" y="14995"/>
                  </a:cubicBezTo>
                  <a:cubicBezTo>
                    <a:pt x="26486" y="15098"/>
                    <a:pt x="26503" y="15373"/>
                    <a:pt x="26589" y="15579"/>
                  </a:cubicBezTo>
                  <a:cubicBezTo>
                    <a:pt x="26675" y="15785"/>
                    <a:pt x="26830" y="15545"/>
                    <a:pt x="26967" y="15613"/>
                  </a:cubicBezTo>
                  <a:close/>
                  <a:moveTo>
                    <a:pt x="18138" y="47476"/>
                  </a:moveTo>
                  <a:lnTo>
                    <a:pt x="18138" y="47476"/>
                  </a:lnTo>
                  <a:lnTo>
                    <a:pt x="18138" y="47476"/>
                  </a:lnTo>
                  <a:lnTo>
                    <a:pt x="18138" y="47476"/>
                  </a:lnTo>
                  <a:lnTo>
                    <a:pt x="18224" y="47476"/>
                  </a:lnTo>
                  <a:lnTo>
                    <a:pt x="18224" y="47476"/>
                  </a:lnTo>
                  <a:lnTo>
                    <a:pt x="17984" y="47338"/>
                  </a:lnTo>
                  <a:lnTo>
                    <a:pt x="17984" y="47338"/>
                  </a:lnTo>
                  <a:lnTo>
                    <a:pt x="17984" y="47338"/>
                  </a:lnTo>
                  <a:lnTo>
                    <a:pt x="18070" y="47338"/>
                  </a:lnTo>
                  <a:lnTo>
                    <a:pt x="18070" y="47338"/>
                  </a:lnTo>
                  <a:lnTo>
                    <a:pt x="18070" y="47338"/>
                  </a:lnTo>
                  <a:lnTo>
                    <a:pt x="17795" y="47218"/>
                  </a:lnTo>
                  <a:lnTo>
                    <a:pt x="17795" y="47218"/>
                  </a:lnTo>
                  <a:cubicBezTo>
                    <a:pt x="17795" y="47218"/>
                    <a:pt x="17795" y="47218"/>
                    <a:pt x="17795" y="47218"/>
                  </a:cubicBezTo>
                  <a:cubicBezTo>
                    <a:pt x="17762" y="47203"/>
                    <a:pt x="17725" y="47203"/>
                    <a:pt x="17692" y="47218"/>
                  </a:cubicBezTo>
                  <a:lnTo>
                    <a:pt x="17692" y="47218"/>
                  </a:lnTo>
                  <a:lnTo>
                    <a:pt x="17692" y="47218"/>
                  </a:lnTo>
                  <a:lnTo>
                    <a:pt x="17692" y="47218"/>
                  </a:lnTo>
                  <a:lnTo>
                    <a:pt x="17864" y="47218"/>
                  </a:lnTo>
                  <a:lnTo>
                    <a:pt x="17658" y="47218"/>
                  </a:lnTo>
                  <a:lnTo>
                    <a:pt x="17658" y="47218"/>
                  </a:lnTo>
                  <a:lnTo>
                    <a:pt x="17417" y="47115"/>
                  </a:lnTo>
                  <a:lnTo>
                    <a:pt x="17417" y="47115"/>
                  </a:lnTo>
                  <a:lnTo>
                    <a:pt x="17417" y="47115"/>
                  </a:lnTo>
                  <a:lnTo>
                    <a:pt x="17280" y="47115"/>
                  </a:lnTo>
                  <a:lnTo>
                    <a:pt x="17469" y="47218"/>
                  </a:lnTo>
                  <a:lnTo>
                    <a:pt x="17194" y="47081"/>
                  </a:lnTo>
                  <a:lnTo>
                    <a:pt x="17194" y="47081"/>
                  </a:lnTo>
                  <a:lnTo>
                    <a:pt x="17366" y="47081"/>
                  </a:lnTo>
                  <a:lnTo>
                    <a:pt x="17228" y="47081"/>
                  </a:lnTo>
                  <a:lnTo>
                    <a:pt x="17366" y="47081"/>
                  </a:lnTo>
                  <a:lnTo>
                    <a:pt x="17108" y="46961"/>
                  </a:lnTo>
                  <a:lnTo>
                    <a:pt x="17108" y="46961"/>
                  </a:lnTo>
                  <a:lnTo>
                    <a:pt x="17005" y="46961"/>
                  </a:lnTo>
                  <a:lnTo>
                    <a:pt x="17005" y="46961"/>
                  </a:lnTo>
                  <a:lnTo>
                    <a:pt x="16782" y="46858"/>
                  </a:lnTo>
                  <a:lnTo>
                    <a:pt x="16782" y="46858"/>
                  </a:lnTo>
                  <a:lnTo>
                    <a:pt x="16696" y="46858"/>
                  </a:lnTo>
                  <a:lnTo>
                    <a:pt x="16696" y="46858"/>
                  </a:lnTo>
                  <a:cubicBezTo>
                    <a:pt x="16557" y="46803"/>
                    <a:pt x="16425" y="46733"/>
                    <a:pt x="16301" y="46651"/>
                  </a:cubicBezTo>
                  <a:lnTo>
                    <a:pt x="16301" y="46651"/>
                  </a:lnTo>
                  <a:lnTo>
                    <a:pt x="16129" y="46548"/>
                  </a:lnTo>
                  <a:lnTo>
                    <a:pt x="16283" y="46651"/>
                  </a:lnTo>
                  <a:lnTo>
                    <a:pt x="15940" y="46462"/>
                  </a:lnTo>
                  <a:lnTo>
                    <a:pt x="15940" y="46462"/>
                  </a:lnTo>
                  <a:lnTo>
                    <a:pt x="15837" y="46462"/>
                  </a:lnTo>
                  <a:lnTo>
                    <a:pt x="15837" y="46462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510" y="46274"/>
                  </a:lnTo>
                  <a:lnTo>
                    <a:pt x="15510" y="46274"/>
                  </a:lnTo>
                  <a:lnTo>
                    <a:pt x="15339" y="46153"/>
                  </a:lnTo>
                  <a:lnTo>
                    <a:pt x="15339" y="46153"/>
                  </a:lnTo>
                  <a:lnTo>
                    <a:pt x="15201" y="46153"/>
                  </a:lnTo>
                  <a:lnTo>
                    <a:pt x="15201" y="46153"/>
                  </a:lnTo>
                  <a:cubicBezTo>
                    <a:pt x="15162" y="46164"/>
                    <a:pt x="15120" y="46164"/>
                    <a:pt x="15081" y="46153"/>
                  </a:cubicBezTo>
                  <a:lnTo>
                    <a:pt x="15081" y="46153"/>
                  </a:lnTo>
                  <a:lnTo>
                    <a:pt x="15218" y="46239"/>
                  </a:lnTo>
                  <a:lnTo>
                    <a:pt x="15081" y="46153"/>
                  </a:lnTo>
                  <a:lnTo>
                    <a:pt x="15081" y="46153"/>
                  </a:lnTo>
                  <a:lnTo>
                    <a:pt x="14961" y="46153"/>
                  </a:lnTo>
                  <a:lnTo>
                    <a:pt x="14961" y="46153"/>
                  </a:lnTo>
                  <a:lnTo>
                    <a:pt x="14823" y="46067"/>
                  </a:lnTo>
                  <a:cubicBezTo>
                    <a:pt x="14890" y="46095"/>
                    <a:pt x="14953" y="46130"/>
                    <a:pt x="15012" y="46170"/>
                  </a:cubicBezTo>
                  <a:cubicBezTo>
                    <a:pt x="15012" y="46170"/>
                    <a:pt x="15150" y="46274"/>
                    <a:pt x="15184" y="46274"/>
                  </a:cubicBezTo>
                  <a:lnTo>
                    <a:pt x="14720" y="45947"/>
                  </a:lnTo>
                  <a:lnTo>
                    <a:pt x="14720" y="45947"/>
                  </a:lnTo>
                  <a:cubicBezTo>
                    <a:pt x="14446" y="45724"/>
                    <a:pt x="14136" y="45535"/>
                    <a:pt x="13879" y="45312"/>
                  </a:cubicBezTo>
                  <a:lnTo>
                    <a:pt x="13982" y="45312"/>
                  </a:lnTo>
                  <a:lnTo>
                    <a:pt x="13827" y="45191"/>
                  </a:lnTo>
                  <a:lnTo>
                    <a:pt x="13827" y="45191"/>
                  </a:lnTo>
                  <a:cubicBezTo>
                    <a:pt x="13827" y="45191"/>
                    <a:pt x="13827" y="45191"/>
                    <a:pt x="13724" y="45191"/>
                  </a:cubicBezTo>
                  <a:lnTo>
                    <a:pt x="13724" y="45191"/>
                  </a:lnTo>
                  <a:lnTo>
                    <a:pt x="13724" y="45191"/>
                  </a:lnTo>
                  <a:lnTo>
                    <a:pt x="13724" y="45191"/>
                  </a:lnTo>
                  <a:cubicBezTo>
                    <a:pt x="13500" y="45056"/>
                    <a:pt x="13292" y="44895"/>
                    <a:pt x="13106" y="44710"/>
                  </a:cubicBezTo>
                  <a:lnTo>
                    <a:pt x="13106" y="44710"/>
                  </a:lnTo>
                  <a:cubicBezTo>
                    <a:pt x="12865" y="44453"/>
                    <a:pt x="12573" y="44264"/>
                    <a:pt x="12316" y="44023"/>
                  </a:cubicBezTo>
                  <a:cubicBezTo>
                    <a:pt x="12316" y="44023"/>
                    <a:pt x="12316" y="44023"/>
                    <a:pt x="12316" y="44023"/>
                  </a:cubicBezTo>
                  <a:cubicBezTo>
                    <a:pt x="11271" y="42931"/>
                    <a:pt x="10350" y="41727"/>
                    <a:pt x="9567" y="40434"/>
                  </a:cubicBezTo>
                  <a:lnTo>
                    <a:pt x="9567" y="40434"/>
                  </a:lnTo>
                  <a:cubicBezTo>
                    <a:pt x="9215" y="39466"/>
                    <a:pt x="8691" y="38570"/>
                    <a:pt x="8021" y="37788"/>
                  </a:cubicBezTo>
                  <a:lnTo>
                    <a:pt x="8021" y="37788"/>
                  </a:lnTo>
                  <a:cubicBezTo>
                    <a:pt x="6949" y="36560"/>
                    <a:pt x="6200" y="35084"/>
                    <a:pt x="5840" y="33494"/>
                  </a:cubicBezTo>
                  <a:cubicBezTo>
                    <a:pt x="5840" y="33494"/>
                    <a:pt x="5840" y="33494"/>
                    <a:pt x="5840" y="33580"/>
                  </a:cubicBezTo>
                  <a:cubicBezTo>
                    <a:pt x="5850" y="33546"/>
                    <a:pt x="5850" y="33511"/>
                    <a:pt x="5840" y="33477"/>
                  </a:cubicBezTo>
                  <a:cubicBezTo>
                    <a:pt x="5840" y="33477"/>
                    <a:pt x="5840" y="33580"/>
                    <a:pt x="5840" y="33614"/>
                  </a:cubicBezTo>
                  <a:cubicBezTo>
                    <a:pt x="5600" y="33202"/>
                    <a:pt x="5685" y="28461"/>
                    <a:pt x="5222" y="30299"/>
                  </a:cubicBezTo>
                  <a:cubicBezTo>
                    <a:pt x="5222" y="30299"/>
                    <a:pt x="5222" y="30093"/>
                    <a:pt x="5222" y="30042"/>
                  </a:cubicBezTo>
                  <a:cubicBezTo>
                    <a:pt x="5222" y="29990"/>
                    <a:pt x="5222" y="30042"/>
                    <a:pt x="5222" y="30128"/>
                  </a:cubicBezTo>
                  <a:cubicBezTo>
                    <a:pt x="5222" y="30213"/>
                    <a:pt x="5222" y="29887"/>
                    <a:pt x="5067" y="29784"/>
                  </a:cubicBezTo>
                  <a:cubicBezTo>
                    <a:pt x="4913" y="29681"/>
                    <a:pt x="5067" y="29784"/>
                    <a:pt x="5067" y="29784"/>
                  </a:cubicBezTo>
                  <a:lnTo>
                    <a:pt x="5067" y="29784"/>
                  </a:lnTo>
                  <a:cubicBezTo>
                    <a:pt x="5067" y="29784"/>
                    <a:pt x="5067" y="29612"/>
                    <a:pt x="5067" y="29544"/>
                  </a:cubicBezTo>
                  <a:cubicBezTo>
                    <a:pt x="5067" y="29475"/>
                    <a:pt x="5067" y="29664"/>
                    <a:pt x="5067" y="29715"/>
                  </a:cubicBezTo>
                  <a:cubicBezTo>
                    <a:pt x="5067" y="29458"/>
                    <a:pt x="4947" y="29166"/>
                    <a:pt x="4844" y="28908"/>
                  </a:cubicBezTo>
                  <a:cubicBezTo>
                    <a:pt x="4844" y="28994"/>
                    <a:pt x="4844" y="29080"/>
                    <a:pt x="4844" y="29183"/>
                  </a:cubicBezTo>
                  <a:cubicBezTo>
                    <a:pt x="4689" y="28753"/>
                    <a:pt x="4672" y="28290"/>
                    <a:pt x="4552" y="27843"/>
                  </a:cubicBezTo>
                  <a:cubicBezTo>
                    <a:pt x="4552" y="27929"/>
                    <a:pt x="4552" y="27843"/>
                    <a:pt x="4552" y="27740"/>
                  </a:cubicBezTo>
                  <a:cubicBezTo>
                    <a:pt x="4552" y="27637"/>
                    <a:pt x="4552" y="27740"/>
                    <a:pt x="4552" y="27740"/>
                  </a:cubicBezTo>
                  <a:cubicBezTo>
                    <a:pt x="4552" y="27740"/>
                    <a:pt x="4552" y="27740"/>
                    <a:pt x="4552" y="27740"/>
                  </a:cubicBezTo>
                  <a:cubicBezTo>
                    <a:pt x="4552" y="27740"/>
                    <a:pt x="4552" y="27740"/>
                    <a:pt x="4552" y="27740"/>
                  </a:cubicBezTo>
                  <a:cubicBezTo>
                    <a:pt x="4343" y="27287"/>
                    <a:pt x="4226" y="26796"/>
                    <a:pt x="4208" y="26297"/>
                  </a:cubicBezTo>
                  <a:cubicBezTo>
                    <a:pt x="4218" y="26366"/>
                    <a:pt x="4218" y="26435"/>
                    <a:pt x="4208" y="26503"/>
                  </a:cubicBezTo>
                  <a:cubicBezTo>
                    <a:pt x="4218" y="26435"/>
                    <a:pt x="4218" y="26366"/>
                    <a:pt x="4208" y="26297"/>
                  </a:cubicBezTo>
                  <a:lnTo>
                    <a:pt x="4208" y="26297"/>
                  </a:lnTo>
                  <a:cubicBezTo>
                    <a:pt x="4208" y="26297"/>
                    <a:pt x="4208" y="26297"/>
                    <a:pt x="4208" y="26297"/>
                  </a:cubicBezTo>
                  <a:lnTo>
                    <a:pt x="4208" y="26297"/>
                  </a:lnTo>
                  <a:lnTo>
                    <a:pt x="4208" y="26297"/>
                  </a:lnTo>
                  <a:cubicBezTo>
                    <a:pt x="4208" y="26297"/>
                    <a:pt x="4208" y="26297"/>
                    <a:pt x="4208" y="26400"/>
                  </a:cubicBezTo>
                  <a:cubicBezTo>
                    <a:pt x="4208" y="26503"/>
                    <a:pt x="4208" y="26400"/>
                    <a:pt x="4208" y="26400"/>
                  </a:cubicBezTo>
                  <a:lnTo>
                    <a:pt x="4208" y="26400"/>
                  </a:lnTo>
                  <a:lnTo>
                    <a:pt x="4208" y="26400"/>
                  </a:lnTo>
                  <a:cubicBezTo>
                    <a:pt x="4208" y="26314"/>
                    <a:pt x="4208" y="26194"/>
                    <a:pt x="4208" y="26091"/>
                  </a:cubicBezTo>
                  <a:lnTo>
                    <a:pt x="4208" y="26091"/>
                  </a:lnTo>
                  <a:cubicBezTo>
                    <a:pt x="4200" y="26034"/>
                    <a:pt x="4200" y="25976"/>
                    <a:pt x="4208" y="25919"/>
                  </a:cubicBezTo>
                  <a:lnTo>
                    <a:pt x="4208" y="25919"/>
                  </a:lnTo>
                  <a:cubicBezTo>
                    <a:pt x="4191" y="25679"/>
                    <a:pt x="4191" y="25438"/>
                    <a:pt x="4208" y="25198"/>
                  </a:cubicBezTo>
                  <a:lnTo>
                    <a:pt x="4208" y="25198"/>
                  </a:lnTo>
                  <a:cubicBezTo>
                    <a:pt x="4208" y="25198"/>
                    <a:pt x="4208" y="25112"/>
                    <a:pt x="4208" y="25078"/>
                  </a:cubicBezTo>
                  <a:lnTo>
                    <a:pt x="4208" y="25078"/>
                  </a:lnTo>
                  <a:cubicBezTo>
                    <a:pt x="4764" y="15747"/>
                    <a:pt x="10928" y="7687"/>
                    <a:pt x="19787" y="4706"/>
                  </a:cubicBezTo>
                  <a:lnTo>
                    <a:pt x="19787" y="4706"/>
                  </a:lnTo>
                  <a:lnTo>
                    <a:pt x="19994" y="4706"/>
                  </a:lnTo>
                  <a:lnTo>
                    <a:pt x="19994" y="4706"/>
                  </a:lnTo>
                  <a:lnTo>
                    <a:pt x="20217" y="4706"/>
                  </a:lnTo>
                  <a:lnTo>
                    <a:pt x="20062" y="4706"/>
                  </a:lnTo>
                  <a:lnTo>
                    <a:pt x="20337" y="4706"/>
                  </a:lnTo>
                  <a:lnTo>
                    <a:pt x="20234" y="4706"/>
                  </a:lnTo>
                  <a:lnTo>
                    <a:pt x="20234" y="4706"/>
                  </a:lnTo>
                  <a:lnTo>
                    <a:pt x="20423" y="4706"/>
                  </a:lnTo>
                  <a:lnTo>
                    <a:pt x="20423" y="4706"/>
                  </a:lnTo>
                  <a:lnTo>
                    <a:pt x="21711" y="4414"/>
                  </a:lnTo>
                  <a:lnTo>
                    <a:pt x="21711" y="4414"/>
                  </a:lnTo>
                  <a:lnTo>
                    <a:pt x="22038" y="4414"/>
                  </a:lnTo>
                  <a:lnTo>
                    <a:pt x="21814" y="4414"/>
                  </a:lnTo>
                  <a:lnTo>
                    <a:pt x="21814" y="4414"/>
                  </a:lnTo>
                  <a:lnTo>
                    <a:pt x="22415" y="4414"/>
                  </a:lnTo>
                  <a:lnTo>
                    <a:pt x="22415" y="4414"/>
                  </a:lnTo>
                  <a:lnTo>
                    <a:pt x="22106" y="4414"/>
                  </a:lnTo>
                  <a:lnTo>
                    <a:pt x="22398" y="4414"/>
                  </a:lnTo>
                  <a:lnTo>
                    <a:pt x="22398" y="4414"/>
                  </a:lnTo>
                  <a:lnTo>
                    <a:pt x="22690" y="4414"/>
                  </a:lnTo>
                  <a:lnTo>
                    <a:pt x="22587" y="4414"/>
                  </a:lnTo>
                  <a:lnTo>
                    <a:pt x="22484" y="4414"/>
                  </a:lnTo>
                  <a:lnTo>
                    <a:pt x="22725" y="4414"/>
                  </a:lnTo>
                  <a:lnTo>
                    <a:pt x="22347" y="4414"/>
                  </a:lnTo>
                  <a:lnTo>
                    <a:pt x="22244" y="4414"/>
                  </a:lnTo>
                  <a:lnTo>
                    <a:pt x="22055" y="4414"/>
                  </a:lnTo>
                  <a:lnTo>
                    <a:pt x="22415" y="4414"/>
                  </a:lnTo>
                  <a:lnTo>
                    <a:pt x="22020" y="4414"/>
                  </a:lnTo>
                  <a:lnTo>
                    <a:pt x="22020" y="4414"/>
                  </a:lnTo>
                  <a:lnTo>
                    <a:pt x="21608" y="4414"/>
                  </a:lnTo>
                  <a:lnTo>
                    <a:pt x="21608" y="4414"/>
                  </a:lnTo>
                  <a:lnTo>
                    <a:pt x="21213" y="4500"/>
                  </a:lnTo>
                  <a:lnTo>
                    <a:pt x="21385" y="4500"/>
                  </a:lnTo>
                  <a:lnTo>
                    <a:pt x="21385" y="4500"/>
                  </a:lnTo>
                  <a:cubicBezTo>
                    <a:pt x="21251" y="4544"/>
                    <a:pt x="21113" y="4572"/>
                    <a:pt x="20973" y="4586"/>
                  </a:cubicBezTo>
                  <a:lnTo>
                    <a:pt x="21144" y="4586"/>
                  </a:lnTo>
                  <a:lnTo>
                    <a:pt x="20955" y="4586"/>
                  </a:lnTo>
                  <a:lnTo>
                    <a:pt x="20955" y="4586"/>
                  </a:lnTo>
                  <a:lnTo>
                    <a:pt x="20835" y="4586"/>
                  </a:lnTo>
                  <a:lnTo>
                    <a:pt x="20835" y="4586"/>
                  </a:lnTo>
                  <a:lnTo>
                    <a:pt x="20835" y="4586"/>
                  </a:lnTo>
                  <a:cubicBezTo>
                    <a:pt x="20835" y="4586"/>
                    <a:pt x="20835" y="4586"/>
                    <a:pt x="20835" y="4586"/>
                  </a:cubicBezTo>
                  <a:lnTo>
                    <a:pt x="20835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560" y="4586"/>
                  </a:lnTo>
                  <a:lnTo>
                    <a:pt x="20560" y="4586"/>
                  </a:lnTo>
                  <a:lnTo>
                    <a:pt x="20114" y="4706"/>
                  </a:lnTo>
                  <a:lnTo>
                    <a:pt x="20114" y="4706"/>
                  </a:lnTo>
                  <a:lnTo>
                    <a:pt x="19787" y="4827"/>
                  </a:lnTo>
                  <a:lnTo>
                    <a:pt x="19787" y="4827"/>
                  </a:lnTo>
                  <a:lnTo>
                    <a:pt x="19392" y="4947"/>
                  </a:lnTo>
                  <a:lnTo>
                    <a:pt x="19392" y="4947"/>
                  </a:lnTo>
                  <a:lnTo>
                    <a:pt x="19100" y="5153"/>
                  </a:lnTo>
                  <a:lnTo>
                    <a:pt x="19100" y="5153"/>
                  </a:lnTo>
                  <a:lnTo>
                    <a:pt x="18997" y="5153"/>
                  </a:lnTo>
                  <a:lnTo>
                    <a:pt x="18997" y="5153"/>
                  </a:lnTo>
                  <a:lnTo>
                    <a:pt x="18430" y="5359"/>
                  </a:lnTo>
                  <a:lnTo>
                    <a:pt x="18568" y="5359"/>
                  </a:lnTo>
                  <a:lnTo>
                    <a:pt x="18568" y="5359"/>
                  </a:lnTo>
                  <a:cubicBezTo>
                    <a:pt x="18763" y="5286"/>
                    <a:pt x="18964" y="5229"/>
                    <a:pt x="19169" y="5187"/>
                  </a:cubicBezTo>
                  <a:lnTo>
                    <a:pt x="19169" y="5187"/>
                  </a:lnTo>
                  <a:lnTo>
                    <a:pt x="19341" y="5187"/>
                  </a:lnTo>
                  <a:lnTo>
                    <a:pt x="19461" y="5187"/>
                  </a:lnTo>
                  <a:lnTo>
                    <a:pt x="19186" y="5187"/>
                  </a:lnTo>
                  <a:lnTo>
                    <a:pt x="19186" y="5187"/>
                  </a:lnTo>
                  <a:lnTo>
                    <a:pt x="19032" y="5187"/>
                  </a:lnTo>
                  <a:lnTo>
                    <a:pt x="19032" y="5187"/>
                  </a:lnTo>
                  <a:lnTo>
                    <a:pt x="18911" y="5187"/>
                  </a:lnTo>
                  <a:lnTo>
                    <a:pt x="18911" y="5187"/>
                  </a:lnTo>
                  <a:lnTo>
                    <a:pt x="18740" y="5187"/>
                  </a:lnTo>
                  <a:lnTo>
                    <a:pt x="18740" y="5187"/>
                  </a:lnTo>
                  <a:lnTo>
                    <a:pt x="18894" y="5187"/>
                  </a:lnTo>
                  <a:lnTo>
                    <a:pt x="18894" y="5187"/>
                  </a:lnTo>
                  <a:lnTo>
                    <a:pt x="19049" y="5187"/>
                  </a:lnTo>
                  <a:lnTo>
                    <a:pt x="19049" y="5187"/>
                  </a:lnTo>
                  <a:lnTo>
                    <a:pt x="18860" y="5187"/>
                  </a:lnTo>
                  <a:cubicBezTo>
                    <a:pt x="18997" y="5187"/>
                    <a:pt x="19392" y="5067"/>
                    <a:pt x="19032" y="5187"/>
                  </a:cubicBezTo>
                  <a:lnTo>
                    <a:pt x="19186" y="5187"/>
                  </a:lnTo>
                  <a:lnTo>
                    <a:pt x="19289" y="5187"/>
                  </a:lnTo>
                  <a:lnTo>
                    <a:pt x="19650" y="5084"/>
                  </a:lnTo>
                  <a:cubicBezTo>
                    <a:pt x="19252" y="5196"/>
                    <a:pt x="18862" y="5334"/>
                    <a:pt x="18482" y="5497"/>
                  </a:cubicBezTo>
                  <a:lnTo>
                    <a:pt x="18654" y="5497"/>
                  </a:lnTo>
                  <a:lnTo>
                    <a:pt x="18654" y="5497"/>
                  </a:lnTo>
                  <a:cubicBezTo>
                    <a:pt x="18654" y="5497"/>
                    <a:pt x="18860" y="5497"/>
                    <a:pt x="18740" y="5497"/>
                  </a:cubicBezTo>
                  <a:lnTo>
                    <a:pt x="18894" y="5497"/>
                  </a:lnTo>
                  <a:lnTo>
                    <a:pt x="18894" y="5497"/>
                  </a:lnTo>
                  <a:lnTo>
                    <a:pt x="19032" y="5497"/>
                  </a:lnTo>
                  <a:cubicBezTo>
                    <a:pt x="18929" y="5497"/>
                    <a:pt x="18808" y="5497"/>
                    <a:pt x="18722" y="5617"/>
                  </a:cubicBezTo>
                  <a:lnTo>
                    <a:pt x="18722" y="5617"/>
                  </a:lnTo>
                  <a:lnTo>
                    <a:pt x="18585" y="5617"/>
                  </a:lnTo>
                  <a:lnTo>
                    <a:pt x="18585" y="5617"/>
                  </a:lnTo>
                  <a:lnTo>
                    <a:pt x="18413" y="5617"/>
                  </a:lnTo>
                  <a:cubicBezTo>
                    <a:pt x="18505" y="5624"/>
                    <a:pt x="18597" y="5624"/>
                    <a:pt x="18688" y="5617"/>
                  </a:cubicBezTo>
                  <a:cubicBezTo>
                    <a:pt x="18396" y="5771"/>
                    <a:pt x="18035" y="5909"/>
                    <a:pt x="17743" y="6098"/>
                  </a:cubicBezTo>
                  <a:lnTo>
                    <a:pt x="17743" y="6098"/>
                  </a:lnTo>
                  <a:lnTo>
                    <a:pt x="17554" y="6201"/>
                  </a:lnTo>
                  <a:lnTo>
                    <a:pt x="17743" y="6201"/>
                  </a:lnTo>
                  <a:lnTo>
                    <a:pt x="17743" y="6201"/>
                  </a:lnTo>
                  <a:cubicBezTo>
                    <a:pt x="17743" y="6201"/>
                    <a:pt x="17743" y="6201"/>
                    <a:pt x="17743" y="6201"/>
                  </a:cubicBezTo>
                  <a:cubicBezTo>
                    <a:pt x="17557" y="6309"/>
                    <a:pt x="17362" y="6402"/>
                    <a:pt x="17159" y="6476"/>
                  </a:cubicBezTo>
                  <a:cubicBezTo>
                    <a:pt x="17159" y="6476"/>
                    <a:pt x="17159" y="6476"/>
                    <a:pt x="17159" y="6476"/>
                  </a:cubicBezTo>
                  <a:cubicBezTo>
                    <a:pt x="17159" y="6476"/>
                    <a:pt x="17056" y="6476"/>
                    <a:pt x="17039" y="6476"/>
                  </a:cubicBezTo>
                  <a:lnTo>
                    <a:pt x="17039" y="6476"/>
                  </a:lnTo>
                  <a:cubicBezTo>
                    <a:pt x="16976" y="6499"/>
                    <a:pt x="16918" y="6534"/>
                    <a:pt x="16867" y="6579"/>
                  </a:cubicBezTo>
                  <a:lnTo>
                    <a:pt x="16867" y="6579"/>
                  </a:lnTo>
                  <a:cubicBezTo>
                    <a:pt x="16867" y="6579"/>
                    <a:pt x="16627" y="6750"/>
                    <a:pt x="16730" y="6716"/>
                  </a:cubicBezTo>
                  <a:lnTo>
                    <a:pt x="16730" y="6716"/>
                  </a:lnTo>
                  <a:lnTo>
                    <a:pt x="16730" y="6716"/>
                  </a:lnTo>
                  <a:lnTo>
                    <a:pt x="16730" y="6716"/>
                  </a:lnTo>
                  <a:cubicBezTo>
                    <a:pt x="16730" y="6716"/>
                    <a:pt x="16730" y="6716"/>
                    <a:pt x="16730" y="6716"/>
                  </a:cubicBezTo>
                  <a:lnTo>
                    <a:pt x="16885" y="6716"/>
                  </a:lnTo>
                  <a:lnTo>
                    <a:pt x="16627" y="6853"/>
                  </a:lnTo>
                  <a:lnTo>
                    <a:pt x="16627" y="6853"/>
                  </a:lnTo>
                  <a:cubicBezTo>
                    <a:pt x="16627" y="6853"/>
                    <a:pt x="16455" y="6853"/>
                    <a:pt x="16386" y="6991"/>
                  </a:cubicBezTo>
                  <a:cubicBezTo>
                    <a:pt x="16318" y="7128"/>
                    <a:pt x="16507" y="6991"/>
                    <a:pt x="16558" y="6991"/>
                  </a:cubicBezTo>
                  <a:cubicBezTo>
                    <a:pt x="16389" y="7066"/>
                    <a:pt x="16228" y="7158"/>
                    <a:pt x="16077" y="7266"/>
                  </a:cubicBezTo>
                  <a:lnTo>
                    <a:pt x="16077" y="7266"/>
                  </a:lnTo>
                  <a:lnTo>
                    <a:pt x="16077" y="7266"/>
                  </a:lnTo>
                  <a:cubicBezTo>
                    <a:pt x="16317" y="7116"/>
                    <a:pt x="16570" y="6989"/>
                    <a:pt x="16833" y="6888"/>
                  </a:cubicBezTo>
                  <a:lnTo>
                    <a:pt x="16833" y="6888"/>
                  </a:lnTo>
                  <a:cubicBezTo>
                    <a:pt x="16833" y="6888"/>
                    <a:pt x="16833" y="6888"/>
                    <a:pt x="16833" y="6888"/>
                  </a:cubicBezTo>
                  <a:lnTo>
                    <a:pt x="16833" y="6888"/>
                  </a:lnTo>
                  <a:lnTo>
                    <a:pt x="16936" y="6888"/>
                  </a:lnTo>
                  <a:lnTo>
                    <a:pt x="16833" y="6888"/>
                  </a:lnTo>
                  <a:cubicBezTo>
                    <a:pt x="16833" y="6888"/>
                    <a:pt x="16988" y="6785"/>
                    <a:pt x="17056" y="6785"/>
                  </a:cubicBezTo>
                  <a:lnTo>
                    <a:pt x="17056" y="6785"/>
                  </a:lnTo>
                  <a:cubicBezTo>
                    <a:pt x="17056" y="6785"/>
                    <a:pt x="17314" y="6682"/>
                    <a:pt x="17159" y="6785"/>
                  </a:cubicBezTo>
                  <a:lnTo>
                    <a:pt x="17039" y="6785"/>
                  </a:lnTo>
                  <a:cubicBezTo>
                    <a:pt x="17073" y="6775"/>
                    <a:pt x="17109" y="6775"/>
                    <a:pt x="17142" y="6785"/>
                  </a:cubicBezTo>
                  <a:lnTo>
                    <a:pt x="17022" y="6785"/>
                  </a:lnTo>
                  <a:lnTo>
                    <a:pt x="17022" y="6785"/>
                  </a:lnTo>
                  <a:cubicBezTo>
                    <a:pt x="17022" y="6785"/>
                    <a:pt x="17022" y="6785"/>
                    <a:pt x="16885" y="6785"/>
                  </a:cubicBezTo>
                  <a:cubicBezTo>
                    <a:pt x="16747" y="6785"/>
                    <a:pt x="17074" y="6785"/>
                    <a:pt x="17005" y="6785"/>
                  </a:cubicBezTo>
                  <a:cubicBezTo>
                    <a:pt x="17104" y="6745"/>
                    <a:pt x="17215" y="6745"/>
                    <a:pt x="17314" y="6785"/>
                  </a:cubicBezTo>
                  <a:lnTo>
                    <a:pt x="17314" y="6785"/>
                  </a:lnTo>
                  <a:cubicBezTo>
                    <a:pt x="17125" y="6922"/>
                    <a:pt x="16902" y="7025"/>
                    <a:pt x="16696" y="7145"/>
                  </a:cubicBezTo>
                  <a:lnTo>
                    <a:pt x="16696" y="7145"/>
                  </a:lnTo>
                  <a:lnTo>
                    <a:pt x="16696" y="7145"/>
                  </a:lnTo>
                  <a:lnTo>
                    <a:pt x="16696" y="7145"/>
                  </a:lnTo>
                  <a:cubicBezTo>
                    <a:pt x="16696" y="7145"/>
                    <a:pt x="16696" y="7145"/>
                    <a:pt x="16696" y="7145"/>
                  </a:cubicBezTo>
                  <a:lnTo>
                    <a:pt x="16696" y="7145"/>
                  </a:lnTo>
                  <a:lnTo>
                    <a:pt x="16696" y="7145"/>
                  </a:lnTo>
                  <a:lnTo>
                    <a:pt x="16455" y="7300"/>
                  </a:lnTo>
                  <a:lnTo>
                    <a:pt x="16455" y="7300"/>
                  </a:lnTo>
                  <a:cubicBezTo>
                    <a:pt x="16455" y="7300"/>
                    <a:pt x="16455" y="7300"/>
                    <a:pt x="16455" y="7386"/>
                  </a:cubicBezTo>
                  <a:lnTo>
                    <a:pt x="16610" y="7386"/>
                  </a:lnTo>
                  <a:lnTo>
                    <a:pt x="16610" y="7386"/>
                  </a:lnTo>
                  <a:lnTo>
                    <a:pt x="16610" y="7489"/>
                  </a:lnTo>
                  <a:cubicBezTo>
                    <a:pt x="16610" y="7489"/>
                    <a:pt x="16610" y="7489"/>
                    <a:pt x="16610" y="7489"/>
                  </a:cubicBezTo>
                  <a:lnTo>
                    <a:pt x="16610" y="7489"/>
                  </a:lnTo>
                  <a:cubicBezTo>
                    <a:pt x="16953" y="7266"/>
                    <a:pt x="16713" y="7489"/>
                    <a:pt x="16610" y="7592"/>
                  </a:cubicBezTo>
                  <a:cubicBezTo>
                    <a:pt x="16730" y="7592"/>
                    <a:pt x="16833" y="7386"/>
                    <a:pt x="16970" y="7334"/>
                  </a:cubicBezTo>
                  <a:lnTo>
                    <a:pt x="16970" y="7334"/>
                  </a:lnTo>
                  <a:cubicBezTo>
                    <a:pt x="16970" y="7334"/>
                    <a:pt x="17280" y="7145"/>
                    <a:pt x="17108" y="7334"/>
                  </a:cubicBezTo>
                  <a:lnTo>
                    <a:pt x="17245" y="7334"/>
                  </a:lnTo>
                  <a:lnTo>
                    <a:pt x="17142" y="7334"/>
                  </a:lnTo>
                  <a:cubicBezTo>
                    <a:pt x="17142" y="7334"/>
                    <a:pt x="17142" y="7334"/>
                    <a:pt x="17142" y="7334"/>
                  </a:cubicBezTo>
                  <a:cubicBezTo>
                    <a:pt x="17142" y="7334"/>
                    <a:pt x="17022" y="7334"/>
                    <a:pt x="16988" y="7437"/>
                  </a:cubicBezTo>
                  <a:lnTo>
                    <a:pt x="16988" y="7437"/>
                  </a:lnTo>
                  <a:cubicBezTo>
                    <a:pt x="16988" y="7437"/>
                    <a:pt x="16885" y="7437"/>
                    <a:pt x="16867" y="7437"/>
                  </a:cubicBezTo>
                  <a:cubicBezTo>
                    <a:pt x="17211" y="7317"/>
                    <a:pt x="16747" y="7437"/>
                    <a:pt x="16610" y="7575"/>
                  </a:cubicBezTo>
                  <a:lnTo>
                    <a:pt x="16610" y="7575"/>
                  </a:lnTo>
                  <a:lnTo>
                    <a:pt x="16421" y="7678"/>
                  </a:lnTo>
                  <a:lnTo>
                    <a:pt x="16421" y="7678"/>
                  </a:lnTo>
                  <a:lnTo>
                    <a:pt x="16283" y="7678"/>
                  </a:lnTo>
                  <a:cubicBezTo>
                    <a:pt x="16438" y="7678"/>
                    <a:pt x="16283" y="7678"/>
                    <a:pt x="16283" y="7678"/>
                  </a:cubicBezTo>
                  <a:lnTo>
                    <a:pt x="16283" y="7678"/>
                  </a:lnTo>
                  <a:lnTo>
                    <a:pt x="16129" y="7678"/>
                  </a:lnTo>
                  <a:lnTo>
                    <a:pt x="16129" y="7678"/>
                  </a:lnTo>
                  <a:lnTo>
                    <a:pt x="16129" y="7678"/>
                  </a:lnTo>
                  <a:lnTo>
                    <a:pt x="16129" y="7678"/>
                  </a:lnTo>
                  <a:cubicBezTo>
                    <a:pt x="16026" y="7678"/>
                    <a:pt x="15923" y="7833"/>
                    <a:pt x="15820" y="7867"/>
                  </a:cubicBezTo>
                  <a:cubicBezTo>
                    <a:pt x="15717" y="7901"/>
                    <a:pt x="15974" y="7764"/>
                    <a:pt x="16043" y="7747"/>
                  </a:cubicBezTo>
                  <a:cubicBezTo>
                    <a:pt x="16112" y="7729"/>
                    <a:pt x="16043" y="7747"/>
                    <a:pt x="16043" y="7747"/>
                  </a:cubicBezTo>
                  <a:cubicBezTo>
                    <a:pt x="16131" y="7705"/>
                    <a:pt x="16223" y="7670"/>
                    <a:pt x="16318" y="7644"/>
                  </a:cubicBezTo>
                  <a:lnTo>
                    <a:pt x="16198" y="7644"/>
                  </a:lnTo>
                  <a:cubicBezTo>
                    <a:pt x="16386" y="7558"/>
                    <a:pt x="16558" y="7420"/>
                    <a:pt x="16747" y="7352"/>
                  </a:cubicBezTo>
                  <a:lnTo>
                    <a:pt x="16747" y="7352"/>
                  </a:lnTo>
                  <a:lnTo>
                    <a:pt x="16747" y="7352"/>
                  </a:lnTo>
                  <a:cubicBezTo>
                    <a:pt x="16976" y="7288"/>
                    <a:pt x="17195" y="7196"/>
                    <a:pt x="17400" y="7077"/>
                  </a:cubicBezTo>
                  <a:cubicBezTo>
                    <a:pt x="17400" y="7077"/>
                    <a:pt x="17400" y="7077"/>
                    <a:pt x="17262" y="7077"/>
                  </a:cubicBezTo>
                  <a:lnTo>
                    <a:pt x="17262" y="7077"/>
                  </a:lnTo>
                  <a:cubicBezTo>
                    <a:pt x="17366" y="7077"/>
                    <a:pt x="17761" y="6836"/>
                    <a:pt x="17520" y="6991"/>
                  </a:cubicBezTo>
                  <a:cubicBezTo>
                    <a:pt x="17692" y="6991"/>
                    <a:pt x="17692" y="6819"/>
                    <a:pt x="17846" y="6768"/>
                  </a:cubicBezTo>
                  <a:cubicBezTo>
                    <a:pt x="17692" y="6768"/>
                    <a:pt x="17846" y="6768"/>
                    <a:pt x="17846" y="6768"/>
                  </a:cubicBezTo>
                  <a:lnTo>
                    <a:pt x="17846" y="6768"/>
                  </a:lnTo>
                  <a:cubicBezTo>
                    <a:pt x="18036" y="6628"/>
                    <a:pt x="18252" y="6528"/>
                    <a:pt x="18482" y="6476"/>
                  </a:cubicBezTo>
                  <a:lnTo>
                    <a:pt x="18482" y="6476"/>
                  </a:lnTo>
                  <a:cubicBezTo>
                    <a:pt x="18662" y="6364"/>
                    <a:pt x="18859" y="6282"/>
                    <a:pt x="19066" y="6235"/>
                  </a:cubicBezTo>
                  <a:lnTo>
                    <a:pt x="18911" y="6321"/>
                  </a:lnTo>
                  <a:cubicBezTo>
                    <a:pt x="19100" y="6321"/>
                    <a:pt x="19238" y="6149"/>
                    <a:pt x="19427" y="6115"/>
                  </a:cubicBezTo>
                  <a:lnTo>
                    <a:pt x="19238" y="6252"/>
                  </a:lnTo>
                  <a:cubicBezTo>
                    <a:pt x="20286" y="5617"/>
                    <a:pt x="22038" y="4998"/>
                    <a:pt x="20303" y="5909"/>
                  </a:cubicBezTo>
                  <a:cubicBezTo>
                    <a:pt x="20578" y="5823"/>
                    <a:pt x="21230" y="5411"/>
                    <a:pt x="21024" y="5651"/>
                  </a:cubicBezTo>
                  <a:cubicBezTo>
                    <a:pt x="21780" y="5393"/>
                    <a:pt x="20629" y="6012"/>
                    <a:pt x="20303" y="6149"/>
                  </a:cubicBezTo>
                  <a:cubicBezTo>
                    <a:pt x="20698" y="6012"/>
                    <a:pt x="20303" y="6149"/>
                    <a:pt x="20303" y="6149"/>
                  </a:cubicBezTo>
                  <a:cubicBezTo>
                    <a:pt x="20303" y="6149"/>
                    <a:pt x="20560" y="5977"/>
                    <a:pt x="20406" y="6149"/>
                  </a:cubicBezTo>
                  <a:cubicBezTo>
                    <a:pt x="20663" y="5857"/>
                    <a:pt x="20921" y="6149"/>
                    <a:pt x="20492" y="6235"/>
                  </a:cubicBezTo>
                  <a:cubicBezTo>
                    <a:pt x="20448" y="6218"/>
                    <a:pt x="20398" y="6218"/>
                    <a:pt x="20354" y="6235"/>
                  </a:cubicBezTo>
                  <a:cubicBezTo>
                    <a:pt x="20612" y="6235"/>
                    <a:pt x="20251" y="6321"/>
                    <a:pt x="20165" y="6355"/>
                  </a:cubicBezTo>
                  <a:cubicBezTo>
                    <a:pt x="20818" y="6149"/>
                    <a:pt x="19616" y="6647"/>
                    <a:pt x="20337" y="6355"/>
                  </a:cubicBezTo>
                  <a:cubicBezTo>
                    <a:pt x="19427" y="6750"/>
                    <a:pt x="20749" y="6355"/>
                    <a:pt x="19856" y="6716"/>
                  </a:cubicBezTo>
                  <a:cubicBezTo>
                    <a:pt x="19856" y="6819"/>
                    <a:pt x="19856" y="6716"/>
                    <a:pt x="20097" y="6716"/>
                  </a:cubicBezTo>
                  <a:cubicBezTo>
                    <a:pt x="19967" y="6814"/>
                    <a:pt x="19822" y="6889"/>
                    <a:pt x="19667" y="6939"/>
                  </a:cubicBezTo>
                  <a:cubicBezTo>
                    <a:pt x="19564" y="6939"/>
                    <a:pt x="20423" y="6939"/>
                    <a:pt x="19495" y="7145"/>
                  </a:cubicBezTo>
                  <a:cubicBezTo>
                    <a:pt x="19392" y="7145"/>
                    <a:pt x="19959" y="7145"/>
                    <a:pt x="19358" y="7266"/>
                  </a:cubicBezTo>
                  <a:cubicBezTo>
                    <a:pt x="19856" y="7094"/>
                    <a:pt x="19925" y="7266"/>
                    <a:pt x="19358" y="7352"/>
                  </a:cubicBezTo>
                  <a:cubicBezTo>
                    <a:pt x="19581" y="7541"/>
                    <a:pt x="19255" y="7592"/>
                    <a:pt x="19358" y="7523"/>
                  </a:cubicBezTo>
                  <a:cubicBezTo>
                    <a:pt x="19083" y="7523"/>
                    <a:pt x="19358" y="7747"/>
                    <a:pt x="19049" y="7626"/>
                  </a:cubicBezTo>
                  <a:cubicBezTo>
                    <a:pt x="18860" y="7953"/>
                    <a:pt x="19186" y="7764"/>
                    <a:pt x="18860" y="7918"/>
                  </a:cubicBezTo>
                  <a:cubicBezTo>
                    <a:pt x="19118" y="7833"/>
                    <a:pt x="18654" y="8193"/>
                    <a:pt x="18860" y="8039"/>
                  </a:cubicBezTo>
                  <a:cubicBezTo>
                    <a:pt x="18534" y="8365"/>
                    <a:pt x="19152" y="7850"/>
                    <a:pt x="18705" y="8399"/>
                  </a:cubicBezTo>
                  <a:cubicBezTo>
                    <a:pt x="18482" y="8520"/>
                    <a:pt x="19066" y="8399"/>
                    <a:pt x="18551" y="8588"/>
                  </a:cubicBezTo>
                  <a:cubicBezTo>
                    <a:pt x="18929" y="8434"/>
                    <a:pt x="18637" y="8966"/>
                    <a:pt x="18396" y="8829"/>
                  </a:cubicBezTo>
                  <a:cubicBezTo>
                    <a:pt x="18396" y="8966"/>
                    <a:pt x="18242" y="9069"/>
                    <a:pt x="18190" y="8966"/>
                  </a:cubicBezTo>
                  <a:cubicBezTo>
                    <a:pt x="18138" y="8863"/>
                    <a:pt x="18018" y="9155"/>
                    <a:pt x="18190" y="8966"/>
                  </a:cubicBezTo>
                  <a:cubicBezTo>
                    <a:pt x="18362" y="8777"/>
                    <a:pt x="17692" y="9447"/>
                    <a:pt x="17846" y="9155"/>
                  </a:cubicBezTo>
                  <a:cubicBezTo>
                    <a:pt x="17709" y="8966"/>
                    <a:pt x="18173" y="8709"/>
                    <a:pt x="18224" y="8605"/>
                  </a:cubicBezTo>
                  <a:cubicBezTo>
                    <a:pt x="17915" y="8777"/>
                    <a:pt x="18104" y="8605"/>
                    <a:pt x="18224" y="8434"/>
                  </a:cubicBezTo>
                  <a:cubicBezTo>
                    <a:pt x="18345" y="8262"/>
                    <a:pt x="17967" y="8640"/>
                    <a:pt x="18053" y="8434"/>
                  </a:cubicBezTo>
                  <a:cubicBezTo>
                    <a:pt x="17761" y="8709"/>
                    <a:pt x="17589" y="8743"/>
                    <a:pt x="17486" y="9155"/>
                  </a:cubicBezTo>
                  <a:cubicBezTo>
                    <a:pt x="17383" y="9567"/>
                    <a:pt x="16816" y="10065"/>
                    <a:pt x="16747" y="9842"/>
                  </a:cubicBezTo>
                  <a:cubicBezTo>
                    <a:pt x="16678" y="9619"/>
                    <a:pt x="16867" y="9722"/>
                    <a:pt x="16747" y="9396"/>
                  </a:cubicBezTo>
                  <a:cubicBezTo>
                    <a:pt x="16524" y="9791"/>
                    <a:pt x="16524" y="10306"/>
                    <a:pt x="16524" y="10306"/>
                  </a:cubicBezTo>
                  <a:cubicBezTo>
                    <a:pt x="15820" y="10461"/>
                    <a:pt x="16644" y="9104"/>
                    <a:pt x="16799" y="9069"/>
                  </a:cubicBezTo>
                  <a:cubicBezTo>
                    <a:pt x="16524" y="9172"/>
                    <a:pt x="16799" y="9069"/>
                    <a:pt x="16558" y="9069"/>
                  </a:cubicBezTo>
                  <a:cubicBezTo>
                    <a:pt x="16678" y="8897"/>
                    <a:pt x="16386" y="9155"/>
                    <a:pt x="16301" y="9069"/>
                  </a:cubicBezTo>
                  <a:cubicBezTo>
                    <a:pt x="16215" y="8983"/>
                    <a:pt x="17005" y="8382"/>
                    <a:pt x="16850" y="8794"/>
                  </a:cubicBezTo>
                  <a:cubicBezTo>
                    <a:pt x="18310" y="8485"/>
                    <a:pt x="19203" y="7077"/>
                    <a:pt x="19530" y="6733"/>
                  </a:cubicBezTo>
                  <a:cubicBezTo>
                    <a:pt x="19032" y="7145"/>
                    <a:pt x="19169" y="6733"/>
                    <a:pt x="18980" y="6733"/>
                  </a:cubicBezTo>
                  <a:cubicBezTo>
                    <a:pt x="18791" y="6733"/>
                    <a:pt x="19238" y="6579"/>
                    <a:pt x="18980" y="6561"/>
                  </a:cubicBezTo>
                  <a:cubicBezTo>
                    <a:pt x="19203" y="6321"/>
                    <a:pt x="18980" y="6561"/>
                    <a:pt x="18980" y="6373"/>
                  </a:cubicBezTo>
                  <a:lnTo>
                    <a:pt x="19083" y="6373"/>
                  </a:lnTo>
                  <a:lnTo>
                    <a:pt x="18929" y="6458"/>
                  </a:lnTo>
                  <a:cubicBezTo>
                    <a:pt x="18671" y="6579"/>
                    <a:pt x="18430" y="6733"/>
                    <a:pt x="18173" y="6871"/>
                  </a:cubicBezTo>
                  <a:lnTo>
                    <a:pt x="18173" y="6871"/>
                  </a:lnTo>
                  <a:lnTo>
                    <a:pt x="18293" y="6871"/>
                  </a:lnTo>
                  <a:lnTo>
                    <a:pt x="18242" y="6871"/>
                  </a:lnTo>
                  <a:lnTo>
                    <a:pt x="18242" y="6871"/>
                  </a:lnTo>
                  <a:cubicBezTo>
                    <a:pt x="18242" y="6957"/>
                    <a:pt x="17984" y="6871"/>
                    <a:pt x="17898" y="7025"/>
                  </a:cubicBezTo>
                  <a:lnTo>
                    <a:pt x="17898" y="7025"/>
                  </a:lnTo>
                  <a:lnTo>
                    <a:pt x="17898" y="7025"/>
                  </a:lnTo>
                  <a:lnTo>
                    <a:pt x="18001" y="7025"/>
                  </a:lnTo>
                  <a:cubicBezTo>
                    <a:pt x="18001" y="7025"/>
                    <a:pt x="18001" y="7025"/>
                    <a:pt x="18001" y="7025"/>
                  </a:cubicBezTo>
                  <a:lnTo>
                    <a:pt x="18001" y="7025"/>
                  </a:lnTo>
                  <a:cubicBezTo>
                    <a:pt x="18001" y="7025"/>
                    <a:pt x="17881" y="7025"/>
                    <a:pt x="17829" y="7025"/>
                  </a:cubicBezTo>
                  <a:lnTo>
                    <a:pt x="17829" y="7025"/>
                  </a:lnTo>
                  <a:lnTo>
                    <a:pt x="17829" y="7025"/>
                  </a:lnTo>
                  <a:cubicBezTo>
                    <a:pt x="17623" y="7180"/>
                    <a:pt x="17400" y="7300"/>
                    <a:pt x="17177" y="7437"/>
                  </a:cubicBezTo>
                  <a:lnTo>
                    <a:pt x="17434" y="7334"/>
                  </a:lnTo>
                  <a:lnTo>
                    <a:pt x="17434" y="7334"/>
                  </a:lnTo>
                  <a:lnTo>
                    <a:pt x="17864" y="7111"/>
                  </a:lnTo>
                  <a:cubicBezTo>
                    <a:pt x="17702" y="7258"/>
                    <a:pt x="17523" y="7385"/>
                    <a:pt x="17331" y="7489"/>
                  </a:cubicBezTo>
                  <a:lnTo>
                    <a:pt x="17331" y="7489"/>
                  </a:lnTo>
                  <a:cubicBezTo>
                    <a:pt x="17075" y="7607"/>
                    <a:pt x="16843" y="7770"/>
                    <a:pt x="16644" y="7970"/>
                  </a:cubicBezTo>
                  <a:cubicBezTo>
                    <a:pt x="16644" y="7970"/>
                    <a:pt x="16747" y="7884"/>
                    <a:pt x="16799" y="7884"/>
                  </a:cubicBezTo>
                  <a:lnTo>
                    <a:pt x="16799" y="7884"/>
                  </a:lnTo>
                  <a:lnTo>
                    <a:pt x="17675" y="7437"/>
                  </a:lnTo>
                  <a:lnTo>
                    <a:pt x="17675" y="7437"/>
                  </a:lnTo>
                  <a:lnTo>
                    <a:pt x="17675" y="7437"/>
                  </a:lnTo>
                  <a:cubicBezTo>
                    <a:pt x="17675" y="7437"/>
                    <a:pt x="17675" y="7334"/>
                    <a:pt x="17812" y="7352"/>
                  </a:cubicBezTo>
                  <a:lnTo>
                    <a:pt x="17812" y="7352"/>
                  </a:lnTo>
                  <a:cubicBezTo>
                    <a:pt x="17812" y="7352"/>
                    <a:pt x="17812" y="7352"/>
                    <a:pt x="17932" y="7352"/>
                  </a:cubicBezTo>
                  <a:lnTo>
                    <a:pt x="17932" y="7352"/>
                  </a:lnTo>
                  <a:lnTo>
                    <a:pt x="18362" y="7111"/>
                  </a:lnTo>
                  <a:cubicBezTo>
                    <a:pt x="18362" y="7111"/>
                    <a:pt x="18362" y="7111"/>
                    <a:pt x="18362" y="7266"/>
                  </a:cubicBezTo>
                  <a:lnTo>
                    <a:pt x="18362" y="7266"/>
                  </a:lnTo>
                  <a:cubicBezTo>
                    <a:pt x="18341" y="7321"/>
                    <a:pt x="18297" y="7365"/>
                    <a:pt x="18242" y="7386"/>
                  </a:cubicBezTo>
                  <a:cubicBezTo>
                    <a:pt x="18242" y="7300"/>
                    <a:pt x="18242" y="7472"/>
                    <a:pt x="18104" y="7489"/>
                  </a:cubicBezTo>
                  <a:cubicBezTo>
                    <a:pt x="17967" y="7506"/>
                    <a:pt x="17967" y="7626"/>
                    <a:pt x="17898" y="7626"/>
                  </a:cubicBezTo>
                  <a:cubicBezTo>
                    <a:pt x="17829" y="7626"/>
                    <a:pt x="17898" y="7626"/>
                    <a:pt x="17898" y="7626"/>
                  </a:cubicBezTo>
                  <a:lnTo>
                    <a:pt x="17898" y="7626"/>
                  </a:lnTo>
                  <a:cubicBezTo>
                    <a:pt x="17898" y="7626"/>
                    <a:pt x="17606" y="7764"/>
                    <a:pt x="17692" y="7626"/>
                  </a:cubicBezTo>
                  <a:lnTo>
                    <a:pt x="17692" y="7626"/>
                  </a:lnTo>
                  <a:cubicBezTo>
                    <a:pt x="17692" y="7626"/>
                    <a:pt x="17692" y="7712"/>
                    <a:pt x="17537" y="7729"/>
                  </a:cubicBezTo>
                  <a:lnTo>
                    <a:pt x="17537" y="7729"/>
                  </a:lnTo>
                  <a:cubicBezTo>
                    <a:pt x="17537" y="7729"/>
                    <a:pt x="17417" y="7729"/>
                    <a:pt x="17537" y="7729"/>
                  </a:cubicBezTo>
                  <a:cubicBezTo>
                    <a:pt x="17222" y="8004"/>
                    <a:pt x="16845" y="8199"/>
                    <a:pt x="16438" y="8296"/>
                  </a:cubicBezTo>
                  <a:cubicBezTo>
                    <a:pt x="16466" y="8278"/>
                    <a:pt x="16495" y="8261"/>
                    <a:pt x="16524" y="8245"/>
                  </a:cubicBezTo>
                  <a:lnTo>
                    <a:pt x="16524" y="8245"/>
                  </a:lnTo>
                  <a:lnTo>
                    <a:pt x="16661" y="8125"/>
                  </a:lnTo>
                  <a:lnTo>
                    <a:pt x="16661" y="8125"/>
                  </a:lnTo>
                  <a:cubicBezTo>
                    <a:pt x="16661" y="8125"/>
                    <a:pt x="16490" y="8210"/>
                    <a:pt x="16661" y="8125"/>
                  </a:cubicBezTo>
                  <a:cubicBezTo>
                    <a:pt x="16557" y="8250"/>
                    <a:pt x="16436" y="8360"/>
                    <a:pt x="16301" y="8451"/>
                  </a:cubicBezTo>
                  <a:lnTo>
                    <a:pt x="16404" y="8296"/>
                  </a:lnTo>
                  <a:cubicBezTo>
                    <a:pt x="16404" y="8296"/>
                    <a:pt x="16404" y="8382"/>
                    <a:pt x="16283" y="8399"/>
                  </a:cubicBezTo>
                  <a:cubicBezTo>
                    <a:pt x="16163" y="8417"/>
                    <a:pt x="16283" y="8399"/>
                    <a:pt x="16283" y="8399"/>
                  </a:cubicBezTo>
                  <a:lnTo>
                    <a:pt x="16283" y="8399"/>
                  </a:lnTo>
                  <a:lnTo>
                    <a:pt x="16438" y="8279"/>
                  </a:lnTo>
                  <a:cubicBezTo>
                    <a:pt x="16438" y="8279"/>
                    <a:pt x="16335" y="8279"/>
                    <a:pt x="16438" y="8279"/>
                  </a:cubicBezTo>
                  <a:lnTo>
                    <a:pt x="16438" y="8279"/>
                  </a:lnTo>
                  <a:lnTo>
                    <a:pt x="16438" y="8279"/>
                  </a:lnTo>
                  <a:cubicBezTo>
                    <a:pt x="16260" y="8438"/>
                    <a:pt x="16057" y="8566"/>
                    <a:pt x="15837" y="8657"/>
                  </a:cubicBezTo>
                  <a:lnTo>
                    <a:pt x="15837" y="8657"/>
                  </a:lnTo>
                  <a:cubicBezTo>
                    <a:pt x="15510" y="8846"/>
                    <a:pt x="15837" y="8520"/>
                    <a:pt x="15837" y="8365"/>
                  </a:cubicBezTo>
                  <a:cubicBezTo>
                    <a:pt x="15545" y="8537"/>
                    <a:pt x="15614" y="8846"/>
                    <a:pt x="15287" y="8932"/>
                  </a:cubicBezTo>
                  <a:lnTo>
                    <a:pt x="15287" y="8932"/>
                  </a:lnTo>
                  <a:lnTo>
                    <a:pt x="14841" y="9138"/>
                  </a:lnTo>
                  <a:cubicBezTo>
                    <a:pt x="14841" y="9138"/>
                    <a:pt x="14841" y="9138"/>
                    <a:pt x="14841" y="9138"/>
                  </a:cubicBezTo>
                  <a:lnTo>
                    <a:pt x="14841" y="9138"/>
                  </a:lnTo>
                  <a:lnTo>
                    <a:pt x="14841" y="9138"/>
                  </a:lnTo>
                  <a:cubicBezTo>
                    <a:pt x="14841" y="9138"/>
                    <a:pt x="14841" y="9138"/>
                    <a:pt x="14961" y="9035"/>
                  </a:cubicBezTo>
                  <a:cubicBezTo>
                    <a:pt x="15081" y="8932"/>
                    <a:pt x="14841" y="9035"/>
                    <a:pt x="14806" y="9121"/>
                  </a:cubicBezTo>
                  <a:cubicBezTo>
                    <a:pt x="14849" y="9096"/>
                    <a:pt x="14884" y="9060"/>
                    <a:pt x="14909" y="9018"/>
                  </a:cubicBezTo>
                  <a:cubicBezTo>
                    <a:pt x="14909" y="9018"/>
                    <a:pt x="14514" y="9344"/>
                    <a:pt x="14686" y="9138"/>
                  </a:cubicBezTo>
                  <a:lnTo>
                    <a:pt x="14531" y="9258"/>
                  </a:lnTo>
                  <a:cubicBezTo>
                    <a:pt x="14601" y="9111"/>
                    <a:pt x="14687" y="8973"/>
                    <a:pt x="14789" y="8846"/>
                  </a:cubicBezTo>
                  <a:lnTo>
                    <a:pt x="14789" y="8846"/>
                  </a:lnTo>
                  <a:lnTo>
                    <a:pt x="14789" y="8846"/>
                  </a:lnTo>
                  <a:lnTo>
                    <a:pt x="14703" y="8949"/>
                  </a:lnTo>
                  <a:cubicBezTo>
                    <a:pt x="14909" y="8794"/>
                    <a:pt x="14600" y="9138"/>
                    <a:pt x="14549" y="9121"/>
                  </a:cubicBezTo>
                  <a:lnTo>
                    <a:pt x="14686" y="9121"/>
                  </a:lnTo>
                  <a:cubicBezTo>
                    <a:pt x="14549" y="9361"/>
                    <a:pt x="13999" y="9653"/>
                    <a:pt x="14411" y="9121"/>
                  </a:cubicBezTo>
                  <a:cubicBezTo>
                    <a:pt x="14274" y="9207"/>
                    <a:pt x="14205" y="9361"/>
                    <a:pt x="14085" y="9447"/>
                  </a:cubicBezTo>
                  <a:lnTo>
                    <a:pt x="14085" y="9447"/>
                  </a:lnTo>
                  <a:lnTo>
                    <a:pt x="14085" y="9447"/>
                  </a:lnTo>
                  <a:lnTo>
                    <a:pt x="14085" y="9447"/>
                  </a:lnTo>
                  <a:lnTo>
                    <a:pt x="13930" y="9585"/>
                  </a:lnTo>
                  <a:cubicBezTo>
                    <a:pt x="13930" y="9585"/>
                    <a:pt x="13930" y="9585"/>
                    <a:pt x="13930" y="9585"/>
                  </a:cubicBezTo>
                  <a:cubicBezTo>
                    <a:pt x="13930" y="9585"/>
                    <a:pt x="13810" y="9585"/>
                    <a:pt x="13776" y="9585"/>
                  </a:cubicBezTo>
                  <a:cubicBezTo>
                    <a:pt x="13741" y="9585"/>
                    <a:pt x="13260" y="9911"/>
                    <a:pt x="13123" y="9945"/>
                  </a:cubicBezTo>
                  <a:lnTo>
                    <a:pt x="13123" y="9945"/>
                  </a:lnTo>
                  <a:cubicBezTo>
                    <a:pt x="12737" y="10291"/>
                    <a:pt x="12330" y="10612"/>
                    <a:pt x="11903" y="10907"/>
                  </a:cubicBezTo>
                  <a:cubicBezTo>
                    <a:pt x="12900" y="10254"/>
                    <a:pt x="11749" y="11405"/>
                    <a:pt x="11525" y="11405"/>
                  </a:cubicBezTo>
                  <a:cubicBezTo>
                    <a:pt x="11972" y="11405"/>
                    <a:pt x="11732" y="11783"/>
                    <a:pt x="11525" y="12092"/>
                  </a:cubicBezTo>
                  <a:lnTo>
                    <a:pt x="11525" y="12092"/>
                  </a:lnTo>
                  <a:cubicBezTo>
                    <a:pt x="11512" y="12253"/>
                    <a:pt x="11471" y="12409"/>
                    <a:pt x="11405" y="12556"/>
                  </a:cubicBezTo>
                  <a:cubicBezTo>
                    <a:pt x="11525" y="12556"/>
                    <a:pt x="11508" y="12693"/>
                    <a:pt x="11629" y="12693"/>
                  </a:cubicBezTo>
                  <a:lnTo>
                    <a:pt x="11629" y="12693"/>
                  </a:lnTo>
                  <a:cubicBezTo>
                    <a:pt x="11143" y="13178"/>
                    <a:pt x="10727" y="13727"/>
                    <a:pt x="10392" y="14325"/>
                  </a:cubicBezTo>
                  <a:cubicBezTo>
                    <a:pt x="10598" y="14325"/>
                    <a:pt x="10546" y="14325"/>
                    <a:pt x="10753" y="14188"/>
                  </a:cubicBezTo>
                  <a:cubicBezTo>
                    <a:pt x="10753" y="14274"/>
                    <a:pt x="10546" y="14445"/>
                    <a:pt x="10649" y="14514"/>
                  </a:cubicBezTo>
                  <a:cubicBezTo>
                    <a:pt x="11067" y="13670"/>
                    <a:pt x="11757" y="12992"/>
                    <a:pt x="12608" y="12590"/>
                  </a:cubicBezTo>
                  <a:cubicBezTo>
                    <a:pt x="13106" y="12024"/>
                    <a:pt x="13484" y="11337"/>
                    <a:pt x="13999" y="11148"/>
                  </a:cubicBezTo>
                  <a:lnTo>
                    <a:pt x="13999" y="11148"/>
                  </a:lnTo>
                  <a:cubicBezTo>
                    <a:pt x="14085" y="11148"/>
                    <a:pt x="14119" y="10976"/>
                    <a:pt x="14205" y="10976"/>
                  </a:cubicBezTo>
                  <a:cubicBezTo>
                    <a:pt x="14291" y="10976"/>
                    <a:pt x="14205" y="10873"/>
                    <a:pt x="14325" y="10856"/>
                  </a:cubicBezTo>
                  <a:cubicBezTo>
                    <a:pt x="14446" y="10838"/>
                    <a:pt x="15493" y="9808"/>
                    <a:pt x="15081" y="10409"/>
                  </a:cubicBezTo>
                  <a:cubicBezTo>
                    <a:pt x="15081" y="10409"/>
                    <a:pt x="15253" y="10409"/>
                    <a:pt x="15201" y="10409"/>
                  </a:cubicBezTo>
                  <a:lnTo>
                    <a:pt x="15201" y="10409"/>
                  </a:lnTo>
                  <a:cubicBezTo>
                    <a:pt x="15510" y="10409"/>
                    <a:pt x="15201" y="10409"/>
                    <a:pt x="15304" y="10564"/>
                  </a:cubicBezTo>
                  <a:cubicBezTo>
                    <a:pt x="15407" y="10718"/>
                    <a:pt x="15201" y="10649"/>
                    <a:pt x="15167" y="10701"/>
                  </a:cubicBezTo>
                  <a:lnTo>
                    <a:pt x="15167" y="10701"/>
                  </a:lnTo>
                  <a:cubicBezTo>
                    <a:pt x="15167" y="10701"/>
                    <a:pt x="15167" y="10804"/>
                    <a:pt x="15167" y="10856"/>
                  </a:cubicBezTo>
                  <a:lnTo>
                    <a:pt x="15167" y="10856"/>
                  </a:lnTo>
                  <a:cubicBezTo>
                    <a:pt x="15167" y="10856"/>
                    <a:pt x="15167" y="10941"/>
                    <a:pt x="15167" y="10941"/>
                  </a:cubicBezTo>
                  <a:lnTo>
                    <a:pt x="15167" y="10941"/>
                  </a:lnTo>
                  <a:cubicBezTo>
                    <a:pt x="15167" y="10941"/>
                    <a:pt x="15167" y="11027"/>
                    <a:pt x="15047" y="11079"/>
                  </a:cubicBez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cubicBezTo>
                    <a:pt x="15201" y="11079"/>
                    <a:pt x="15047" y="11165"/>
                    <a:pt x="15047" y="11216"/>
                  </a:cubicBezTo>
                  <a:cubicBezTo>
                    <a:pt x="15047" y="11268"/>
                    <a:pt x="15150" y="11113"/>
                    <a:pt x="15201" y="11130"/>
                  </a:cubicBezTo>
                  <a:cubicBezTo>
                    <a:pt x="15253" y="11148"/>
                    <a:pt x="14909" y="11337"/>
                    <a:pt x="14789" y="11508"/>
                  </a:cubicBezTo>
                  <a:lnTo>
                    <a:pt x="14789" y="11508"/>
                  </a:lnTo>
                  <a:cubicBezTo>
                    <a:pt x="14789" y="11508"/>
                    <a:pt x="14652" y="11629"/>
                    <a:pt x="14583" y="11508"/>
                  </a:cubicBezTo>
                  <a:cubicBezTo>
                    <a:pt x="14772" y="11680"/>
                    <a:pt x="14308" y="12041"/>
                    <a:pt x="14325" y="11989"/>
                  </a:cubicBezTo>
                  <a:cubicBezTo>
                    <a:pt x="14342" y="11938"/>
                    <a:pt x="14325" y="12144"/>
                    <a:pt x="14325" y="11989"/>
                  </a:cubicBezTo>
                  <a:cubicBezTo>
                    <a:pt x="14325" y="11835"/>
                    <a:pt x="14119" y="12264"/>
                    <a:pt x="14016" y="12367"/>
                  </a:cubicBezTo>
                  <a:cubicBezTo>
                    <a:pt x="14291" y="12178"/>
                    <a:pt x="14360" y="12144"/>
                    <a:pt x="14016" y="12367"/>
                  </a:cubicBezTo>
                  <a:cubicBezTo>
                    <a:pt x="14016" y="12367"/>
                    <a:pt x="14308" y="12127"/>
                    <a:pt x="14308" y="12230"/>
                  </a:cubicBezTo>
                  <a:cubicBezTo>
                    <a:pt x="14308" y="12333"/>
                    <a:pt x="14463" y="12109"/>
                    <a:pt x="14549" y="12075"/>
                  </a:cubicBezTo>
                  <a:cubicBezTo>
                    <a:pt x="14564" y="12131"/>
                    <a:pt x="14564" y="12191"/>
                    <a:pt x="14549" y="12247"/>
                  </a:cubicBezTo>
                  <a:cubicBezTo>
                    <a:pt x="14549" y="12161"/>
                    <a:pt x="14961" y="11800"/>
                    <a:pt x="14995" y="11921"/>
                  </a:cubicBezTo>
                  <a:cubicBezTo>
                    <a:pt x="15030" y="12041"/>
                    <a:pt x="14995" y="11921"/>
                    <a:pt x="14995" y="11921"/>
                  </a:cubicBezTo>
                  <a:cubicBezTo>
                    <a:pt x="14995" y="11921"/>
                    <a:pt x="14995" y="11817"/>
                    <a:pt x="15133" y="11817"/>
                  </a:cubicBezTo>
                  <a:lnTo>
                    <a:pt x="15133" y="11817"/>
                  </a:lnTo>
                  <a:cubicBezTo>
                    <a:pt x="15133" y="11732"/>
                    <a:pt x="15579" y="11457"/>
                    <a:pt x="15442" y="11577"/>
                  </a:cubicBezTo>
                  <a:lnTo>
                    <a:pt x="15442" y="11577"/>
                  </a:lnTo>
                  <a:cubicBezTo>
                    <a:pt x="15442" y="11577"/>
                    <a:pt x="15442" y="11697"/>
                    <a:pt x="15322" y="11697"/>
                  </a:cubicBezTo>
                  <a:cubicBezTo>
                    <a:pt x="15201" y="11697"/>
                    <a:pt x="15322" y="11697"/>
                    <a:pt x="15322" y="11783"/>
                  </a:cubicBezTo>
                  <a:lnTo>
                    <a:pt x="15322" y="11783"/>
                  </a:lnTo>
                  <a:cubicBezTo>
                    <a:pt x="15218" y="11783"/>
                    <a:pt x="15322" y="11955"/>
                    <a:pt x="15150" y="12006"/>
                  </a:cubicBezTo>
                  <a:cubicBezTo>
                    <a:pt x="14978" y="12058"/>
                    <a:pt x="15150" y="12127"/>
                    <a:pt x="15150" y="12006"/>
                  </a:cubicBezTo>
                  <a:cubicBezTo>
                    <a:pt x="15150" y="11886"/>
                    <a:pt x="14789" y="12161"/>
                    <a:pt x="15150" y="12144"/>
                  </a:cubicBezTo>
                  <a:cubicBezTo>
                    <a:pt x="15510" y="12127"/>
                    <a:pt x="14961" y="12298"/>
                    <a:pt x="15150" y="12247"/>
                  </a:cubicBezTo>
                  <a:cubicBezTo>
                    <a:pt x="15339" y="12195"/>
                    <a:pt x="14995" y="12419"/>
                    <a:pt x="14978" y="12247"/>
                  </a:cubicBezTo>
                  <a:cubicBezTo>
                    <a:pt x="14961" y="12075"/>
                    <a:pt x="14978" y="12333"/>
                    <a:pt x="14978" y="12350"/>
                  </a:cubicBezTo>
                  <a:cubicBezTo>
                    <a:pt x="14978" y="12367"/>
                    <a:pt x="15098" y="12350"/>
                    <a:pt x="15150" y="12350"/>
                  </a:cubicBezTo>
                  <a:cubicBezTo>
                    <a:pt x="15201" y="12350"/>
                    <a:pt x="14961" y="12350"/>
                    <a:pt x="14892" y="12505"/>
                  </a:cubicBezTo>
                  <a:cubicBezTo>
                    <a:pt x="15133" y="12505"/>
                    <a:pt x="15047" y="12505"/>
                    <a:pt x="14892" y="12608"/>
                  </a:cubicBezTo>
                  <a:cubicBezTo>
                    <a:pt x="14738" y="12711"/>
                    <a:pt x="14892" y="12608"/>
                    <a:pt x="14995" y="12608"/>
                  </a:cubicBezTo>
                  <a:cubicBezTo>
                    <a:pt x="15011" y="12682"/>
                    <a:pt x="14963" y="12755"/>
                    <a:pt x="14889" y="12770"/>
                  </a:cubicBezTo>
                  <a:cubicBezTo>
                    <a:pt x="14861" y="12776"/>
                    <a:pt x="14832" y="12773"/>
                    <a:pt x="14806" y="12762"/>
                  </a:cubicBezTo>
                  <a:cubicBezTo>
                    <a:pt x="14806" y="12762"/>
                    <a:pt x="14961" y="12848"/>
                    <a:pt x="14806" y="12917"/>
                  </a:cubicBezTo>
                  <a:cubicBezTo>
                    <a:pt x="14995" y="13020"/>
                    <a:pt x="14600" y="13157"/>
                    <a:pt x="14566" y="13089"/>
                  </a:cubicBezTo>
                  <a:cubicBezTo>
                    <a:pt x="14531" y="13020"/>
                    <a:pt x="14566" y="13363"/>
                    <a:pt x="14411" y="13312"/>
                  </a:cubicBezTo>
                  <a:cubicBezTo>
                    <a:pt x="14257" y="13260"/>
                    <a:pt x="14669" y="13312"/>
                    <a:pt x="14531" y="13415"/>
                  </a:cubicBezTo>
                  <a:cubicBezTo>
                    <a:pt x="14394" y="13518"/>
                    <a:pt x="14531" y="13415"/>
                    <a:pt x="14531" y="13501"/>
                  </a:cubicBezTo>
                  <a:cubicBezTo>
                    <a:pt x="14531" y="13587"/>
                    <a:pt x="14531" y="13501"/>
                    <a:pt x="14531" y="13621"/>
                  </a:cubicBezTo>
                  <a:lnTo>
                    <a:pt x="14634" y="13621"/>
                  </a:lnTo>
                  <a:cubicBezTo>
                    <a:pt x="14634" y="13707"/>
                    <a:pt x="14428" y="13879"/>
                    <a:pt x="14325" y="13844"/>
                  </a:cubicBezTo>
                  <a:cubicBezTo>
                    <a:pt x="14222" y="13810"/>
                    <a:pt x="14480" y="13844"/>
                    <a:pt x="14549" y="13844"/>
                  </a:cubicBezTo>
                  <a:cubicBezTo>
                    <a:pt x="14325" y="14050"/>
                    <a:pt x="14549" y="13844"/>
                    <a:pt x="14549" y="13844"/>
                  </a:cubicBezTo>
                  <a:cubicBezTo>
                    <a:pt x="14549" y="13844"/>
                    <a:pt x="14549" y="13844"/>
                    <a:pt x="14394" y="13999"/>
                  </a:cubicBezTo>
                  <a:cubicBezTo>
                    <a:pt x="14394" y="13999"/>
                    <a:pt x="14686" y="13810"/>
                    <a:pt x="14549" y="13999"/>
                  </a:cubicBezTo>
                  <a:lnTo>
                    <a:pt x="14549" y="13999"/>
                  </a:lnTo>
                  <a:cubicBezTo>
                    <a:pt x="14549" y="13999"/>
                    <a:pt x="14463" y="14102"/>
                    <a:pt x="14446" y="14153"/>
                  </a:cubicBezTo>
                  <a:cubicBezTo>
                    <a:pt x="14428" y="14205"/>
                    <a:pt x="14755" y="14153"/>
                    <a:pt x="14549" y="14153"/>
                  </a:cubicBezTo>
                  <a:cubicBezTo>
                    <a:pt x="14806" y="14342"/>
                    <a:pt x="14205" y="14239"/>
                    <a:pt x="14119" y="14360"/>
                  </a:cubicBezTo>
                  <a:cubicBezTo>
                    <a:pt x="14566" y="14360"/>
                    <a:pt x="13982" y="14360"/>
                    <a:pt x="13896" y="14497"/>
                  </a:cubicBezTo>
                  <a:cubicBezTo>
                    <a:pt x="13870" y="14437"/>
                    <a:pt x="13870" y="14368"/>
                    <a:pt x="13896" y="14308"/>
                  </a:cubicBezTo>
                  <a:cubicBezTo>
                    <a:pt x="13896" y="14445"/>
                    <a:pt x="13896" y="14531"/>
                    <a:pt x="13793" y="14634"/>
                  </a:cubicBezTo>
                  <a:cubicBezTo>
                    <a:pt x="13982" y="14634"/>
                    <a:pt x="14188" y="14342"/>
                    <a:pt x="14428" y="14411"/>
                  </a:cubicBezTo>
                  <a:cubicBezTo>
                    <a:pt x="14308" y="14257"/>
                    <a:pt x="14806" y="14411"/>
                    <a:pt x="14428" y="14617"/>
                  </a:cubicBezTo>
                  <a:cubicBezTo>
                    <a:pt x="14428" y="14617"/>
                    <a:pt x="14428" y="14617"/>
                    <a:pt x="14428" y="14617"/>
                  </a:cubicBezTo>
                  <a:cubicBezTo>
                    <a:pt x="14428" y="14617"/>
                    <a:pt x="14703" y="14463"/>
                    <a:pt x="14566" y="14617"/>
                  </a:cubicBezTo>
                  <a:cubicBezTo>
                    <a:pt x="14428" y="14772"/>
                    <a:pt x="14669" y="14617"/>
                    <a:pt x="14652" y="14617"/>
                  </a:cubicBezTo>
                  <a:cubicBezTo>
                    <a:pt x="14634" y="14617"/>
                    <a:pt x="14652" y="14789"/>
                    <a:pt x="14497" y="14772"/>
                  </a:cubicBezTo>
                  <a:cubicBezTo>
                    <a:pt x="14600" y="14772"/>
                    <a:pt x="14360" y="14995"/>
                    <a:pt x="14360" y="14875"/>
                  </a:cubicBezTo>
                  <a:cubicBezTo>
                    <a:pt x="14360" y="14755"/>
                    <a:pt x="14549" y="15047"/>
                    <a:pt x="14360" y="15012"/>
                  </a:cubicBezTo>
                  <a:cubicBezTo>
                    <a:pt x="14583" y="15115"/>
                    <a:pt x="13879" y="15407"/>
                    <a:pt x="13844" y="15287"/>
                  </a:cubicBezTo>
                  <a:cubicBezTo>
                    <a:pt x="13810" y="15167"/>
                    <a:pt x="13724" y="15287"/>
                    <a:pt x="13844" y="15287"/>
                  </a:cubicBezTo>
                  <a:cubicBezTo>
                    <a:pt x="13381" y="15682"/>
                    <a:pt x="13003" y="15734"/>
                    <a:pt x="12590" y="15407"/>
                  </a:cubicBezTo>
                  <a:cubicBezTo>
                    <a:pt x="12590" y="15407"/>
                    <a:pt x="12213" y="15407"/>
                    <a:pt x="12247" y="15253"/>
                  </a:cubicBezTo>
                  <a:cubicBezTo>
                    <a:pt x="11629" y="15631"/>
                    <a:pt x="11062" y="16026"/>
                    <a:pt x="10426" y="16369"/>
                  </a:cubicBezTo>
                  <a:cubicBezTo>
                    <a:pt x="10849" y="16193"/>
                    <a:pt x="11326" y="16193"/>
                    <a:pt x="11749" y="16369"/>
                  </a:cubicBezTo>
                  <a:cubicBezTo>
                    <a:pt x="11704" y="16429"/>
                    <a:pt x="11645" y="16477"/>
                    <a:pt x="11577" y="16507"/>
                  </a:cubicBezTo>
                  <a:cubicBezTo>
                    <a:pt x="11749" y="16507"/>
                    <a:pt x="11354" y="16885"/>
                    <a:pt x="11577" y="16936"/>
                  </a:cubicBezTo>
                  <a:cubicBezTo>
                    <a:pt x="11405" y="17022"/>
                    <a:pt x="11732" y="17262"/>
                    <a:pt x="11835" y="17125"/>
                  </a:cubicBezTo>
                  <a:cubicBezTo>
                    <a:pt x="11835" y="17125"/>
                    <a:pt x="11972" y="17262"/>
                    <a:pt x="11835" y="17245"/>
                  </a:cubicBezTo>
                  <a:cubicBezTo>
                    <a:pt x="12075" y="17245"/>
                    <a:pt x="11182" y="17520"/>
                    <a:pt x="11251" y="17365"/>
                  </a:cubicBezTo>
                  <a:cubicBezTo>
                    <a:pt x="11101" y="17505"/>
                    <a:pt x="10940" y="17631"/>
                    <a:pt x="10770" y="17743"/>
                  </a:cubicBezTo>
                  <a:lnTo>
                    <a:pt x="10770" y="17743"/>
                  </a:lnTo>
                  <a:cubicBezTo>
                    <a:pt x="10667" y="17743"/>
                    <a:pt x="10770" y="17589"/>
                    <a:pt x="10770" y="17640"/>
                  </a:cubicBezTo>
                  <a:cubicBezTo>
                    <a:pt x="10770" y="17417"/>
                    <a:pt x="11371" y="16988"/>
                    <a:pt x="11371" y="17280"/>
                  </a:cubicBezTo>
                  <a:cubicBezTo>
                    <a:pt x="11371" y="17177"/>
                    <a:pt x="11491" y="17280"/>
                    <a:pt x="11543" y="17194"/>
                  </a:cubicBezTo>
                  <a:cubicBezTo>
                    <a:pt x="11233" y="17073"/>
                    <a:pt x="11233" y="17194"/>
                    <a:pt x="11543" y="16970"/>
                  </a:cubicBezTo>
                  <a:lnTo>
                    <a:pt x="11543" y="16970"/>
                  </a:lnTo>
                  <a:lnTo>
                    <a:pt x="11543" y="16970"/>
                  </a:lnTo>
                  <a:cubicBezTo>
                    <a:pt x="11543" y="17073"/>
                    <a:pt x="11045" y="17245"/>
                    <a:pt x="11233" y="16970"/>
                  </a:cubicBezTo>
                  <a:cubicBezTo>
                    <a:pt x="11096" y="17125"/>
                    <a:pt x="11045" y="17073"/>
                    <a:pt x="10924" y="16970"/>
                  </a:cubicBezTo>
                  <a:cubicBezTo>
                    <a:pt x="10804" y="16867"/>
                    <a:pt x="10924" y="17091"/>
                    <a:pt x="10924" y="17159"/>
                  </a:cubicBezTo>
                  <a:cubicBezTo>
                    <a:pt x="10924" y="17228"/>
                    <a:pt x="10924" y="17331"/>
                    <a:pt x="10924" y="17159"/>
                  </a:cubicBezTo>
                  <a:cubicBezTo>
                    <a:pt x="10924" y="16988"/>
                    <a:pt x="10598" y="17314"/>
                    <a:pt x="10667" y="17159"/>
                  </a:cubicBezTo>
                  <a:cubicBezTo>
                    <a:pt x="10735" y="17005"/>
                    <a:pt x="10478" y="17245"/>
                    <a:pt x="10667" y="17159"/>
                  </a:cubicBezTo>
                  <a:cubicBezTo>
                    <a:pt x="10856" y="17073"/>
                    <a:pt x="10546" y="17297"/>
                    <a:pt x="10478" y="17331"/>
                  </a:cubicBezTo>
                  <a:lnTo>
                    <a:pt x="10478" y="17331"/>
                  </a:lnTo>
                  <a:cubicBezTo>
                    <a:pt x="10478" y="17331"/>
                    <a:pt x="10478" y="17417"/>
                    <a:pt x="10478" y="17331"/>
                  </a:cubicBezTo>
                  <a:cubicBezTo>
                    <a:pt x="10478" y="17245"/>
                    <a:pt x="10357" y="17469"/>
                    <a:pt x="10478" y="17331"/>
                  </a:cubicBezTo>
                  <a:cubicBezTo>
                    <a:pt x="10254" y="17331"/>
                    <a:pt x="9722" y="18345"/>
                    <a:pt x="10083" y="18001"/>
                  </a:cubicBezTo>
                  <a:cubicBezTo>
                    <a:pt x="10083" y="18138"/>
                    <a:pt x="9842" y="18327"/>
                    <a:pt x="9911" y="18087"/>
                  </a:cubicBezTo>
                  <a:cubicBezTo>
                    <a:pt x="9773" y="18259"/>
                    <a:pt x="9791" y="18241"/>
                    <a:pt x="9808" y="18087"/>
                  </a:cubicBezTo>
                  <a:cubicBezTo>
                    <a:pt x="9360" y="18252"/>
                    <a:pt x="8984" y="18568"/>
                    <a:pt x="8743" y="18980"/>
                  </a:cubicBezTo>
                  <a:lnTo>
                    <a:pt x="8743" y="18980"/>
                  </a:lnTo>
                  <a:lnTo>
                    <a:pt x="8743" y="18980"/>
                  </a:lnTo>
                  <a:cubicBezTo>
                    <a:pt x="8743" y="18980"/>
                    <a:pt x="8743" y="18825"/>
                    <a:pt x="8743" y="18740"/>
                  </a:cubicBezTo>
                  <a:cubicBezTo>
                    <a:pt x="8605" y="18980"/>
                    <a:pt x="8588" y="19289"/>
                    <a:pt x="8365" y="19495"/>
                  </a:cubicBezTo>
                  <a:lnTo>
                    <a:pt x="8365" y="19495"/>
                  </a:lnTo>
                  <a:lnTo>
                    <a:pt x="8262" y="19650"/>
                  </a:lnTo>
                  <a:cubicBezTo>
                    <a:pt x="8298" y="19536"/>
                    <a:pt x="8356" y="19431"/>
                    <a:pt x="8434" y="19341"/>
                  </a:cubicBezTo>
                  <a:cubicBezTo>
                    <a:pt x="8434" y="19341"/>
                    <a:pt x="8434" y="19255"/>
                    <a:pt x="8434" y="19221"/>
                  </a:cubicBezTo>
                  <a:lnTo>
                    <a:pt x="8434" y="19221"/>
                  </a:lnTo>
                  <a:cubicBezTo>
                    <a:pt x="8434" y="19014"/>
                    <a:pt x="8605" y="18860"/>
                    <a:pt x="8674" y="18671"/>
                  </a:cubicBezTo>
                  <a:cubicBezTo>
                    <a:pt x="8545" y="18838"/>
                    <a:pt x="8441" y="19023"/>
                    <a:pt x="8365" y="19221"/>
                  </a:cubicBezTo>
                  <a:cubicBezTo>
                    <a:pt x="8365" y="19117"/>
                    <a:pt x="8365" y="19032"/>
                    <a:pt x="8365" y="18929"/>
                  </a:cubicBezTo>
                  <a:cubicBezTo>
                    <a:pt x="8365" y="18825"/>
                    <a:pt x="8365" y="19581"/>
                    <a:pt x="8365" y="19324"/>
                  </a:cubicBezTo>
                  <a:cubicBezTo>
                    <a:pt x="8365" y="19324"/>
                    <a:pt x="8365" y="19598"/>
                    <a:pt x="8365" y="19530"/>
                  </a:cubicBezTo>
                  <a:cubicBezTo>
                    <a:pt x="8365" y="19461"/>
                    <a:pt x="8365" y="19616"/>
                    <a:pt x="8365" y="19650"/>
                  </a:cubicBezTo>
                  <a:cubicBezTo>
                    <a:pt x="8374" y="19605"/>
                    <a:pt x="8374" y="19558"/>
                    <a:pt x="8365" y="19513"/>
                  </a:cubicBezTo>
                  <a:cubicBezTo>
                    <a:pt x="8365" y="19650"/>
                    <a:pt x="8502" y="19719"/>
                    <a:pt x="8365" y="19856"/>
                  </a:cubicBezTo>
                  <a:lnTo>
                    <a:pt x="8365" y="19856"/>
                  </a:lnTo>
                  <a:cubicBezTo>
                    <a:pt x="8365" y="19993"/>
                    <a:pt x="8176" y="20148"/>
                    <a:pt x="8210" y="19976"/>
                  </a:cubicBezTo>
                  <a:cubicBezTo>
                    <a:pt x="8245" y="19805"/>
                    <a:pt x="8210" y="20079"/>
                    <a:pt x="8210" y="20097"/>
                  </a:cubicBezTo>
                  <a:cubicBezTo>
                    <a:pt x="8210" y="20114"/>
                    <a:pt x="8296" y="20097"/>
                    <a:pt x="8313" y="20234"/>
                  </a:cubicBezTo>
                  <a:cubicBezTo>
                    <a:pt x="8304" y="20200"/>
                    <a:pt x="8304" y="20165"/>
                    <a:pt x="8313" y="20131"/>
                  </a:cubicBezTo>
                  <a:cubicBezTo>
                    <a:pt x="8313" y="20234"/>
                    <a:pt x="8313" y="20285"/>
                    <a:pt x="8176" y="20354"/>
                  </a:cubicBezTo>
                  <a:cubicBezTo>
                    <a:pt x="8039" y="20423"/>
                    <a:pt x="8176" y="20354"/>
                    <a:pt x="8176" y="20251"/>
                  </a:cubicBezTo>
                  <a:cubicBezTo>
                    <a:pt x="8176" y="20148"/>
                    <a:pt x="8176" y="20251"/>
                    <a:pt x="8176" y="20251"/>
                  </a:cubicBezTo>
                  <a:cubicBezTo>
                    <a:pt x="8176" y="20251"/>
                    <a:pt x="8176" y="20474"/>
                    <a:pt x="8176" y="20389"/>
                  </a:cubicBezTo>
                  <a:lnTo>
                    <a:pt x="8176" y="20389"/>
                  </a:lnTo>
                  <a:lnTo>
                    <a:pt x="8176" y="20389"/>
                  </a:lnTo>
                  <a:lnTo>
                    <a:pt x="8176" y="20389"/>
                  </a:lnTo>
                  <a:cubicBezTo>
                    <a:pt x="6991" y="20389"/>
                    <a:pt x="6458" y="24992"/>
                    <a:pt x="6579" y="22982"/>
                  </a:cubicBezTo>
                  <a:cubicBezTo>
                    <a:pt x="6579" y="22982"/>
                    <a:pt x="6579" y="22982"/>
                    <a:pt x="6579" y="22982"/>
                  </a:cubicBezTo>
                  <a:cubicBezTo>
                    <a:pt x="6579" y="22982"/>
                    <a:pt x="6579" y="22982"/>
                    <a:pt x="6579" y="22982"/>
                  </a:cubicBezTo>
                  <a:lnTo>
                    <a:pt x="6579" y="22982"/>
                  </a:lnTo>
                  <a:cubicBezTo>
                    <a:pt x="6579" y="22879"/>
                    <a:pt x="6579" y="22707"/>
                    <a:pt x="6579" y="22604"/>
                  </a:cubicBezTo>
                  <a:cubicBezTo>
                    <a:pt x="6579" y="22501"/>
                    <a:pt x="6579" y="22604"/>
                    <a:pt x="6579" y="22707"/>
                  </a:cubicBezTo>
                  <a:cubicBezTo>
                    <a:pt x="6579" y="22810"/>
                    <a:pt x="6853" y="21780"/>
                    <a:pt x="6579" y="21745"/>
                  </a:cubicBezTo>
                  <a:cubicBezTo>
                    <a:pt x="6304" y="21711"/>
                    <a:pt x="6476" y="21849"/>
                    <a:pt x="6579" y="21745"/>
                  </a:cubicBezTo>
                  <a:lnTo>
                    <a:pt x="6579" y="21745"/>
                  </a:lnTo>
                  <a:lnTo>
                    <a:pt x="6579" y="21745"/>
                  </a:lnTo>
                  <a:cubicBezTo>
                    <a:pt x="6579" y="21745"/>
                    <a:pt x="6579" y="21574"/>
                    <a:pt x="6579" y="21642"/>
                  </a:cubicBezTo>
                  <a:cubicBezTo>
                    <a:pt x="6587" y="21603"/>
                    <a:pt x="6587" y="21562"/>
                    <a:pt x="6579" y="21522"/>
                  </a:cubicBezTo>
                  <a:lnTo>
                    <a:pt x="6579" y="21522"/>
                  </a:lnTo>
                  <a:cubicBezTo>
                    <a:pt x="6579" y="21522"/>
                    <a:pt x="6579" y="21436"/>
                    <a:pt x="6579" y="21385"/>
                  </a:cubicBezTo>
                  <a:lnTo>
                    <a:pt x="6579" y="21385"/>
                  </a:lnTo>
                  <a:cubicBezTo>
                    <a:pt x="6579" y="21385"/>
                    <a:pt x="6579" y="21385"/>
                    <a:pt x="6579" y="21385"/>
                  </a:cubicBezTo>
                  <a:cubicBezTo>
                    <a:pt x="6579" y="21385"/>
                    <a:pt x="6579" y="21385"/>
                    <a:pt x="6579" y="21385"/>
                  </a:cubicBezTo>
                  <a:cubicBezTo>
                    <a:pt x="6579" y="21385"/>
                    <a:pt x="6579" y="21282"/>
                    <a:pt x="6579" y="21230"/>
                  </a:cubicBezTo>
                  <a:lnTo>
                    <a:pt x="6579" y="21333"/>
                  </a:lnTo>
                  <a:cubicBezTo>
                    <a:pt x="6579" y="21230"/>
                    <a:pt x="6390" y="21333"/>
                    <a:pt x="6373" y="21453"/>
                  </a:cubicBezTo>
                  <a:lnTo>
                    <a:pt x="6373" y="21453"/>
                  </a:lnTo>
                  <a:cubicBezTo>
                    <a:pt x="6373" y="21642"/>
                    <a:pt x="6373" y="21763"/>
                    <a:pt x="6373" y="21849"/>
                  </a:cubicBezTo>
                  <a:cubicBezTo>
                    <a:pt x="6373" y="21934"/>
                    <a:pt x="6373" y="21471"/>
                    <a:pt x="6373" y="21763"/>
                  </a:cubicBezTo>
                  <a:lnTo>
                    <a:pt x="6373" y="21660"/>
                  </a:lnTo>
                  <a:cubicBezTo>
                    <a:pt x="6373" y="21539"/>
                    <a:pt x="6373" y="21471"/>
                    <a:pt x="6373" y="21350"/>
                  </a:cubicBezTo>
                  <a:cubicBezTo>
                    <a:pt x="6373" y="21230"/>
                    <a:pt x="6373" y="21350"/>
                    <a:pt x="6373" y="21350"/>
                  </a:cubicBezTo>
                  <a:cubicBezTo>
                    <a:pt x="6373" y="21591"/>
                    <a:pt x="6373" y="21076"/>
                    <a:pt x="6184" y="21350"/>
                  </a:cubicBezTo>
                  <a:cubicBezTo>
                    <a:pt x="6184" y="21350"/>
                    <a:pt x="6184" y="21196"/>
                    <a:pt x="6184" y="21127"/>
                  </a:cubicBezTo>
                  <a:cubicBezTo>
                    <a:pt x="6184" y="21058"/>
                    <a:pt x="6184" y="21247"/>
                    <a:pt x="6184" y="21127"/>
                  </a:cubicBezTo>
                  <a:cubicBezTo>
                    <a:pt x="6193" y="21213"/>
                    <a:pt x="6193" y="21299"/>
                    <a:pt x="6184" y="21385"/>
                  </a:cubicBezTo>
                  <a:lnTo>
                    <a:pt x="6184" y="21385"/>
                  </a:lnTo>
                  <a:lnTo>
                    <a:pt x="6184" y="21505"/>
                  </a:lnTo>
                  <a:lnTo>
                    <a:pt x="6184" y="21505"/>
                  </a:lnTo>
                  <a:cubicBezTo>
                    <a:pt x="6184" y="21591"/>
                    <a:pt x="6184" y="21505"/>
                    <a:pt x="6184" y="21505"/>
                  </a:cubicBezTo>
                  <a:lnTo>
                    <a:pt x="6184" y="21505"/>
                  </a:lnTo>
                  <a:cubicBezTo>
                    <a:pt x="6184" y="21505"/>
                    <a:pt x="6184" y="21505"/>
                    <a:pt x="6184" y="21505"/>
                  </a:cubicBezTo>
                  <a:lnTo>
                    <a:pt x="6184" y="21505"/>
                  </a:lnTo>
                  <a:cubicBezTo>
                    <a:pt x="6184" y="21505"/>
                    <a:pt x="6184" y="21608"/>
                    <a:pt x="6184" y="21608"/>
                  </a:cubicBezTo>
                  <a:lnTo>
                    <a:pt x="6184" y="21608"/>
                  </a:lnTo>
                  <a:cubicBezTo>
                    <a:pt x="6085" y="21918"/>
                    <a:pt x="6005" y="22233"/>
                    <a:pt x="5943" y="22553"/>
                  </a:cubicBezTo>
                  <a:cubicBezTo>
                    <a:pt x="5943" y="22553"/>
                    <a:pt x="5943" y="22433"/>
                    <a:pt x="5943" y="22398"/>
                  </a:cubicBezTo>
                  <a:cubicBezTo>
                    <a:pt x="5943" y="22364"/>
                    <a:pt x="5840" y="22862"/>
                    <a:pt x="5943" y="22621"/>
                  </a:cubicBezTo>
                  <a:cubicBezTo>
                    <a:pt x="5838" y="23115"/>
                    <a:pt x="5758" y="23614"/>
                    <a:pt x="5703" y="24116"/>
                  </a:cubicBezTo>
                  <a:cubicBezTo>
                    <a:pt x="5668" y="24579"/>
                    <a:pt x="5668" y="25044"/>
                    <a:pt x="5703" y="25507"/>
                  </a:cubicBezTo>
                  <a:cubicBezTo>
                    <a:pt x="5703" y="25507"/>
                    <a:pt x="5703" y="25507"/>
                    <a:pt x="5703" y="25507"/>
                  </a:cubicBezTo>
                  <a:cubicBezTo>
                    <a:pt x="5709" y="25479"/>
                    <a:pt x="5709" y="25449"/>
                    <a:pt x="5703" y="25421"/>
                  </a:cubicBezTo>
                  <a:lnTo>
                    <a:pt x="5703" y="25421"/>
                  </a:lnTo>
                  <a:cubicBezTo>
                    <a:pt x="5703" y="25421"/>
                    <a:pt x="5703" y="25421"/>
                    <a:pt x="5703" y="25421"/>
                  </a:cubicBezTo>
                  <a:lnTo>
                    <a:pt x="5703" y="25421"/>
                  </a:lnTo>
                  <a:cubicBezTo>
                    <a:pt x="5703" y="25421"/>
                    <a:pt x="5703" y="25559"/>
                    <a:pt x="5703" y="25627"/>
                  </a:cubicBezTo>
                  <a:lnTo>
                    <a:pt x="5703" y="25627"/>
                  </a:lnTo>
                  <a:lnTo>
                    <a:pt x="5703" y="25627"/>
                  </a:lnTo>
                  <a:cubicBezTo>
                    <a:pt x="5711" y="25553"/>
                    <a:pt x="5711" y="25478"/>
                    <a:pt x="5703" y="25404"/>
                  </a:cubicBezTo>
                  <a:lnTo>
                    <a:pt x="5703" y="25404"/>
                  </a:lnTo>
                  <a:cubicBezTo>
                    <a:pt x="5857" y="25249"/>
                    <a:pt x="5703" y="24511"/>
                    <a:pt x="5995" y="24665"/>
                  </a:cubicBezTo>
                  <a:cubicBezTo>
                    <a:pt x="5995" y="24665"/>
                    <a:pt x="5995" y="24562"/>
                    <a:pt x="5995" y="24665"/>
                  </a:cubicBezTo>
                  <a:cubicBezTo>
                    <a:pt x="5995" y="24769"/>
                    <a:pt x="5995" y="24665"/>
                    <a:pt x="5995" y="24665"/>
                  </a:cubicBezTo>
                  <a:cubicBezTo>
                    <a:pt x="5995" y="24665"/>
                    <a:pt x="5995" y="24820"/>
                    <a:pt x="5995" y="24665"/>
                  </a:cubicBezTo>
                  <a:cubicBezTo>
                    <a:pt x="6098" y="24957"/>
                    <a:pt x="5806" y="25284"/>
                    <a:pt x="5857" y="25593"/>
                  </a:cubicBezTo>
                  <a:cubicBezTo>
                    <a:pt x="5857" y="25593"/>
                    <a:pt x="5857" y="25868"/>
                    <a:pt x="5857" y="25919"/>
                  </a:cubicBezTo>
                  <a:cubicBezTo>
                    <a:pt x="5814" y="26294"/>
                    <a:pt x="5476" y="26563"/>
                    <a:pt x="5101" y="26521"/>
                  </a:cubicBezTo>
                  <a:cubicBezTo>
                    <a:pt x="4727" y="26478"/>
                    <a:pt x="4457" y="26140"/>
                    <a:pt x="4500" y="25765"/>
                  </a:cubicBezTo>
                  <a:cubicBezTo>
                    <a:pt x="4500" y="25954"/>
                    <a:pt x="4500" y="26349"/>
                    <a:pt x="4397" y="26658"/>
                  </a:cubicBezTo>
                  <a:lnTo>
                    <a:pt x="4397" y="26658"/>
                  </a:lnTo>
                  <a:cubicBezTo>
                    <a:pt x="4380" y="26726"/>
                    <a:pt x="4380" y="26796"/>
                    <a:pt x="4397" y="26864"/>
                  </a:cubicBezTo>
                  <a:lnTo>
                    <a:pt x="4397" y="26864"/>
                  </a:lnTo>
                  <a:cubicBezTo>
                    <a:pt x="4397" y="26864"/>
                    <a:pt x="4397" y="26864"/>
                    <a:pt x="4397" y="26950"/>
                  </a:cubicBezTo>
                  <a:cubicBezTo>
                    <a:pt x="4397" y="27036"/>
                    <a:pt x="4603" y="27139"/>
                    <a:pt x="4586" y="26950"/>
                  </a:cubicBezTo>
                  <a:cubicBezTo>
                    <a:pt x="4586" y="27053"/>
                    <a:pt x="4586" y="27105"/>
                    <a:pt x="4724" y="27190"/>
                  </a:cubicBezTo>
                  <a:lnTo>
                    <a:pt x="4724" y="27190"/>
                  </a:lnTo>
                  <a:cubicBezTo>
                    <a:pt x="4738" y="27241"/>
                    <a:pt x="4738" y="27295"/>
                    <a:pt x="4724" y="27345"/>
                  </a:cubicBezTo>
                  <a:cubicBezTo>
                    <a:pt x="4724" y="27208"/>
                    <a:pt x="4724" y="27345"/>
                    <a:pt x="4724" y="27448"/>
                  </a:cubicBezTo>
                  <a:lnTo>
                    <a:pt x="4724" y="27448"/>
                  </a:lnTo>
                  <a:cubicBezTo>
                    <a:pt x="4767" y="27681"/>
                    <a:pt x="4767" y="27920"/>
                    <a:pt x="4724" y="28152"/>
                  </a:cubicBezTo>
                  <a:lnTo>
                    <a:pt x="4724" y="28152"/>
                  </a:lnTo>
                  <a:cubicBezTo>
                    <a:pt x="4732" y="28307"/>
                    <a:pt x="4732" y="28462"/>
                    <a:pt x="4724" y="28616"/>
                  </a:cubicBezTo>
                  <a:cubicBezTo>
                    <a:pt x="4724" y="28616"/>
                    <a:pt x="4724" y="28513"/>
                    <a:pt x="4724" y="28444"/>
                  </a:cubicBezTo>
                  <a:cubicBezTo>
                    <a:pt x="4715" y="28564"/>
                    <a:pt x="4715" y="28685"/>
                    <a:pt x="4724" y="28805"/>
                  </a:cubicBezTo>
                  <a:cubicBezTo>
                    <a:pt x="4734" y="28777"/>
                    <a:pt x="4734" y="28747"/>
                    <a:pt x="4724" y="28719"/>
                  </a:cubicBezTo>
                  <a:cubicBezTo>
                    <a:pt x="4697" y="28861"/>
                    <a:pt x="4697" y="29007"/>
                    <a:pt x="4724" y="29149"/>
                  </a:cubicBezTo>
                  <a:cubicBezTo>
                    <a:pt x="4724" y="29063"/>
                    <a:pt x="4947" y="30042"/>
                    <a:pt x="4930" y="29733"/>
                  </a:cubicBezTo>
                  <a:cubicBezTo>
                    <a:pt x="5136" y="30265"/>
                    <a:pt x="5170" y="29131"/>
                    <a:pt x="5634" y="30471"/>
                  </a:cubicBezTo>
                  <a:cubicBezTo>
                    <a:pt x="5634" y="30368"/>
                    <a:pt x="5634" y="29337"/>
                    <a:pt x="5960" y="29595"/>
                  </a:cubicBezTo>
                  <a:cubicBezTo>
                    <a:pt x="5960" y="29818"/>
                    <a:pt x="5960" y="29595"/>
                    <a:pt x="5960" y="29475"/>
                  </a:cubicBezTo>
                  <a:cubicBezTo>
                    <a:pt x="5960" y="29355"/>
                    <a:pt x="6252" y="29303"/>
                    <a:pt x="6355" y="29234"/>
                  </a:cubicBezTo>
                  <a:cubicBezTo>
                    <a:pt x="6476" y="29458"/>
                    <a:pt x="6355" y="29836"/>
                    <a:pt x="6355" y="30145"/>
                  </a:cubicBezTo>
                  <a:cubicBezTo>
                    <a:pt x="6630" y="30901"/>
                    <a:pt x="6355" y="29681"/>
                    <a:pt x="6665" y="29664"/>
                  </a:cubicBezTo>
                  <a:cubicBezTo>
                    <a:pt x="6974" y="29647"/>
                    <a:pt x="6527" y="29544"/>
                    <a:pt x="6665" y="29441"/>
                  </a:cubicBezTo>
                  <a:cubicBezTo>
                    <a:pt x="6802" y="29337"/>
                    <a:pt x="6665" y="29664"/>
                    <a:pt x="6785" y="29733"/>
                  </a:cubicBezTo>
                  <a:cubicBezTo>
                    <a:pt x="6933" y="29741"/>
                    <a:pt x="7051" y="29859"/>
                    <a:pt x="7060" y="30007"/>
                  </a:cubicBezTo>
                  <a:cubicBezTo>
                    <a:pt x="6939" y="30213"/>
                    <a:pt x="7352" y="30145"/>
                    <a:pt x="7472" y="30196"/>
                  </a:cubicBezTo>
                  <a:cubicBezTo>
                    <a:pt x="7558" y="30660"/>
                    <a:pt x="8090" y="30042"/>
                    <a:pt x="8262" y="30402"/>
                  </a:cubicBezTo>
                  <a:cubicBezTo>
                    <a:pt x="8004" y="30402"/>
                    <a:pt x="8073" y="30402"/>
                    <a:pt x="8262" y="30643"/>
                  </a:cubicBezTo>
                  <a:cubicBezTo>
                    <a:pt x="8262" y="30471"/>
                    <a:pt x="8863" y="31107"/>
                    <a:pt x="8434" y="31107"/>
                  </a:cubicBezTo>
                  <a:cubicBezTo>
                    <a:pt x="8885" y="31152"/>
                    <a:pt x="9220" y="31547"/>
                    <a:pt x="9189" y="32000"/>
                  </a:cubicBezTo>
                  <a:cubicBezTo>
                    <a:pt x="9189" y="31673"/>
                    <a:pt x="9550" y="32154"/>
                    <a:pt x="9550" y="32309"/>
                  </a:cubicBezTo>
                  <a:cubicBezTo>
                    <a:pt x="9464" y="32103"/>
                    <a:pt x="10461" y="32309"/>
                    <a:pt x="10220" y="32532"/>
                  </a:cubicBezTo>
                  <a:cubicBezTo>
                    <a:pt x="10443" y="32361"/>
                    <a:pt x="10976" y="33030"/>
                    <a:pt x="10856" y="33151"/>
                  </a:cubicBezTo>
                  <a:cubicBezTo>
                    <a:pt x="11010" y="32893"/>
                    <a:pt x="11130" y="33735"/>
                    <a:pt x="11302" y="33924"/>
                  </a:cubicBezTo>
                  <a:cubicBezTo>
                    <a:pt x="11474" y="34113"/>
                    <a:pt x="10976" y="34559"/>
                    <a:pt x="11045" y="34868"/>
                  </a:cubicBezTo>
                  <a:cubicBezTo>
                    <a:pt x="11045" y="34611"/>
                    <a:pt x="11233" y="34628"/>
                    <a:pt x="11148" y="34868"/>
                  </a:cubicBezTo>
                  <a:cubicBezTo>
                    <a:pt x="11148" y="34868"/>
                    <a:pt x="11268" y="34559"/>
                    <a:pt x="11337" y="34731"/>
                  </a:cubicBezTo>
                  <a:cubicBezTo>
                    <a:pt x="11405" y="34903"/>
                    <a:pt x="11337" y="34731"/>
                    <a:pt x="11337" y="34731"/>
                  </a:cubicBezTo>
                  <a:cubicBezTo>
                    <a:pt x="11337" y="34216"/>
                    <a:pt x="12401" y="35143"/>
                    <a:pt x="11337" y="35092"/>
                  </a:cubicBezTo>
                  <a:cubicBezTo>
                    <a:pt x="11749" y="35092"/>
                    <a:pt x="11543" y="35315"/>
                    <a:pt x="11680" y="35624"/>
                  </a:cubicBezTo>
                  <a:cubicBezTo>
                    <a:pt x="11543" y="35074"/>
                    <a:pt x="12075" y="34576"/>
                    <a:pt x="12419" y="35074"/>
                  </a:cubicBezTo>
                  <a:cubicBezTo>
                    <a:pt x="12419" y="35074"/>
                    <a:pt x="12608" y="35177"/>
                    <a:pt x="12642" y="35263"/>
                  </a:cubicBezTo>
                  <a:cubicBezTo>
                    <a:pt x="12676" y="35349"/>
                    <a:pt x="12986" y="35366"/>
                    <a:pt x="12882" y="35469"/>
                  </a:cubicBezTo>
                  <a:cubicBezTo>
                    <a:pt x="12779" y="35573"/>
                    <a:pt x="12882" y="35727"/>
                    <a:pt x="12968" y="35830"/>
                  </a:cubicBezTo>
                  <a:cubicBezTo>
                    <a:pt x="13054" y="35933"/>
                    <a:pt x="12968" y="35487"/>
                    <a:pt x="12968" y="35710"/>
                  </a:cubicBezTo>
                  <a:cubicBezTo>
                    <a:pt x="12968" y="35555"/>
                    <a:pt x="13106" y="35607"/>
                    <a:pt x="12968" y="35504"/>
                  </a:cubicBezTo>
                  <a:cubicBezTo>
                    <a:pt x="12831" y="35401"/>
                    <a:pt x="13363" y="35761"/>
                    <a:pt x="13363" y="35641"/>
                  </a:cubicBezTo>
                  <a:cubicBezTo>
                    <a:pt x="13363" y="35521"/>
                    <a:pt x="13363" y="35641"/>
                    <a:pt x="13466" y="35744"/>
                  </a:cubicBezTo>
                  <a:cubicBezTo>
                    <a:pt x="13569" y="35847"/>
                    <a:pt x="13466" y="35744"/>
                    <a:pt x="13466" y="35744"/>
                  </a:cubicBezTo>
                  <a:lnTo>
                    <a:pt x="13466" y="35744"/>
                  </a:lnTo>
                  <a:lnTo>
                    <a:pt x="13466" y="35744"/>
                  </a:lnTo>
                  <a:cubicBezTo>
                    <a:pt x="14841" y="36157"/>
                    <a:pt x="16438" y="37462"/>
                    <a:pt x="14926" y="38922"/>
                  </a:cubicBezTo>
                  <a:cubicBezTo>
                    <a:pt x="14926" y="38836"/>
                    <a:pt x="14926" y="38682"/>
                    <a:pt x="14926" y="38819"/>
                  </a:cubicBezTo>
                  <a:cubicBezTo>
                    <a:pt x="14926" y="38956"/>
                    <a:pt x="14823" y="38819"/>
                    <a:pt x="14806" y="38819"/>
                  </a:cubicBezTo>
                  <a:lnTo>
                    <a:pt x="14806" y="38819"/>
                  </a:lnTo>
                  <a:cubicBezTo>
                    <a:pt x="15133" y="39386"/>
                    <a:pt x="15717" y="41619"/>
                    <a:pt x="14806" y="41447"/>
                  </a:cubicBezTo>
                  <a:cubicBezTo>
                    <a:pt x="14806" y="41447"/>
                    <a:pt x="14514" y="41447"/>
                    <a:pt x="14806" y="41447"/>
                  </a:cubicBezTo>
                  <a:cubicBezTo>
                    <a:pt x="15098" y="41447"/>
                    <a:pt x="14652" y="41447"/>
                    <a:pt x="14600" y="41447"/>
                  </a:cubicBezTo>
                  <a:cubicBezTo>
                    <a:pt x="14549" y="41447"/>
                    <a:pt x="14600" y="41533"/>
                    <a:pt x="14600" y="41687"/>
                  </a:cubicBezTo>
                  <a:cubicBezTo>
                    <a:pt x="14360" y="41498"/>
                    <a:pt x="14257" y="41997"/>
                    <a:pt x="14154" y="41962"/>
                  </a:cubicBezTo>
                  <a:cubicBezTo>
                    <a:pt x="14050" y="41928"/>
                    <a:pt x="14154" y="41962"/>
                    <a:pt x="14154" y="41962"/>
                  </a:cubicBezTo>
                  <a:cubicBezTo>
                    <a:pt x="14154" y="41962"/>
                    <a:pt x="14291" y="42048"/>
                    <a:pt x="14154" y="42048"/>
                  </a:cubicBezTo>
                  <a:cubicBezTo>
                    <a:pt x="14016" y="42048"/>
                    <a:pt x="14154" y="42048"/>
                    <a:pt x="14154" y="42048"/>
                  </a:cubicBezTo>
                  <a:cubicBezTo>
                    <a:pt x="14154" y="42048"/>
                    <a:pt x="14446" y="42426"/>
                    <a:pt x="14411" y="42529"/>
                  </a:cubicBezTo>
                  <a:cubicBezTo>
                    <a:pt x="14377" y="42632"/>
                    <a:pt x="14411" y="43697"/>
                    <a:pt x="14411" y="43336"/>
                  </a:cubicBezTo>
                  <a:cubicBezTo>
                    <a:pt x="14411" y="43336"/>
                    <a:pt x="14411" y="43336"/>
                    <a:pt x="14411" y="43250"/>
                  </a:cubicBezTo>
                  <a:cubicBezTo>
                    <a:pt x="14411" y="43165"/>
                    <a:pt x="14411" y="43113"/>
                    <a:pt x="14411" y="43113"/>
                  </a:cubicBezTo>
                  <a:cubicBezTo>
                    <a:pt x="14338" y="43042"/>
                    <a:pt x="14257" y="42979"/>
                    <a:pt x="14171" y="42924"/>
                  </a:cubicBezTo>
                  <a:cubicBezTo>
                    <a:pt x="14231" y="42979"/>
                    <a:pt x="14283" y="43043"/>
                    <a:pt x="14325" y="43113"/>
                  </a:cubicBezTo>
                  <a:cubicBezTo>
                    <a:pt x="14325" y="43113"/>
                    <a:pt x="14446" y="43354"/>
                    <a:pt x="14325" y="43250"/>
                  </a:cubicBezTo>
                  <a:cubicBezTo>
                    <a:pt x="14858" y="44041"/>
                    <a:pt x="14325" y="44264"/>
                    <a:pt x="13844" y="43817"/>
                  </a:cubicBezTo>
                  <a:lnTo>
                    <a:pt x="14549" y="44418"/>
                  </a:lnTo>
                  <a:lnTo>
                    <a:pt x="14549" y="44418"/>
                  </a:lnTo>
                  <a:cubicBezTo>
                    <a:pt x="14637" y="44494"/>
                    <a:pt x="14707" y="44587"/>
                    <a:pt x="14755" y="44693"/>
                  </a:cubicBezTo>
                  <a:lnTo>
                    <a:pt x="14755" y="44693"/>
                  </a:lnTo>
                  <a:cubicBezTo>
                    <a:pt x="14755" y="44693"/>
                    <a:pt x="14944" y="44951"/>
                    <a:pt x="14755" y="44882"/>
                  </a:cubicBezTo>
                  <a:cubicBezTo>
                    <a:pt x="14566" y="44814"/>
                    <a:pt x="14394" y="44882"/>
                    <a:pt x="14291" y="44882"/>
                  </a:cubicBezTo>
                  <a:cubicBezTo>
                    <a:pt x="14188" y="44882"/>
                    <a:pt x="14480" y="45037"/>
                    <a:pt x="14566" y="45123"/>
                  </a:cubicBezTo>
                  <a:lnTo>
                    <a:pt x="14566" y="45123"/>
                  </a:lnTo>
                  <a:cubicBezTo>
                    <a:pt x="14909" y="45466"/>
                    <a:pt x="14995" y="45569"/>
                    <a:pt x="14463" y="45294"/>
                  </a:cubicBezTo>
                  <a:cubicBezTo>
                    <a:pt x="14621" y="45462"/>
                    <a:pt x="14807" y="45602"/>
                    <a:pt x="15012" y="45707"/>
                  </a:cubicBezTo>
                  <a:cubicBezTo>
                    <a:pt x="15012" y="45707"/>
                    <a:pt x="15012" y="45707"/>
                    <a:pt x="15012" y="45707"/>
                  </a:cubicBezTo>
                  <a:lnTo>
                    <a:pt x="15012" y="45707"/>
                  </a:lnTo>
                  <a:cubicBezTo>
                    <a:pt x="15304" y="45930"/>
                    <a:pt x="15133" y="45947"/>
                    <a:pt x="15717" y="46359"/>
                  </a:cubicBezTo>
                  <a:lnTo>
                    <a:pt x="15717" y="46359"/>
                  </a:lnTo>
                  <a:lnTo>
                    <a:pt x="15717" y="46359"/>
                  </a:lnTo>
                  <a:lnTo>
                    <a:pt x="15717" y="46359"/>
                  </a:lnTo>
                  <a:cubicBezTo>
                    <a:pt x="15991" y="46669"/>
                    <a:pt x="16438" y="46737"/>
                    <a:pt x="16730" y="47012"/>
                  </a:cubicBezTo>
                  <a:lnTo>
                    <a:pt x="16730" y="47012"/>
                  </a:lnTo>
                  <a:lnTo>
                    <a:pt x="16730" y="47012"/>
                  </a:lnTo>
                  <a:lnTo>
                    <a:pt x="16730" y="47012"/>
                  </a:lnTo>
                  <a:lnTo>
                    <a:pt x="16885" y="47132"/>
                  </a:lnTo>
                  <a:lnTo>
                    <a:pt x="16885" y="47132"/>
                  </a:lnTo>
                  <a:lnTo>
                    <a:pt x="17091" y="47270"/>
                  </a:lnTo>
                  <a:cubicBezTo>
                    <a:pt x="17091" y="47270"/>
                    <a:pt x="17091" y="47270"/>
                    <a:pt x="16988" y="47270"/>
                  </a:cubicBezTo>
                  <a:cubicBezTo>
                    <a:pt x="17278" y="47454"/>
                    <a:pt x="17582" y="47614"/>
                    <a:pt x="17898" y="47751"/>
                  </a:cubicBezTo>
                  <a:lnTo>
                    <a:pt x="17898" y="47751"/>
                  </a:lnTo>
                  <a:cubicBezTo>
                    <a:pt x="17795" y="47751"/>
                    <a:pt x="17898" y="47751"/>
                    <a:pt x="17898" y="47751"/>
                  </a:cubicBezTo>
                  <a:lnTo>
                    <a:pt x="17898" y="47751"/>
                  </a:lnTo>
                  <a:cubicBezTo>
                    <a:pt x="18059" y="47847"/>
                    <a:pt x="18225" y="47933"/>
                    <a:pt x="18396" y="48008"/>
                  </a:cubicBezTo>
                  <a:lnTo>
                    <a:pt x="18173" y="48008"/>
                  </a:lnTo>
                  <a:close/>
                  <a:moveTo>
                    <a:pt x="20560" y="10117"/>
                  </a:moveTo>
                  <a:cubicBezTo>
                    <a:pt x="20286" y="10409"/>
                    <a:pt x="20560" y="10014"/>
                    <a:pt x="20560" y="9980"/>
                  </a:cubicBezTo>
                  <a:cubicBezTo>
                    <a:pt x="20560" y="9945"/>
                    <a:pt x="20423" y="10134"/>
                    <a:pt x="20286" y="10323"/>
                  </a:cubicBezTo>
                  <a:cubicBezTo>
                    <a:pt x="19822" y="10083"/>
                    <a:pt x="19581" y="10976"/>
                    <a:pt x="19289" y="10907"/>
                  </a:cubicBezTo>
                  <a:cubicBezTo>
                    <a:pt x="19530" y="11165"/>
                    <a:pt x="19100" y="10907"/>
                    <a:pt x="19152" y="11165"/>
                  </a:cubicBezTo>
                  <a:cubicBezTo>
                    <a:pt x="19014" y="10959"/>
                    <a:pt x="19152" y="11165"/>
                    <a:pt x="19152" y="11165"/>
                  </a:cubicBezTo>
                  <a:cubicBezTo>
                    <a:pt x="19152" y="10907"/>
                    <a:pt x="19152" y="11457"/>
                    <a:pt x="18997" y="11165"/>
                  </a:cubicBezTo>
                  <a:cubicBezTo>
                    <a:pt x="18688" y="11165"/>
                    <a:pt x="18997" y="11577"/>
                    <a:pt x="18585" y="11577"/>
                  </a:cubicBezTo>
                  <a:cubicBezTo>
                    <a:pt x="18585" y="11577"/>
                    <a:pt x="18327" y="12024"/>
                    <a:pt x="18259" y="11903"/>
                  </a:cubicBezTo>
                  <a:cubicBezTo>
                    <a:pt x="18190" y="11783"/>
                    <a:pt x="17846" y="12453"/>
                    <a:pt x="18001" y="12109"/>
                  </a:cubicBezTo>
                  <a:cubicBezTo>
                    <a:pt x="17537" y="12401"/>
                    <a:pt x="18104" y="11938"/>
                    <a:pt x="17743" y="12006"/>
                  </a:cubicBezTo>
                  <a:cubicBezTo>
                    <a:pt x="18173" y="11680"/>
                    <a:pt x="18070" y="11749"/>
                    <a:pt x="17503" y="11783"/>
                  </a:cubicBezTo>
                  <a:cubicBezTo>
                    <a:pt x="17588" y="11313"/>
                    <a:pt x="17763" y="10864"/>
                    <a:pt x="18018" y="10461"/>
                  </a:cubicBezTo>
                  <a:cubicBezTo>
                    <a:pt x="18018" y="10220"/>
                    <a:pt x="18224" y="10461"/>
                    <a:pt x="18448" y="10134"/>
                  </a:cubicBezTo>
                  <a:cubicBezTo>
                    <a:pt x="17984" y="10306"/>
                    <a:pt x="17984" y="10134"/>
                    <a:pt x="18448" y="9739"/>
                  </a:cubicBezTo>
                  <a:cubicBezTo>
                    <a:pt x="18345" y="9739"/>
                    <a:pt x="18207" y="9739"/>
                    <a:pt x="18345" y="9739"/>
                  </a:cubicBezTo>
                  <a:cubicBezTo>
                    <a:pt x="18482" y="9739"/>
                    <a:pt x="18345" y="9636"/>
                    <a:pt x="18963" y="9344"/>
                  </a:cubicBezTo>
                  <a:cubicBezTo>
                    <a:pt x="17709" y="9808"/>
                    <a:pt x="19392" y="8966"/>
                    <a:pt x="18774" y="9104"/>
                  </a:cubicBezTo>
                  <a:cubicBezTo>
                    <a:pt x="19272" y="8657"/>
                    <a:pt x="19152" y="9293"/>
                    <a:pt x="19324" y="9104"/>
                  </a:cubicBezTo>
                  <a:cubicBezTo>
                    <a:pt x="18997" y="9104"/>
                    <a:pt x="19667" y="8863"/>
                    <a:pt x="19324" y="8966"/>
                  </a:cubicBezTo>
                  <a:cubicBezTo>
                    <a:pt x="19444" y="8846"/>
                    <a:pt x="19169" y="8966"/>
                    <a:pt x="18946" y="8966"/>
                  </a:cubicBezTo>
                  <a:cubicBezTo>
                    <a:pt x="19427" y="8537"/>
                    <a:pt x="19238" y="9086"/>
                    <a:pt x="19598" y="8674"/>
                  </a:cubicBezTo>
                  <a:cubicBezTo>
                    <a:pt x="19289" y="8846"/>
                    <a:pt x="19341" y="8554"/>
                    <a:pt x="19598" y="8674"/>
                  </a:cubicBezTo>
                  <a:cubicBezTo>
                    <a:pt x="19808" y="8533"/>
                    <a:pt x="20004" y="8372"/>
                    <a:pt x="20182" y="8193"/>
                  </a:cubicBezTo>
                  <a:cubicBezTo>
                    <a:pt x="19994" y="8193"/>
                    <a:pt x="20182" y="7266"/>
                    <a:pt x="20354" y="7953"/>
                  </a:cubicBezTo>
                  <a:cubicBezTo>
                    <a:pt x="20354" y="7953"/>
                    <a:pt x="20509" y="7712"/>
                    <a:pt x="20560" y="7764"/>
                  </a:cubicBezTo>
                  <a:cubicBezTo>
                    <a:pt x="20612" y="7815"/>
                    <a:pt x="21144" y="6991"/>
                    <a:pt x="20681" y="7386"/>
                  </a:cubicBezTo>
                  <a:cubicBezTo>
                    <a:pt x="20217" y="7781"/>
                    <a:pt x="21162" y="6922"/>
                    <a:pt x="21746" y="6338"/>
                  </a:cubicBezTo>
                  <a:cubicBezTo>
                    <a:pt x="23154" y="5256"/>
                    <a:pt x="21746" y="5497"/>
                    <a:pt x="22914" y="4981"/>
                  </a:cubicBezTo>
                  <a:cubicBezTo>
                    <a:pt x="23085" y="4981"/>
                    <a:pt x="23206" y="5067"/>
                    <a:pt x="23326" y="4844"/>
                  </a:cubicBezTo>
                  <a:cubicBezTo>
                    <a:pt x="26332" y="3556"/>
                    <a:pt x="25576" y="4260"/>
                    <a:pt x="26761" y="3693"/>
                  </a:cubicBezTo>
                  <a:cubicBezTo>
                    <a:pt x="26418" y="3882"/>
                    <a:pt x="26761" y="3693"/>
                    <a:pt x="26881" y="3693"/>
                  </a:cubicBezTo>
                  <a:cubicBezTo>
                    <a:pt x="26503" y="3951"/>
                    <a:pt x="26710" y="3693"/>
                    <a:pt x="26607" y="3951"/>
                  </a:cubicBezTo>
                  <a:cubicBezTo>
                    <a:pt x="26761" y="4140"/>
                    <a:pt x="25765" y="4243"/>
                    <a:pt x="26211" y="4208"/>
                  </a:cubicBezTo>
                  <a:cubicBezTo>
                    <a:pt x="26658" y="4174"/>
                    <a:pt x="26057" y="4346"/>
                    <a:pt x="26211" y="4329"/>
                  </a:cubicBezTo>
                  <a:cubicBezTo>
                    <a:pt x="26555" y="4054"/>
                    <a:pt x="26211" y="4483"/>
                    <a:pt x="26074" y="4500"/>
                  </a:cubicBezTo>
                  <a:cubicBezTo>
                    <a:pt x="25284" y="5119"/>
                    <a:pt x="27036" y="3744"/>
                    <a:pt x="26383" y="4621"/>
                  </a:cubicBezTo>
                  <a:cubicBezTo>
                    <a:pt x="26108" y="4844"/>
                    <a:pt x="25816" y="4861"/>
                    <a:pt x="26057" y="4947"/>
                  </a:cubicBezTo>
                  <a:cubicBezTo>
                    <a:pt x="25672" y="5283"/>
                    <a:pt x="25406" y="5735"/>
                    <a:pt x="25301" y="6235"/>
                  </a:cubicBezTo>
                  <a:cubicBezTo>
                    <a:pt x="25198" y="5874"/>
                    <a:pt x="24751" y="6424"/>
                    <a:pt x="25112" y="6373"/>
                  </a:cubicBezTo>
                  <a:cubicBezTo>
                    <a:pt x="24837" y="6596"/>
                    <a:pt x="25112" y="6373"/>
                    <a:pt x="25009" y="6596"/>
                  </a:cubicBezTo>
                  <a:cubicBezTo>
                    <a:pt x="24906" y="6819"/>
                    <a:pt x="24837" y="6596"/>
                    <a:pt x="24751" y="6596"/>
                  </a:cubicBezTo>
                  <a:cubicBezTo>
                    <a:pt x="24666" y="6596"/>
                    <a:pt x="24751" y="6957"/>
                    <a:pt x="24751" y="6768"/>
                  </a:cubicBezTo>
                  <a:cubicBezTo>
                    <a:pt x="24751" y="6871"/>
                    <a:pt x="25061" y="7128"/>
                    <a:pt x="24751" y="7180"/>
                  </a:cubicBezTo>
                  <a:cubicBezTo>
                    <a:pt x="24271" y="6750"/>
                    <a:pt x="24751" y="7575"/>
                    <a:pt x="24442" y="7489"/>
                  </a:cubicBezTo>
                  <a:cubicBezTo>
                    <a:pt x="23961" y="7729"/>
                    <a:pt x="24442" y="7060"/>
                    <a:pt x="24133" y="7489"/>
                  </a:cubicBezTo>
                  <a:cubicBezTo>
                    <a:pt x="24133" y="7283"/>
                    <a:pt x="23807" y="7609"/>
                    <a:pt x="23738" y="7626"/>
                  </a:cubicBezTo>
                  <a:cubicBezTo>
                    <a:pt x="24150" y="7626"/>
                    <a:pt x="23738" y="7764"/>
                    <a:pt x="23738" y="7781"/>
                  </a:cubicBezTo>
                  <a:cubicBezTo>
                    <a:pt x="24236" y="7781"/>
                    <a:pt x="23738" y="7918"/>
                    <a:pt x="23824" y="7987"/>
                  </a:cubicBezTo>
                  <a:cubicBezTo>
                    <a:pt x="24442" y="8090"/>
                    <a:pt x="23515" y="9705"/>
                    <a:pt x="23583" y="8262"/>
                  </a:cubicBezTo>
                  <a:cubicBezTo>
                    <a:pt x="23034" y="7901"/>
                    <a:pt x="23978" y="8657"/>
                    <a:pt x="23137" y="8520"/>
                  </a:cubicBezTo>
                  <a:cubicBezTo>
                    <a:pt x="23291" y="8640"/>
                    <a:pt x="22673" y="8777"/>
                    <a:pt x="22931" y="8726"/>
                  </a:cubicBezTo>
                  <a:cubicBezTo>
                    <a:pt x="23188" y="8674"/>
                    <a:pt x="23326" y="8915"/>
                    <a:pt x="22931" y="8846"/>
                  </a:cubicBezTo>
                  <a:cubicBezTo>
                    <a:pt x="22536" y="8777"/>
                    <a:pt x="24082" y="8846"/>
                    <a:pt x="23446" y="9121"/>
                  </a:cubicBezTo>
                  <a:cubicBezTo>
                    <a:pt x="23446" y="9121"/>
                    <a:pt x="23171" y="9327"/>
                    <a:pt x="23137" y="9275"/>
                  </a:cubicBezTo>
                  <a:cubicBezTo>
                    <a:pt x="23103" y="9224"/>
                    <a:pt x="21866" y="9859"/>
                    <a:pt x="21952" y="9396"/>
                  </a:cubicBezTo>
                  <a:cubicBezTo>
                    <a:pt x="22038" y="8932"/>
                    <a:pt x="21952" y="9636"/>
                    <a:pt x="21831" y="9653"/>
                  </a:cubicBezTo>
                  <a:cubicBezTo>
                    <a:pt x="21385" y="9688"/>
                    <a:pt x="20612" y="10529"/>
                    <a:pt x="20560" y="10117"/>
                  </a:cubicBezTo>
                  <a:close/>
                  <a:moveTo>
                    <a:pt x="23669" y="11440"/>
                  </a:moveTo>
                  <a:cubicBezTo>
                    <a:pt x="23669" y="11577"/>
                    <a:pt x="23463" y="11543"/>
                    <a:pt x="23412" y="11440"/>
                  </a:cubicBezTo>
                  <a:cubicBezTo>
                    <a:pt x="23360" y="11337"/>
                    <a:pt x="23223" y="11440"/>
                    <a:pt x="23274" y="11319"/>
                  </a:cubicBezTo>
                  <a:cubicBezTo>
                    <a:pt x="23326" y="11199"/>
                    <a:pt x="23188" y="11319"/>
                    <a:pt x="23274" y="11319"/>
                  </a:cubicBezTo>
                  <a:cubicBezTo>
                    <a:pt x="23173" y="11345"/>
                    <a:pt x="23067" y="11345"/>
                    <a:pt x="22965" y="11319"/>
                  </a:cubicBezTo>
                  <a:cubicBezTo>
                    <a:pt x="22965" y="11319"/>
                    <a:pt x="22965" y="11319"/>
                    <a:pt x="22965" y="11319"/>
                  </a:cubicBezTo>
                  <a:cubicBezTo>
                    <a:pt x="22965" y="11319"/>
                    <a:pt x="22965" y="11319"/>
                    <a:pt x="22965" y="11233"/>
                  </a:cubicBezTo>
                  <a:cubicBezTo>
                    <a:pt x="22965" y="11148"/>
                    <a:pt x="22965" y="11233"/>
                    <a:pt x="22965" y="11233"/>
                  </a:cubicBezTo>
                  <a:cubicBezTo>
                    <a:pt x="22965" y="11233"/>
                    <a:pt x="23120" y="11096"/>
                    <a:pt x="23206" y="11148"/>
                  </a:cubicBezTo>
                  <a:cubicBezTo>
                    <a:pt x="23291" y="11199"/>
                    <a:pt x="22948" y="11251"/>
                    <a:pt x="23206" y="11027"/>
                  </a:cubicBezTo>
                  <a:cubicBezTo>
                    <a:pt x="23206" y="11113"/>
                    <a:pt x="23051" y="11027"/>
                    <a:pt x="23206" y="10941"/>
                  </a:cubicBezTo>
                  <a:cubicBezTo>
                    <a:pt x="23360" y="10856"/>
                    <a:pt x="22948" y="10941"/>
                    <a:pt x="22948" y="10821"/>
                  </a:cubicBezTo>
                  <a:cubicBezTo>
                    <a:pt x="22948" y="10701"/>
                    <a:pt x="23206" y="10735"/>
                    <a:pt x="23223" y="10821"/>
                  </a:cubicBezTo>
                  <a:cubicBezTo>
                    <a:pt x="23240" y="10907"/>
                    <a:pt x="23395" y="10821"/>
                    <a:pt x="23412" y="10718"/>
                  </a:cubicBezTo>
                  <a:cubicBezTo>
                    <a:pt x="23429" y="10615"/>
                    <a:pt x="23291" y="10718"/>
                    <a:pt x="23412" y="10718"/>
                  </a:cubicBezTo>
                  <a:cubicBezTo>
                    <a:pt x="23532" y="10718"/>
                    <a:pt x="23291" y="10718"/>
                    <a:pt x="23412" y="10632"/>
                  </a:cubicBezTo>
                  <a:cubicBezTo>
                    <a:pt x="23532" y="10546"/>
                    <a:pt x="23412" y="10632"/>
                    <a:pt x="23412" y="10632"/>
                  </a:cubicBezTo>
                  <a:cubicBezTo>
                    <a:pt x="23412" y="10632"/>
                    <a:pt x="23412" y="10718"/>
                    <a:pt x="23412" y="10632"/>
                  </a:cubicBezTo>
                  <a:cubicBezTo>
                    <a:pt x="23412" y="10546"/>
                    <a:pt x="23412" y="10632"/>
                    <a:pt x="23412" y="10632"/>
                  </a:cubicBezTo>
                  <a:cubicBezTo>
                    <a:pt x="23223" y="10873"/>
                    <a:pt x="23120" y="10478"/>
                    <a:pt x="23291" y="10632"/>
                  </a:cubicBezTo>
                  <a:cubicBezTo>
                    <a:pt x="23463" y="10787"/>
                    <a:pt x="23291" y="10478"/>
                    <a:pt x="23291" y="10632"/>
                  </a:cubicBezTo>
                  <a:cubicBezTo>
                    <a:pt x="23291" y="10787"/>
                    <a:pt x="23291" y="10632"/>
                    <a:pt x="23291" y="10632"/>
                  </a:cubicBezTo>
                  <a:cubicBezTo>
                    <a:pt x="23291" y="10632"/>
                    <a:pt x="23291" y="10529"/>
                    <a:pt x="23291" y="10632"/>
                  </a:cubicBezTo>
                  <a:cubicBezTo>
                    <a:pt x="23291" y="10735"/>
                    <a:pt x="23291" y="10478"/>
                    <a:pt x="23291" y="10632"/>
                  </a:cubicBezTo>
                  <a:cubicBezTo>
                    <a:pt x="23291" y="10787"/>
                    <a:pt x="23412" y="10632"/>
                    <a:pt x="23291" y="10632"/>
                  </a:cubicBezTo>
                  <a:cubicBezTo>
                    <a:pt x="23171" y="10632"/>
                    <a:pt x="23395" y="10632"/>
                    <a:pt x="23291" y="10632"/>
                  </a:cubicBezTo>
                  <a:cubicBezTo>
                    <a:pt x="23188" y="10632"/>
                    <a:pt x="23120" y="10478"/>
                    <a:pt x="23291" y="10478"/>
                  </a:cubicBezTo>
                  <a:cubicBezTo>
                    <a:pt x="22999" y="10375"/>
                    <a:pt x="23395" y="10375"/>
                    <a:pt x="23291" y="10581"/>
                  </a:cubicBezTo>
                  <a:cubicBezTo>
                    <a:pt x="23291" y="10581"/>
                    <a:pt x="23291" y="10581"/>
                    <a:pt x="23291" y="10581"/>
                  </a:cubicBezTo>
                  <a:cubicBezTo>
                    <a:pt x="23291" y="10581"/>
                    <a:pt x="23291" y="10701"/>
                    <a:pt x="23291" y="10581"/>
                  </a:cubicBezTo>
                  <a:cubicBezTo>
                    <a:pt x="23302" y="10608"/>
                    <a:pt x="23302" y="10639"/>
                    <a:pt x="23291" y="10667"/>
                  </a:cubicBezTo>
                  <a:cubicBezTo>
                    <a:pt x="23291" y="10667"/>
                    <a:pt x="23291" y="10753"/>
                    <a:pt x="23291" y="10787"/>
                  </a:cubicBezTo>
                  <a:cubicBezTo>
                    <a:pt x="23291" y="10821"/>
                    <a:pt x="23291" y="10787"/>
                    <a:pt x="23291" y="10873"/>
                  </a:cubicBezTo>
                  <a:cubicBezTo>
                    <a:pt x="23311" y="10799"/>
                    <a:pt x="23361" y="10737"/>
                    <a:pt x="23429" y="10701"/>
                  </a:cubicBezTo>
                  <a:cubicBezTo>
                    <a:pt x="23429" y="10907"/>
                    <a:pt x="23429" y="10478"/>
                    <a:pt x="23601" y="10461"/>
                  </a:cubicBezTo>
                  <a:cubicBezTo>
                    <a:pt x="23772" y="10443"/>
                    <a:pt x="23601" y="10581"/>
                    <a:pt x="23601" y="10598"/>
                  </a:cubicBezTo>
                  <a:cubicBezTo>
                    <a:pt x="23601" y="10615"/>
                    <a:pt x="23687" y="10461"/>
                    <a:pt x="23790" y="10478"/>
                  </a:cubicBezTo>
                  <a:cubicBezTo>
                    <a:pt x="23832" y="10576"/>
                    <a:pt x="23832" y="10688"/>
                    <a:pt x="23790" y="10787"/>
                  </a:cubicBezTo>
                  <a:cubicBezTo>
                    <a:pt x="23893" y="10701"/>
                    <a:pt x="23790" y="10461"/>
                    <a:pt x="23961" y="10512"/>
                  </a:cubicBezTo>
                  <a:cubicBezTo>
                    <a:pt x="24133" y="10564"/>
                    <a:pt x="24116" y="10375"/>
                    <a:pt x="24099" y="10512"/>
                  </a:cubicBezTo>
                  <a:cubicBezTo>
                    <a:pt x="24082" y="10649"/>
                    <a:pt x="24356" y="10220"/>
                    <a:pt x="24322" y="10512"/>
                  </a:cubicBezTo>
                  <a:cubicBezTo>
                    <a:pt x="24288" y="10804"/>
                    <a:pt x="24442" y="10357"/>
                    <a:pt x="24528" y="10512"/>
                  </a:cubicBezTo>
                  <a:cubicBezTo>
                    <a:pt x="24614" y="10667"/>
                    <a:pt x="24356" y="10667"/>
                    <a:pt x="24528" y="10632"/>
                  </a:cubicBezTo>
                  <a:cubicBezTo>
                    <a:pt x="24700" y="10598"/>
                    <a:pt x="24425" y="10632"/>
                    <a:pt x="24528" y="10804"/>
                  </a:cubicBezTo>
                  <a:cubicBezTo>
                    <a:pt x="24631" y="10976"/>
                    <a:pt x="24528" y="10804"/>
                    <a:pt x="24528" y="10804"/>
                  </a:cubicBezTo>
                  <a:cubicBezTo>
                    <a:pt x="24751" y="10804"/>
                    <a:pt x="24614" y="10804"/>
                    <a:pt x="24528" y="10924"/>
                  </a:cubicBezTo>
                  <a:cubicBezTo>
                    <a:pt x="24442" y="11045"/>
                    <a:pt x="24528" y="11079"/>
                    <a:pt x="24528" y="11148"/>
                  </a:cubicBezTo>
                  <a:cubicBezTo>
                    <a:pt x="24374" y="10924"/>
                    <a:pt x="24528" y="11440"/>
                    <a:pt x="24288" y="11148"/>
                  </a:cubicBezTo>
                  <a:cubicBezTo>
                    <a:pt x="24288" y="11268"/>
                    <a:pt x="24064" y="11268"/>
                    <a:pt x="23978" y="11388"/>
                  </a:cubicBezTo>
                  <a:lnTo>
                    <a:pt x="23978" y="11388"/>
                  </a:lnTo>
                  <a:cubicBezTo>
                    <a:pt x="23978" y="11388"/>
                    <a:pt x="23841" y="11388"/>
                    <a:pt x="23790" y="11388"/>
                  </a:cubicBezTo>
                  <a:cubicBezTo>
                    <a:pt x="23738" y="11388"/>
                    <a:pt x="23790" y="11388"/>
                    <a:pt x="23790" y="11388"/>
                  </a:cubicBezTo>
                  <a:cubicBezTo>
                    <a:pt x="23790" y="11388"/>
                    <a:pt x="23738" y="11594"/>
                    <a:pt x="23669" y="11440"/>
                  </a:cubicBezTo>
                  <a:close/>
                  <a:moveTo>
                    <a:pt x="38184" y="41533"/>
                  </a:moveTo>
                  <a:cubicBezTo>
                    <a:pt x="38063" y="41224"/>
                    <a:pt x="38579" y="40880"/>
                    <a:pt x="38802" y="40640"/>
                  </a:cubicBezTo>
                  <a:cubicBezTo>
                    <a:pt x="39025" y="40399"/>
                    <a:pt x="39025" y="39729"/>
                    <a:pt x="39540" y="39523"/>
                  </a:cubicBezTo>
                  <a:lnTo>
                    <a:pt x="39540" y="39523"/>
                  </a:lnTo>
                  <a:cubicBezTo>
                    <a:pt x="39540" y="39523"/>
                    <a:pt x="39540" y="39523"/>
                    <a:pt x="39540" y="39523"/>
                  </a:cubicBezTo>
                  <a:cubicBezTo>
                    <a:pt x="39540" y="39523"/>
                    <a:pt x="39644" y="39523"/>
                    <a:pt x="39781" y="39386"/>
                  </a:cubicBezTo>
                  <a:cubicBezTo>
                    <a:pt x="39661" y="39678"/>
                    <a:pt x="40073" y="39077"/>
                    <a:pt x="39953" y="39386"/>
                  </a:cubicBezTo>
                  <a:cubicBezTo>
                    <a:pt x="39832" y="39695"/>
                    <a:pt x="39953" y="39386"/>
                    <a:pt x="39953" y="39386"/>
                  </a:cubicBezTo>
                  <a:cubicBezTo>
                    <a:pt x="39953" y="39386"/>
                    <a:pt x="39953" y="39386"/>
                    <a:pt x="39953" y="39248"/>
                  </a:cubicBezTo>
                  <a:cubicBezTo>
                    <a:pt x="39953" y="39111"/>
                    <a:pt x="40073" y="39248"/>
                    <a:pt x="39953" y="39248"/>
                  </a:cubicBezTo>
                  <a:lnTo>
                    <a:pt x="39953" y="39248"/>
                  </a:lnTo>
                  <a:cubicBezTo>
                    <a:pt x="39953" y="39248"/>
                    <a:pt x="39953" y="39248"/>
                    <a:pt x="39953" y="39369"/>
                  </a:cubicBezTo>
                  <a:cubicBezTo>
                    <a:pt x="39953" y="39489"/>
                    <a:pt x="40090" y="39197"/>
                    <a:pt x="40107" y="39266"/>
                  </a:cubicBezTo>
                  <a:cubicBezTo>
                    <a:pt x="40124" y="39334"/>
                    <a:pt x="40107" y="39266"/>
                    <a:pt x="40107" y="39145"/>
                  </a:cubicBezTo>
                  <a:cubicBezTo>
                    <a:pt x="40107" y="39025"/>
                    <a:pt x="40262" y="39145"/>
                    <a:pt x="40107" y="39042"/>
                  </a:cubicBezTo>
                  <a:cubicBezTo>
                    <a:pt x="39953" y="38939"/>
                    <a:pt x="40107" y="39145"/>
                    <a:pt x="40262" y="38939"/>
                  </a:cubicBezTo>
                  <a:cubicBezTo>
                    <a:pt x="40416" y="38733"/>
                    <a:pt x="40537" y="38733"/>
                    <a:pt x="40485" y="38561"/>
                  </a:cubicBezTo>
                  <a:cubicBezTo>
                    <a:pt x="40434" y="38389"/>
                    <a:pt x="40588" y="38561"/>
                    <a:pt x="40674" y="38441"/>
                  </a:cubicBezTo>
                  <a:cubicBezTo>
                    <a:pt x="40760" y="38321"/>
                    <a:pt x="40674" y="38664"/>
                    <a:pt x="40674" y="38664"/>
                  </a:cubicBezTo>
                  <a:cubicBezTo>
                    <a:pt x="41344" y="38922"/>
                    <a:pt x="37514" y="43560"/>
                    <a:pt x="38184" y="41533"/>
                  </a:cubicBezTo>
                  <a:close/>
                  <a:moveTo>
                    <a:pt x="49159" y="26589"/>
                  </a:moveTo>
                  <a:cubicBezTo>
                    <a:pt x="49159" y="26589"/>
                    <a:pt x="49159" y="26589"/>
                    <a:pt x="49159" y="26589"/>
                  </a:cubicBezTo>
                  <a:cubicBezTo>
                    <a:pt x="48810" y="27921"/>
                    <a:pt x="48552" y="29276"/>
                    <a:pt x="48386" y="30643"/>
                  </a:cubicBezTo>
                  <a:cubicBezTo>
                    <a:pt x="48386" y="30540"/>
                    <a:pt x="48215" y="30780"/>
                    <a:pt x="48215" y="30849"/>
                  </a:cubicBezTo>
                  <a:cubicBezTo>
                    <a:pt x="48026" y="31570"/>
                    <a:pt x="47579" y="26864"/>
                    <a:pt x="47613" y="26452"/>
                  </a:cubicBezTo>
                  <a:cubicBezTo>
                    <a:pt x="47459" y="26452"/>
                    <a:pt x="47613" y="26263"/>
                    <a:pt x="47613" y="26160"/>
                  </a:cubicBezTo>
                  <a:cubicBezTo>
                    <a:pt x="47613" y="26057"/>
                    <a:pt x="47528" y="26160"/>
                    <a:pt x="47528" y="26160"/>
                  </a:cubicBezTo>
                  <a:cubicBezTo>
                    <a:pt x="47528" y="26555"/>
                    <a:pt x="47373" y="27362"/>
                    <a:pt x="47098" y="26606"/>
                  </a:cubicBezTo>
                  <a:cubicBezTo>
                    <a:pt x="47098" y="26606"/>
                    <a:pt x="46909" y="26332"/>
                    <a:pt x="46995" y="26383"/>
                  </a:cubicBezTo>
                  <a:lnTo>
                    <a:pt x="46995" y="26383"/>
                  </a:lnTo>
                  <a:cubicBezTo>
                    <a:pt x="46995" y="26538"/>
                    <a:pt x="46995" y="26383"/>
                    <a:pt x="46995" y="26383"/>
                  </a:cubicBezTo>
                  <a:cubicBezTo>
                    <a:pt x="46995" y="26383"/>
                    <a:pt x="47201" y="26074"/>
                    <a:pt x="47081" y="26040"/>
                  </a:cubicBezTo>
                  <a:cubicBezTo>
                    <a:pt x="47081" y="26383"/>
                    <a:pt x="46583" y="26040"/>
                    <a:pt x="46806" y="25833"/>
                  </a:cubicBezTo>
                  <a:cubicBezTo>
                    <a:pt x="46806" y="25833"/>
                    <a:pt x="46806" y="25937"/>
                    <a:pt x="46686" y="25971"/>
                  </a:cubicBezTo>
                  <a:cubicBezTo>
                    <a:pt x="46566" y="26005"/>
                    <a:pt x="46686" y="25885"/>
                    <a:pt x="46549" y="25971"/>
                  </a:cubicBezTo>
                  <a:cubicBezTo>
                    <a:pt x="46411" y="26057"/>
                    <a:pt x="46549" y="25696"/>
                    <a:pt x="46428" y="25559"/>
                  </a:cubicBezTo>
                  <a:cubicBezTo>
                    <a:pt x="46239" y="25730"/>
                    <a:pt x="46428" y="25318"/>
                    <a:pt x="46119" y="25438"/>
                  </a:cubicBezTo>
                  <a:cubicBezTo>
                    <a:pt x="46119" y="25438"/>
                    <a:pt x="45965" y="25524"/>
                    <a:pt x="45913" y="25610"/>
                  </a:cubicBezTo>
                  <a:cubicBezTo>
                    <a:pt x="45861" y="25696"/>
                    <a:pt x="45810" y="25610"/>
                    <a:pt x="45741" y="25610"/>
                  </a:cubicBezTo>
                  <a:cubicBezTo>
                    <a:pt x="45673" y="25610"/>
                    <a:pt x="45604" y="25610"/>
                    <a:pt x="45552" y="25765"/>
                  </a:cubicBezTo>
                  <a:cubicBezTo>
                    <a:pt x="45501" y="25919"/>
                    <a:pt x="45552" y="25765"/>
                    <a:pt x="45432" y="25765"/>
                  </a:cubicBezTo>
                  <a:cubicBezTo>
                    <a:pt x="45312" y="25765"/>
                    <a:pt x="45260" y="25885"/>
                    <a:pt x="45209" y="25679"/>
                  </a:cubicBezTo>
                  <a:cubicBezTo>
                    <a:pt x="45209" y="25782"/>
                    <a:pt x="44814" y="25679"/>
                    <a:pt x="44728" y="25679"/>
                  </a:cubicBezTo>
                  <a:cubicBezTo>
                    <a:pt x="44642" y="25679"/>
                    <a:pt x="44573" y="25679"/>
                    <a:pt x="44453" y="25679"/>
                  </a:cubicBezTo>
                  <a:cubicBezTo>
                    <a:pt x="44178" y="24683"/>
                    <a:pt x="44144" y="25541"/>
                    <a:pt x="43663" y="25404"/>
                  </a:cubicBezTo>
                  <a:cubicBezTo>
                    <a:pt x="43560" y="25404"/>
                    <a:pt x="43251" y="25284"/>
                    <a:pt x="43285" y="25146"/>
                  </a:cubicBezTo>
                  <a:cubicBezTo>
                    <a:pt x="43319" y="25009"/>
                    <a:pt x="42838" y="25146"/>
                    <a:pt x="42804" y="24803"/>
                  </a:cubicBezTo>
                  <a:cubicBezTo>
                    <a:pt x="42804" y="24803"/>
                    <a:pt x="42684" y="24803"/>
                    <a:pt x="42804" y="24803"/>
                  </a:cubicBezTo>
                  <a:cubicBezTo>
                    <a:pt x="42632" y="24803"/>
                    <a:pt x="42564" y="24185"/>
                    <a:pt x="42375" y="24425"/>
                  </a:cubicBezTo>
                  <a:cubicBezTo>
                    <a:pt x="42375" y="24339"/>
                    <a:pt x="42220" y="24425"/>
                    <a:pt x="42272" y="24270"/>
                  </a:cubicBezTo>
                  <a:cubicBezTo>
                    <a:pt x="42323" y="24116"/>
                    <a:pt x="42272" y="24270"/>
                    <a:pt x="42272" y="24270"/>
                  </a:cubicBezTo>
                  <a:cubicBezTo>
                    <a:pt x="42272" y="24270"/>
                    <a:pt x="42272" y="24494"/>
                    <a:pt x="42272" y="24270"/>
                  </a:cubicBezTo>
                  <a:cubicBezTo>
                    <a:pt x="42272" y="24047"/>
                    <a:pt x="42272" y="24580"/>
                    <a:pt x="42100" y="24597"/>
                  </a:cubicBezTo>
                  <a:lnTo>
                    <a:pt x="42220" y="24597"/>
                  </a:lnTo>
                  <a:lnTo>
                    <a:pt x="42220" y="24597"/>
                  </a:lnTo>
                  <a:cubicBezTo>
                    <a:pt x="42220" y="24597"/>
                    <a:pt x="42220" y="24700"/>
                    <a:pt x="42220" y="24734"/>
                  </a:cubicBezTo>
                  <a:cubicBezTo>
                    <a:pt x="42220" y="24769"/>
                    <a:pt x="42220" y="24837"/>
                    <a:pt x="42220" y="24734"/>
                  </a:cubicBezTo>
                  <a:cubicBezTo>
                    <a:pt x="42259" y="24896"/>
                    <a:pt x="42365" y="25033"/>
                    <a:pt x="42512" y="25112"/>
                  </a:cubicBezTo>
                  <a:cubicBezTo>
                    <a:pt x="42512" y="25112"/>
                    <a:pt x="42821" y="25438"/>
                    <a:pt x="42770" y="25610"/>
                  </a:cubicBezTo>
                  <a:lnTo>
                    <a:pt x="42770" y="25610"/>
                  </a:lnTo>
                  <a:cubicBezTo>
                    <a:pt x="42993" y="25851"/>
                    <a:pt x="43027" y="26314"/>
                    <a:pt x="43045" y="25782"/>
                  </a:cubicBezTo>
                  <a:cubicBezTo>
                    <a:pt x="43045" y="25645"/>
                    <a:pt x="43045" y="25438"/>
                    <a:pt x="43165" y="25627"/>
                  </a:cubicBezTo>
                  <a:cubicBezTo>
                    <a:pt x="43133" y="25786"/>
                    <a:pt x="43133" y="25950"/>
                    <a:pt x="43165" y="26108"/>
                  </a:cubicBezTo>
                  <a:cubicBezTo>
                    <a:pt x="43165" y="26108"/>
                    <a:pt x="43165" y="26297"/>
                    <a:pt x="43165" y="26211"/>
                  </a:cubicBezTo>
                  <a:lnTo>
                    <a:pt x="43165" y="26366"/>
                  </a:lnTo>
                  <a:cubicBezTo>
                    <a:pt x="43371" y="26177"/>
                    <a:pt x="43646" y="26366"/>
                    <a:pt x="43766" y="26091"/>
                  </a:cubicBezTo>
                  <a:lnTo>
                    <a:pt x="43766" y="26091"/>
                  </a:lnTo>
                  <a:cubicBezTo>
                    <a:pt x="43766" y="25833"/>
                    <a:pt x="44024" y="25593"/>
                    <a:pt x="44058" y="25318"/>
                  </a:cubicBezTo>
                  <a:lnTo>
                    <a:pt x="44058" y="25318"/>
                  </a:lnTo>
                  <a:cubicBezTo>
                    <a:pt x="44058" y="25318"/>
                    <a:pt x="44058" y="25146"/>
                    <a:pt x="44058" y="25215"/>
                  </a:cubicBezTo>
                  <a:cubicBezTo>
                    <a:pt x="44058" y="25284"/>
                    <a:pt x="44058" y="25559"/>
                    <a:pt x="44058" y="25507"/>
                  </a:cubicBezTo>
                  <a:cubicBezTo>
                    <a:pt x="44058" y="25851"/>
                    <a:pt x="44247" y="26280"/>
                    <a:pt x="44642" y="26091"/>
                  </a:cubicBezTo>
                  <a:cubicBezTo>
                    <a:pt x="44947" y="26440"/>
                    <a:pt x="44947" y="26961"/>
                    <a:pt x="44642" y="27311"/>
                  </a:cubicBezTo>
                  <a:cubicBezTo>
                    <a:pt x="44642" y="27105"/>
                    <a:pt x="44487" y="27757"/>
                    <a:pt x="44642" y="27877"/>
                  </a:cubicBezTo>
                  <a:cubicBezTo>
                    <a:pt x="44230" y="27877"/>
                    <a:pt x="44505" y="28290"/>
                    <a:pt x="44109" y="28376"/>
                  </a:cubicBezTo>
                  <a:cubicBezTo>
                    <a:pt x="44109" y="28496"/>
                    <a:pt x="44109" y="28599"/>
                    <a:pt x="44109" y="28719"/>
                  </a:cubicBezTo>
                  <a:cubicBezTo>
                    <a:pt x="43847" y="28757"/>
                    <a:pt x="43612" y="28900"/>
                    <a:pt x="43457" y="29114"/>
                  </a:cubicBezTo>
                  <a:cubicBezTo>
                    <a:pt x="43457" y="29475"/>
                    <a:pt x="42924" y="29595"/>
                    <a:pt x="42684" y="29767"/>
                  </a:cubicBezTo>
                  <a:cubicBezTo>
                    <a:pt x="42443" y="29939"/>
                    <a:pt x="42495" y="30042"/>
                    <a:pt x="42357" y="29990"/>
                  </a:cubicBezTo>
                  <a:cubicBezTo>
                    <a:pt x="42248" y="30193"/>
                    <a:pt x="42016" y="30299"/>
                    <a:pt x="41791" y="30248"/>
                  </a:cubicBezTo>
                  <a:cubicBezTo>
                    <a:pt x="41649" y="30457"/>
                    <a:pt x="41423" y="30595"/>
                    <a:pt x="41172" y="30626"/>
                  </a:cubicBezTo>
                  <a:cubicBezTo>
                    <a:pt x="41035" y="30317"/>
                    <a:pt x="41172" y="29904"/>
                    <a:pt x="40897" y="29629"/>
                  </a:cubicBezTo>
                  <a:cubicBezTo>
                    <a:pt x="41155" y="29011"/>
                    <a:pt x="40262" y="28204"/>
                    <a:pt x="39850" y="27706"/>
                  </a:cubicBezTo>
                  <a:cubicBezTo>
                    <a:pt x="39850" y="27293"/>
                    <a:pt x="39747" y="26589"/>
                    <a:pt x="39283" y="26606"/>
                  </a:cubicBezTo>
                  <a:cubicBezTo>
                    <a:pt x="39111" y="25799"/>
                    <a:pt x="38166" y="25370"/>
                    <a:pt x="38338" y="24751"/>
                  </a:cubicBezTo>
                  <a:cubicBezTo>
                    <a:pt x="38218" y="24975"/>
                    <a:pt x="38338" y="25249"/>
                    <a:pt x="38201" y="25438"/>
                  </a:cubicBezTo>
                  <a:cubicBezTo>
                    <a:pt x="37948" y="25233"/>
                    <a:pt x="37727" y="24989"/>
                    <a:pt x="37548" y="24717"/>
                  </a:cubicBezTo>
                  <a:cubicBezTo>
                    <a:pt x="37840" y="25370"/>
                    <a:pt x="38304" y="26022"/>
                    <a:pt x="38682" y="26692"/>
                  </a:cubicBezTo>
                  <a:lnTo>
                    <a:pt x="38682" y="26692"/>
                  </a:lnTo>
                  <a:cubicBezTo>
                    <a:pt x="38718" y="26746"/>
                    <a:pt x="38765" y="26793"/>
                    <a:pt x="38819" y="26830"/>
                  </a:cubicBezTo>
                  <a:cubicBezTo>
                    <a:pt x="38819" y="26830"/>
                    <a:pt x="38716" y="26830"/>
                    <a:pt x="38699" y="26830"/>
                  </a:cubicBezTo>
                  <a:cubicBezTo>
                    <a:pt x="38699" y="27328"/>
                    <a:pt x="39231" y="27311"/>
                    <a:pt x="39317" y="27826"/>
                  </a:cubicBezTo>
                  <a:cubicBezTo>
                    <a:pt x="39180" y="27826"/>
                    <a:pt x="39420" y="28187"/>
                    <a:pt x="39317" y="28376"/>
                  </a:cubicBezTo>
                  <a:cubicBezTo>
                    <a:pt x="39214" y="28565"/>
                    <a:pt x="39644" y="28719"/>
                    <a:pt x="39712" y="28891"/>
                  </a:cubicBezTo>
                  <a:cubicBezTo>
                    <a:pt x="39781" y="29063"/>
                    <a:pt x="39884" y="29561"/>
                    <a:pt x="40021" y="29715"/>
                  </a:cubicBezTo>
                  <a:cubicBezTo>
                    <a:pt x="40159" y="29870"/>
                    <a:pt x="40142" y="30007"/>
                    <a:pt x="40021" y="29801"/>
                  </a:cubicBezTo>
                  <a:cubicBezTo>
                    <a:pt x="39901" y="29595"/>
                    <a:pt x="40021" y="30042"/>
                    <a:pt x="40193" y="29939"/>
                  </a:cubicBezTo>
                  <a:cubicBezTo>
                    <a:pt x="40571" y="29939"/>
                    <a:pt x="40708" y="30591"/>
                    <a:pt x="40932" y="30626"/>
                  </a:cubicBezTo>
                  <a:cubicBezTo>
                    <a:pt x="41155" y="30660"/>
                    <a:pt x="40932" y="30746"/>
                    <a:pt x="41035" y="30746"/>
                  </a:cubicBezTo>
                  <a:cubicBezTo>
                    <a:pt x="41037" y="30889"/>
                    <a:pt x="40935" y="31013"/>
                    <a:pt x="40794" y="31038"/>
                  </a:cubicBezTo>
                  <a:cubicBezTo>
                    <a:pt x="41035" y="31038"/>
                    <a:pt x="41086" y="31364"/>
                    <a:pt x="41327" y="31450"/>
                  </a:cubicBezTo>
                  <a:cubicBezTo>
                    <a:pt x="41782" y="31205"/>
                    <a:pt x="42267" y="31020"/>
                    <a:pt x="42770" y="30901"/>
                  </a:cubicBezTo>
                  <a:cubicBezTo>
                    <a:pt x="42857" y="30834"/>
                    <a:pt x="42933" y="30752"/>
                    <a:pt x="42993" y="30660"/>
                  </a:cubicBezTo>
                  <a:cubicBezTo>
                    <a:pt x="43165" y="30660"/>
                    <a:pt x="42993" y="31021"/>
                    <a:pt x="42993" y="31210"/>
                  </a:cubicBezTo>
                  <a:cubicBezTo>
                    <a:pt x="42993" y="31399"/>
                    <a:pt x="42993" y="31210"/>
                    <a:pt x="42993" y="31210"/>
                  </a:cubicBezTo>
                  <a:cubicBezTo>
                    <a:pt x="42684" y="33580"/>
                    <a:pt x="39163" y="34989"/>
                    <a:pt x="38922" y="37033"/>
                  </a:cubicBezTo>
                  <a:cubicBezTo>
                    <a:pt x="38922" y="37033"/>
                    <a:pt x="38716" y="37204"/>
                    <a:pt x="38802" y="37307"/>
                  </a:cubicBezTo>
                  <a:cubicBezTo>
                    <a:pt x="38888" y="37410"/>
                    <a:pt x="38596" y="37874"/>
                    <a:pt x="38802" y="38012"/>
                  </a:cubicBezTo>
                  <a:cubicBezTo>
                    <a:pt x="38630" y="38407"/>
                    <a:pt x="38493" y="38991"/>
                    <a:pt x="38355" y="39248"/>
                  </a:cubicBezTo>
                  <a:cubicBezTo>
                    <a:pt x="38218" y="39506"/>
                    <a:pt x="38149" y="39369"/>
                    <a:pt x="38355" y="39351"/>
                  </a:cubicBezTo>
                  <a:cubicBezTo>
                    <a:pt x="38063" y="39781"/>
                    <a:pt x="37514" y="39901"/>
                    <a:pt x="37119" y="40193"/>
                  </a:cubicBezTo>
                  <a:lnTo>
                    <a:pt x="37119" y="40193"/>
                  </a:lnTo>
                  <a:cubicBezTo>
                    <a:pt x="36902" y="40432"/>
                    <a:pt x="36622" y="40604"/>
                    <a:pt x="36311" y="40691"/>
                  </a:cubicBezTo>
                  <a:cubicBezTo>
                    <a:pt x="36339" y="40751"/>
                    <a:pt x="36339" y="40820"/>
                    <a:pt x="36311" y="40880"/>
                  </a:cubicBezTo>
                  <a:cubicBezTo>
                    <a:pt x="36311" y="40880"/>
                    <a:pt x="36311" y="41000"/>
                    <a:pt x="36311" y="41035"/>
                  </a:cubicBezTo>
                  <a:cubicBezTo>
                    <a:pt x="36311" y="41069"/>
                    <a:pt x="36311" y="41292"/>
                    <a:pt x="36311" y="41395"/>
                  </a:cubicBezTo>
                  <a:cubicBezTo>
                    <a:pt x="36311" y="41498"/>
                    <a:pt x="36311" y="41310"/>
                    <a:pt x="36311" y="41292"/>
                  </a:cubicBezTo>
                  <a:lnTo>
                    <a:pt x="36311" y="41292"/>
                  </a:lnTo>
                  <a:lnTo>
                    <a:pt x="36311" y="41292"/>
                  </a:lnTo>
                  <a:cubicBezTo>
                    <a:pt x="36311" y="41447"/>
                    <a:pt x="36122" y="41567"/>
                    <a:pt x="36054" y="41705"/>
                  </a:cubicBezTo>
                  <a:lnTo>
                    <a:pt x="36054" y="41705"/>
                  </a:lnTo>
                  <a:cubicBezTo>
                    <a:pt x="35865" y="42117"/>
                    <a:pt x="35126" y="41997"/>
                    <a:pt x="35006" y="42392"/>
                  </a:cubicBezTo>
                  <a:lnTo>
                    <a:pt x="35126" y="42392"/>
                  </a:lnTo>
                  <a:cubicBezTo>
                    <a:pt x="35084" y="42471"/>
                    <a:pt x="35025" y="42542"/>
                    <a:pt x="34954" y="42598"/>
                  </a:cubicBezTo>
                  <a:lnTo>
                    <a:pt x="34954" y="42598"/>
                  </a:lnTo>
                  <a:cubicBezTo>
                    <a:pt x="34162" y="43425"/>
                    <a:pt x="33158" y="44019"/>
                    <a:pt x="32051" y="44315"/>
                  </a:cubicBezTo>
                  <a:cubicBezTo>
                    <a:pt x="31588" y="44161"/>
                    <a:pt x="31124" y="44453"/>
                    <a:pt x="30660" y="44418"/>
                  </a:cubicBezTo>
                  <a:cubicBezTo>
                    <a:pt x="30660" y="44333"/>
                    <a:pt x="30660" y="44418"/>
                    <a:pt x="30660" y="44418"/>
                  </a:cubicBezTo>
                  <a:cubicBezTo>
                    <a:pt x="30660" y="44418"/>
                    <a:pt x="30557" y="44333"/>
                    <a:pt x="30660" y="44418"/>
                  </a:cubicBezTo>
                  <a:cubicBezTo>
                    <a:pt x="30763" y="44504"/>
                    <a:pt x="30798" y="44230"/>
                    <a:pt x="30660" y="44092"/>
                  </a:cubicBezTo>
                  <a:cubicBezTo>
                    <a:pt x="30987" y="43938"/>
                    <a:pt x="30660" y="43508"/>
                    <a:pt x="30660" y="43199"/>
                  </a:cubicBezTo>
                  <a:cubicBezTo>
                    <a:pt x="30128" y="42392"/>
                    <a:pt x="30437" y="41189"/>
                    <a:pt x="29836" y="40296"/>
                  </a:cubicBezTo>
                  <a:cubicBezTo>
                    <a:pt x="29836" y="39369"/>
                    <a:pt x="31210" y="38956"/>
                    <a:pt x="30591" y="38046"/>
                  </a:cubicBezTo>
                  <a:cubicBezTo>
                    <a:pt x="30866" y="37840"/>
                    <a:pt x="30591" y="37428"/>
                    <a:pt x="30471" y="37204"/>
                  </a:cubicBezTo>
                  <a:lnTo>
                    <a:pt x="30574" y="37204"/>
                  </a:lnTo>
                  <a:cubicBezTo>
                    <a:pt x="30574" y="37204"/>
                    <a:pt x="30334" y="37204"/>
                    <a:pt x="30454" y="37050"/>
                  </a:cubicBezTo>
                  <a:cubicBezTo>
                    <a:pt x="30248" y="36449"/>
                    <a:pt x="29561" y="36242"/>
                    <a:pt x="29423" y="35607"/>
                  </a:cubicBezTo>
                  <a:cubicBezTo>
                    <a:pt x="29578" y="35607"/>
                    <a:pt x="29612" y="35487"/>
                    <a:pt x="29630" y="35298"/>
                  </a:cubicBezTo>
                  <a:cubicBezTo>
                    <a:pt x="29647" y="35109"/>
                    <a:pt x="29767" y="35298"/>
                    <a:pt x="29819" y="35298"/>
                  </a:cubicBezTo>
                  <a:cubicBezTo>
                    <a:pt x="29741" y="35301"/>
                    <a:pt x="29670" y="35252"/>
                    <a:pt x="29647" y="35177"/>
                  </a:cubicBezTo>
                  <a:cubicBezTo>
                    <a:pt x="29767" y="35177"/>
                    <a:pt x="29750" y="35057"/>
                    <a:pt x="29647" y="35040"/>
                  </a:cubicBezTo>
                  <a:cubicBezTo>
                    <a:pt x="29897" y="34793"/>
                    <a:pt x="29972" y="34419"/>
                    <a:pt x="29836" y="34095"/>
                  </a:cubicBezTo>
                  <a:cubicBezTo>
                    <a:pt x="29681" y="34198"/>
                    <a:pt x="29612" y="34095"/>
                    <a:pt x="29612" y="33906"/>
                  </a:cubicBezTo>
                  <a:cubicBezTo>
                    <a:pt x="29559" y="33957"/>
                    <a:pt x="29477" y="33957"/>
                    <a:pt x="29423" y="33906"/>
                  </a:cubicBezTo>
                  <a:cubicBezTo>
                    <a:pt x="29269" y="34095"/>
                    <a:pt x="28771" y="34078"/>
                    <a:pt x="28496" y="34044"/>
                  </a:cubicBezTo>
                  <a:cubicBezTo>
                    <a:pt x="28118" y="32807"/>
                    <a:pt x="26778" y="33529"/>
                    <a:pt x="25937" y="33821"/>
                  </a:cubicBezTo>
                  <a:cubicBezTo>
                    <a:pt x="24219" y="33305"/>
                    <a:pt x="23961" y="34490"/>
                    <a:pt x="22501" y="32687"/>
                  </a:cubicBezTo>
                  <a:cubicBezTo>
                    <a:pt x="22330" y="32687"/>
                    <a:pt x="22364" y="32429"/>
                    <a:pt x="22226" y="32361"/>
                  </a:cubicBezTo>
                  <a:cubicBezTo>
                    <a:pt x="22089" y="32292"/>
                    <a:pt x="22226" y="32240"/>
                    <a:pt x="22226" y="32137"/>
                  </a:cubicBezTo>
                  <a:cubicBezTo>
                    <a:pt x="22226" y="32034"/>
                    <a:pt x="21883" y="31897"/>
                    <a:pt x="21986" y="31828"/>
                  </a:cubicBezTo>
                  <a:cubicBezTo>
                    <a:pt x="21608" y="31828"/>
                    <a:pt x="21814" y="31485"/>
                    <a:pt x="21591" y="31536"/>
                  </a:cubicBezTo>
                  <a:cubicBezTo>
                    <a:pt x="21368" y="31588"/>
                    <a:pt x="21591" y="31450"/>
                    <a:pt x="21436" y="31450"/>
                  </a:cubicBezTo>
                  <a:lnTo>
                    <a:pt x="21436" y="31450"/>
                  </a:lnTo>
                  <a:lnTo>
                    <a:pt x="21436" y="31450"/>
                  </a:lnTo>
                  <a:cubicBezTo>
                    <a:pt x="21436" y="31450"/>
                    <a:pt x="21436" y="31450"/>
                    <a:pt x="21436" y="31347"/>
                  </a:cubicBezTo>
                  <a:cubicBezTo>
                    <a:pt x="21436" y="31244"/>
                    <a:pt x="21625" y="31347"/>
                    <a:pt x="21642" y="31347"/>
                  </a:cubicBezTo>
                  <a:cubicBezTo>
                    <a:pt x="21660" y="31347"/>
                    <a:pt x="21076" y="31347"/>
                    <a:pt x="21247" y="31158"/>
                  </a:cubicBezTo>
                  <a:cubicBezTo>
                    <a:pt x="21110" y="31158"/>
                    <a:pt x="21076" y="31158"/>
                    <a:pt x="21041" y="30986"/>
                  </a:cubicBezTo>
                  <a:cubicBezTo>
                    <a:pt x="21007" y="30815"/>
                    <a:pt x="21162" y="30986"/>
                    <a:pt x="21213" y="30986"/>
                  </a:cubicBezTo>
                  <a:cubicBezTo>
                    <a:pt x="21265" y="30986"/>
                    <a:pt x="21076" y="30986"/>
                    <a:pt x="21024" y="30986"/>
                  </a:cubicBezTo>
                  <a:cubicBezTo>
                    <a:pt x="20973" y="30986"/>
                    <a:pt x="21024" y="30849"/>
                    <a:pt x="21024" y="30780"/>
                  </a:cubicBezTo>
                  <a:cubicBezTo>
                    <a:pt x="21024" y="30712"/>
                    <a:pt x="21179" y="30935"/>
                    <a:pt x="21299" y="30780"/>
                  </a:cubicBezTo>
                  <a:cubicBezTo>
                    <a:pt x="21419" y="30626"/>
                    <a:pt x="21024" y="30694"/>
                    <a:pt x="21144" y="30626"/>
                  </a:cubicBezTo>
                  <a:lnTo>
                    <a:pt x="21144" y="30626"/>
                  </a:lnTo>
                  <a:cubicBezTo>
                    <a:pt x="21144" y="30626"/>
                    <a:pt x="20990" y="30368"/>
                    <a:pt x="20921" y="30299"/>
                  </a:cubicBezTo>
                  <a:cubicBezTo>
                    <a:pt x="21365" y="29847"/>
                    <a:pt x="21523" y="29187"/>
                    <a:pt x="21333" y="28582"/>
                  </a:cubicBezTo>
                  <a:cubicBezTo>
                    <a:pt x="21471" y="28582"/>
                    <a:pt x="21333" y="28393"/>
                    <a:pt x="21436" y="28358"/>
                  </a:cubicBezTo>
                  <a:cubicBezTo>
                    <a:pt x="21539" y="28324"/>
                    <a:pt x="21265" y="28255"/>
                    <a:pt x="21247" y="28135"/>
                  </a:cubicBezTo>
                  <a:lnTo>
                    <a:pt x="21247" y="28221"/>
                  </a:lnTo>
                  <a:cubicBezTo>
                    <a:pt x="21228" y="27927"/>
                    <a:pt x="21357" y="27644"/>
                    <a:pt x="21591" y="27465"/>
                  </a:cubicBezTo>
                  <a:cubicBezTo>
                    <a:pt x="21952" y="26297"/>
                    <a:pt x="23103" y="25833"/>
                    <a:pt x="23927" y="25043"/>
                  </a:cubicBezTo>
                  <a:cubicBezTo>
                    <a:pt x="23935" y="24883"/>
                    <a:pt x="23935" y="24723"/>
                    <a:pt x="23927" y="24562"/>
                  </a:cubicBezTo>
                  <a:cubicBezTo>
                    <a:pt x="23927" y="24373"/>
                    <a:pt x="24288" y="24288"/>
                    <a:pt x="24133" y="24081"/>
                  </a:cubicBezTo>
                  <a:cubicBezTo>
                    <a:pt x="24677" y="23812"/>
                    <a:pt x="25139" y="23403"/>
                    <a:pt x="25473" y="22896"/>
                  </a:cubicBezTo>
                  <a:cubicBezTo>
                    <a:pt x="25473" y="23240"/>
                    <a:pt x="26005" y="23223"/>
                    <a:pt x="26194" y="23102"/>
                  </a:cubicBezTo>
                  <a:cubicBezTo>
                    <a:pt x="26521" y="23497"/>
                    <a:pt x="27225" y="22828"/>
                    <a:pt x="27586" y="22725"/>
                  </a:cubicBezTo>
                  <a:cubicBezTo>
                    <a:pt x="27946" y="22621"/>
                    <a:pt x="28771" y="22725"/>
                    <a:pt x="29063" y="22587"/>
                  </a:cubicBezTo>
                  <a:cubicBezTo>
                    <a:pt x="29355" y="22450"/>
                    <a:pt x="29286" y="22828"/>
                    <a:pt x="29372" y="22587"/>
                  </a:cubicBezTo>
                  <a:cubicBezTo>
                    <a:pt x="29647" y="22828"/>
                    <a:pt x="29939" y="22450"/>
                    <a:pt x="30162" y="22587"/>
                  </a:cubicBezTo>
                  <a:cubicBezTo>
                    <a:pt x="30162" y="22398"/>
                    <a:pt x="30299" y="22725"/>
                    <a:pt x="30385" y="22776"/>
                  </a:cubicBezTo>
                  <a:cubicBezTo>
                    <a:pt x="30746" y="22415"/>
                    <a:pt x="30488" y="22862"/>
                    <a:pt x="30385" y="23017"/>
                  </a:cubicBezTo>
                  <a:cubicBezTo>
                    <a:pt x="31021" y="23446"/>
                    <a:pt x="29956" y="23618"/>
                    <a:pt x="30385" y="23910"/>
                  </a:cubicBezTo>
                  <a:cubicBezTo>
                    <a:pt x="30385" y="23910"/>
                    <a:pt x="30385" y="23910"/>
                    <a:pt x="30506" y="23910"/>
                  </a:cubicBezTo>
                  <a:cubicBezTo>
                    <a:pt x="30626" y="23910"/>
                    <a:pt x="30506" y="23824"/>
                    <a:pt x="30506" y="23910"/>
                  </a:cubicBezTo>
                  <a:cubicBezTo>
                    <a:pt x="30677" y="24322"/>
                    <a:pt x="31313" y="24013"/>
                    <a:pt x="31622" y="24236"/>
                  </a:cubicBezTo>
                  <a:cubicBezTo>
                    <a:pt x="34851" y="26469"/>
                    <a:pt x="32343" y="23566"/>
                    <a:pt x="34473" y="24236"/>
                  </a:cubicBezTo>
                  <a:cubicBezTo>
                    <a:pt x="34834" y="24580"/>
                    <a:pt x="35641" y="24477"/>
                    <a:pt x="36191" y="24700"/>
                  </a:cubicBezTo>
                  <a:cubicBezTo>
                    <a:pt x="36741" y="24923"/>
                    <a:pt x="36724" y="24597"/>
                    <a:pt x="37084" y="24494"/>
                  </a:cubicBezTo>
                  <a:cubicBezTo>
                    <a:pt x="36844" y="24580"/>
                    <a:pt x="37084" y="24494"/>
                    <a:pt x="37187" y="24494"/>
                  </a:cubicBezTo>
                  <a:cubicBezTo>
                    <a:pt x="37290" y="24494"/>
                    <a:pt x="37187" y="24494"/>
                    <a:pt x="37187" y="24494"/>
                  </a:cubicBezTo>
                  <a:cubicBezTo>
                    <a:pt x="37187" y="24494"/>
                    <a:pt x="37411" y="24494"/>
                    <a:pt x="37462" y="24494"/>
                  </a:cubicBezTo>
                  <a:cubicBezTo>
                    <a:pt x="37514" y="24494"/>
                    <a:pt x="37565" y="24614"/>
                    <a:pt x="37565" y="24665"/>
                  </a:cubicBezTo>
                  <a:cubicBezTo>
                    <a:pt x="37565" y="24717"/>
                    <a:pt x="37565" y="24562"/>
                    <a:pt x="37565" y="24494"/>
                  </a:cubicBezTo>
                  <a:cubicBezTo>
                    <a:pt x="38733" y="24889"/>
                    <a:pt x="38338" y="22776"/>
                    <a:pt x="38407" y="22381"/>
                  </a:cubicBezTo>
                  <a:cubicBezTo>
                    <a:pt x="38218" y="22536"/>
                    <a:pt x="37892" y="22381"/>
                    <a:pt x="37840" y="22656"/>
                  </a:cubicBezTo>
                  <a:cubicBezTo>
                    <a:pt x="37496" y="23051"/>
                    <a:pt x="36775" y="22106"/>
                    <a:pt x="36775" y="22656"/>
                  </a:cubicBezTo>
                  <a:cubicBezTo>
                    <a:pt x="36620" y="22656"/>
                    <a:pt x="36225" y="22828"/>
                    <a:pt x="36277" y="22536"/>
                  </a:cubicBezTo>
                  <a:cubicBezTo>
                    <a:pt x="36277" y="22536"/>
                    <a:pt x="36277" y="22536"/>
                    <a:pt x="36140" y="22536"/>
                  </a:cubicBezTo>
                  <a:cubicBezTo>
                    <a:pt x="36002" y="22536"/>
                    <a:pt x="35951" y="22690"/>
                    <a:pt x="35933" y="22536"/>
                  </a:cubicBezTo>
                  <a:lnTo>
                    <a:pt x="35727" y="22536"/>
                  </a:lnTo>
                  <a:cubicBezTo>
                    <a:pt x="35727" y="22450"/>
                    <a:pt x="35951" y="22536"/>
                    <a:pt x="35951" y="22398"/>
                  </a:cubicBezTo>
                  <a:cubicBezTo>
                    <a:pt x="35951" y="22261"/>
                    <a:pt x="35556" y="22501"/>
                    <a:pt x="35762" y="22398"/>
                  </a:cubicBezTo>
                  <a:cubicBezTo>
                    <a:pt x="35521" y="22244"/>
                    <a:pt x="35762" y="22106"/>
                    <a:pt x="35401" y="22020"/>
                  </a:cubicBezTo>
                  <a:cubicBezTo>
                    <a:pt x="35040" y="21934"/>
                    <a:pt x="35401" y="21883"/>
                    <a:pt x="35401" y="21831"/>
                  </a:cubicBezTo>
                  <a:cubicBezTo>
                    <a:pt x="35401" y="21780"/>
                    <a:pt x="35401" y="21952"/>
                    <a:pt x="35573" y="21831"/>
                  </a:cubicBezTo>
                  <a:lnTo>
                    <a:pt x="35573" y="21831"/>
                  </a:lnTo>
                  <a:cubicBezTo>
                    <a:pt x="35573" y="21831"/>
                    <a:pt x="35710" y="21831"/>
                    <a:pt x="35676" y="21694"/>
                  </a:cubicBezTo>
                  <a:cubicBezTo>
                    <a:pt x="35641" y="21557"/>
                    <a:pt x="35504" y="21522"/>
                    <a:pt x="35676" y="21488"/>
                  </a:cubicBezTo>
                  <a:cubicBezTo>
                    <a:pt x="35195" y="21660"/>
                    <a:pt x="35435" y="20938"/>
                    <a:pt x="35779" y="21179"/>
                  </a:cubicBezTo>
                  <a:cubicBezTo>
                    <a:pt x="35779" y="21041"/>
                    <a:pt x="36071" y="21179"/>
                    <a:pt x="36225" y="21179"/>
                  </a:cubicBezTo>
                  <a:cubicBezTo>
                    <a:pt x="35916" y="21058"/>
                    <a:pt x="36363" y="21076"/>
                    <a:pt x="36397" y="20990"/>
                  </a:cubicBezTo>
                  <a:cubicBezTo>
                    <a:pt x="35676" y="20766"/>
                    <a:pt x="36775" y="20869"/>
                    <a:pt x="36827" y="20784"/>
                  </a:cubicBezTo>
                  <a:cubicBezTo>
                    <a:pt x="36964" y="20406"/>
                    <a:pt x="37479" y="20457"/>
                    <a:pt x="37788" y="20371"/>
                  </a:cubicBezTo>
                  <a:cubicBezTo>
                    <a:pt x="37788" y="20543"/>
                    <a:pt x="37960" y="20560"/>
                    <a:pt x="38063" y="20371"/>
                  </a:cubicBezTo>
                  <a:cubicBezTo>
                    <a:pt x="38166" y="20182"/>
                    <a:pt x="38201" y="20663"/>
                    <a:pt x="38287" y="20526"/>
                  </a:cubicBezTo>
                  <a:cubicBezTo>
                    <a:pt x="40760" y="21024"/>
                    <a:pt x="38991" y="19324"/>
                    <a:pt x="37857" y="19049"/>
                  </a:cubicBezTo>
                  <a:cubicBezTo>
                    <a:pt x="37857" y="19049"/>
                    <a:pt x="37857" y="19049"/>
                    <a:pt x="37857" y="18911"/>
                  </a:cubicBezTo>
                  <a:cubicBezTo>
                    <a:pt x="37857" y="18774"/>
                    <a:pt x="38063" y="18911"/>
                    <a:pt x="37977" y="18791"/>
                  </a:cubicBezTo>
                  <a:cubicBezTo>
                    <a:pt x="37892" y="18671"/>
                    <a:pt x="38201" y="18637"/>
                    <a:pt x="37977" y="18551"/>
                  </a:cubicBezTo>
                  <a:cubicBezTo>
                    <a:pt x="37754" y="18465"/>
                    <a:pt x="37874" y="18551"/>
                    <a:pt x="37857" y="18448"/>
                  </a:cubicBezTo>
                  <a:cubicBezTo>
                    <a:pt x="37840" y="18345"/>
                    <a:pt x="38029" y="18448"/>
                    <a:pt x="38029" y="18448"/>
                  </a:cubicBezTo>
                  <a:cubicBezTo>
                    <a:pt x="38029" y="18448"/>
                    <a:pt x="38166" y="18310"/>
                    <a:pt x="38132" y="18224"/>
                  </a:cubicBezTo>
                  <a:cubicBezTo>
                    <a:pt x="38098" y="18138"/>
                    <a:pt x="37651" y="18224"/>
                    <a:pt x="37548" y="18499"/>
                  </a:cubicBezTo>
                  <a:cubicBezTo>
                    <a:pt x="37548" y="18499"/>
                    <a:pt x="37445" y="18585"/>
                    <a:pt x="37359" y="18499"/>
                  </a:cubicBezTo>
                  <a:cubicBezTo>
                    <a:pt x="37273" y="18413"/>
                    <a:pt x="37256" y="18499"/>
                    <a:pt x="37204" y="18499"/>
                  </a:cubicBezTo>
                  <a:cubicBezTo>
                    <a:pt x="37153" y="18499"/>
                    <a:pt x="37204" y="18774"/>
                    <a:pt x="37204" y="18705"/>
                  </a:cubicBezTo>
                  <a:cubicBezTo>
                    <a:pt x="37204" y="18637"/>
                    <a:pt x="37204" y="18585"/>
                    <a:pt x="37204" y="18568"/>
                  </a:cubicBezTo>
                  <a:cubicBezTo>
                    <a:pt x="37204" y="18551"/>
                    <a:pt x="36964" y="18722"/>
                    <a:pt x="36878" y="18791"/>
                  </a:cubicBezTo>
                  <a:cubicBezTo>
                    <a:pt x="36792" y="18860"/>
                    <a:pt x="37170" y="18791"/>
                    <a:pt x="37136" y="18946"/>
                  </a:cubicBezTo>
                  <a:cubicBezTo>
                    <a:pt x="37101" y="19100"/>
                    <a:pt x="37136" y="18946"/>
                    <a:pt x="37136" y="18946"/>
                  </a:cubicBezTo>
                  <a:cubicBezTo>
                    <a:pt x="37136" y="18946"/>
                    <a:pt x="37136" y="19066"/>
                    <a:pt x="37325" y="19049"/>
                  </a:cubicBezTo>
                  <a:cubicBezTo>
                    <a:pt x="37514" y="19032"/>
                    <a:pt x="37016" y="18825"/>
                    <a:pt x="37084" y="18705"/>
                  </a:cubicBezTo>
                  <a:cubicBezTo>
                    <a:pt x="37153" y="18585"/>
                    <a:pt x="37273" y="18980"/>
                    <a:pt x="37393" y="19014"/>
                  </a:cubicBezTo>
                  <a:cubicBezTo>
                    <a:pt x="37514" y="19049"/>
                    <a:pt x="37393" y="19014"/>
                    <a:pt x="37514" y="19014"/>
                  </a:cubicBezTo>
                  <a:cubicBezTo>
                    <a:pt x="37634" y="19014"/>
                    <a:pt x="37617" y="18929"/>
                    <a:pt x="37685" y="18929"/>
                  </a:cubicBezTo>
                  <a:cubicBezTo>
                    <a:pt x="37754" y="18929"/>
                    <a:pt x="37685" y="19152"/>
                    <a:pt x="37462" y="19100"/>
                  </a:cubicBezTo>
                  <a:cubicBezTo>
                    <a:pt x="37239" y="19049"/>
                    <a:pt x="36861" y="19650"/>
                    <a:pt x="36912" y="19100"/>
                  </a:cubicBezTo>
                  <a:cubicBezTo>
                    <a:pt x="36775" y="18980"/>
                    <a:pt x="36466" y="19100"/>
                    <a:pt x="36758" y="18860"/>
                  </a:cubicBezTo>
                  <a:cubicBezTo>
                    <a:pt x="37050" y="18619"/>
                    <a:pt x="36620" y="18602"/>
                    <a:pt x="36500" y="18740"/>
                  </a:cubicBezTo>
                  <a:cubicBezTo>
                    <a:pt x="36380" y="18877"/>
                    <a:pt x="36311" y="18740"/>
                    <a:pt x="36380" y="18619"/>
                  </a:cubicBezTo>
                  <a:cubicBezTo>
                    <a:pt x="36449" y="18499"/>
                    <a:pt x="36191" y="18619"/>
                    <a:pt x="36157" y="18619"/>
                  </a:cubicBezTo>
                  <a:cubicBezTo>
                    <a:pt x="36122" y="18619"/>
                    <a:pt x="36380" y="18619"/>
                    <a:pt x="36449" y="18619"/>
                  </a:cubicBezTo>
                  <a:cubicBezTo>
                    <a:pt x="36396" y="18670"/>
                    <a:pt x="36313" y="18670"/>
                    <a:pt x="36260" y="18619"/>
                  </a:cubicBezTo>
                  <a:cubicBezTo>
                    <a:pt x="36260" y="18791"/>
                    <a:pt x="36122" y="18619"/>
                    <a:pt x="36088" y="18740"/>
                  </a:cubicBezTo>
                  <a:cubicBezTo>
                    <a:pt x="36054" y="18860"/>
                    <a:pt x="36088" y="18929"/>
                    <a:pt x="35916" y="18946"/>
                  </a:cubicBezTo>
                  <a:cubicBezTo>
                    <a:pt x="35744" y="18963"/>
                    <a:pt x="35916" y="19221"/>
                    <a:pt x="35796" y="19083"/>
                  </a:cubicBezTo>
                  <a:cubicBezTo>
                    <a:pt x="35916" y="19392"/>
                    <a:pt x="35796" y="19409"/>
                    <a:pt x="35607" y="19598"/>
                  </a:cubicBezTo>
                  <a:cubicBezTo>
                    <a:pt x="35418" y="19787"/>
                    <a:pt x="35607" y="19856"/>
                    <a:pt x="35607" y="19993"/>
                  </a:cubicBezTo>
                  <a:cubicBezTo>
                    <a:pt x="35607" y="20131"/>
                    <a:pt x="35401" y="20097"/>
                    <a:pt x="35470" y="20251"/>
                  </a:cubicBezTo>
                  <a:cubicBezTo>
                    <a:pt x="35538" y="20406"/>
                    <a:pt x="35607" y="20440"/>
                    <a:pt x="35607" y="20698"/>
                  </a:cubicBezTo>
                  <a:cubicBezTo>
                    <a:pt x="35607" y="20955"/>
                    <a:pt x="36054" y="20835"/>
                    <a:pt x="35899" y="20990"/>
                  </a:cubicBezTo>
                  <a:cubicBezTo>
                    <a:pt x="35744" y="21144"/>
                    <a:pt x="35435" y="21144"/>
                    <a:pt x="35212" y="21333"/>
                  </a:cubicBezTo>
                  <a:cubicBezTo>
                    <a:pt x="35212" y="21230"/>
                    <a:pt x="35212" y="21179"/>
                    <a:pt x="35315" y="21144"/>
                  </a:cubicBezTo>
                  <a:cubicBezTo>
                    <a:pt x="35109" y="21144"/>
                    <a:pt x="34851" y="20887"/>
                    <a:pt x="34731" y="21144"/>
                  </a:cubicBezTo>
                  <a:cubicBezTo>
                    <a:pt x="34559" y="21144"/>
                    <a:pt x="34611" y="21144"/>
                    <a:pt x="34491" y="21230"/>
                  </a:cubicBezTo>
                  <a:cubicBezTo>
                    <a:pt x="34370" y="21316"/>
                    <a:pt x="34491" y="21333"/>
                    <a:pt x="34611" y="21385"/>
                  </a:cubicBezTo>
                  <a:cubicBezTo>
                    <a:pt x="34731" y="21436"/>
                    <a:pt x="34422" y="21299"/>
                    <a:pt x="34439" y="21385"/>
                  </a:cubicBezTo>
                  <a:cubicBezTo>
                    <a:pt x="34456" y="21471"/>
                    <a:pt x="34559" y="21385"/>
                    <a:pt x="34439" y="21471"/>
                  </a:cubicBezTo>
                  <a:cubicBezTo>
                    <a:pt x="34319" y="21557"/>
                    <a:pt x="34164" y="21350"/>
                    <a:pt x="34439" y="21471"/>
                  </a:cubicBezTo>
                  <a:cubicBezTo>
                    <a:pt x="34302" y="21471"/>
                    <a:pt x="34250" y="21333"/>
                    <a:pt x="34164" y="21282"/>
                  </a:cubicBezTo>
                  <a:cubicBezTo>
                    <a:pt x="34078" y="21230"/>
                    <a:pt x="33924" y="21402"/>
                    <a:pt x="34164" y="21522"/>
                  </a:cubicBezTo>
                  <a:cubicBezTo>
                    <a:pt x="34405" y="21642"/>
                    <a:pt x="34542" y="21986"/>
                    <a:pt x="34164" y="21728"/>
                  </a:cubicBezTo>
                  <a:cubicBezTo>
                    <a:pt x="34164" y="21728"/>
                    <a:pt x="34164" y="21728"/>
                    <a:pt x="34164" y="21728"/>
                  </a:cubicBezTo>
                  <a:cubicBezTo>
                    <a:pt x="34164" y="21728"/>
                    <a:pt x="34164" y="21849"/>
                    <a:pt x="34164" y="21831"/>
                  </a:cubicBezTo>
                  <a:cubicBezTo>
                    <a:pt x="34353" y="21969"/>
                    <a:pt x="34680" y="22020"/>
                    <a:pt x="34662" y="22295"/>
                  </a:cubicBezTo>
                  <a:cubicBezTo>
                    <a:pt x="34542" y="22295"/>
                    <a:pt x="34473" y="22175"/>
                    <a:pt x="34336" y="22295"/>
                  </a:cubicBezTo>
                  <a:cubicBezTo>
                    <a:pt x="34199" y="22415"/>
                    <a:pt x="34645" y="22536"/>
                    <a:pt x="34456" y="22467"/>
                  </a:cubicBezTo>
                  <a:cubicBezTo>
                    <a:pt x="34267" y="22398"/>
                    <a:pt x="34456" y="22467"/>
                    <a:pt x="34456" y="22467"/>
                  </a:cubicBezTo>
                  <a:cubicBezTo>
                    <a:pt x="34456" y="22467"/>
                    <a:pt x="34456" y="22707"/>
                    <a:pt x="34456" y="22776"/>
                  </a:cubicBezTo>
                  <a:cubicBezTo>
                    <a:pt x="34456" y="22845"/>
                    <a:pt x="34216" y="22587"/>
                    <a:pt x="34250" y="22776"/>
                  </a:cubicBezTo>
                  <a:cubicBezTo>
                    <a:pt x="34250" y="22621"/>
                    <a:pt x="34147" y="22639"/>
                    <a:pt x="34078" y="22518"/>
                  </a:cubicBezTo>
                  <a:cubicBezTo>
                    <a:pt x="34010" y="22398"/>
                    <a:pt x="34078" y="22604"/>
                    <a:pt x="34078" y="22656"/>
                  </a:cubicBezTo>
                  <a:cubicBezTo>
                    <a:pt x="33988" y="22604"/>
                    <a:pt x="33946" y="22498"/>
                    <a:pt x="33975" y="22398"/>
                  </a:cubicBezTo>
                  <a:cubicBezTo>
                    <a:pt x="33855" y="22295"/>
                    <a:pt x="33666" y="22226"/>
                    <a:pt x="33855" y="22089"/>
                  </a:cubicBezTo>
                  <a:cubicBezTo>
                    <a:pt x="34044" y="21952"/>
                    <a:pt x="34199" y="22261"/>
                    <a:pt x="34353" y="22089"/>
                  </a:cubicBezTo>
                  <a:cubicBezTo>
                    <a:pt x="34216" y="22089"/>
                    <a:pt x="34061" y="21917"/>
                    <a:pt x="33958" y="22089"/>
                  </a:cubicBezTo>
                  <a:cubicBezTo>
                    <a:pt x="33855" y="22261"/>
                    <a:pt x="33838" y="21969"/>
                    <a:pt x="33786" y="22089"/>
                  </a:cubicBezTo>
                  <a:cubicBezTo>
                    <a:pt x="33546" y="21849"/>
                    <a:pt x="33374" y="21471"/>
                    <a:pt x="33065" y="21316"/>
                  </a:cubicBezTo>
                  <a:cubicBezTo>
                    <a:pt x="33065" y="21127"/>
                    <a:pt x="33065" y="20921"/>
                    <a:pt x="33065" y="20732"/>
                  </a:cubicBezTo>
                  <a:cubicBezTo>
                    <a:pt x="32859" y="20732"/>
                    <a:pt x="32739" y="20457"/>
                    <a:pt x="32584" y="20320"/>
                  </a:cubicBezTo>
                  <a:cubicBezTo>
                    <a:pt x="32429" y="20182"/>
                    <a:pt x="32326" y="20320"/>
                    <a:pt x="32275" y="20320"/>
                  </a:cubicBezTo>
                  <a:cubicBezTo>
                    <a:pt x="32223" y="20320"/>
                    <a:pt x="32275" y="20320"/>
                    <a:pt x="32395" y="20320"/>
                  </a:cubicBezTo>
                  <a:cubicBezTo>
                    <a:pt x="32515" y="20320"/>
                    <a:pt x="32103" y="20062"/>
                    <a:pt x="31931" y="20131"/>
                  </a:cubicBezTo>
                  <a:cubicBezTo>
                    <a:pt x="31759" y="20200"/>
                    <a:pt x="31416" y="19839"/>
                    <a:pt x="31742" y="19856"/>
                  </a:cubicBezTo>
                  <a:cubicBezTo>
                    <a:pt x="31347" y="19616"/>
                    <a:pt x="31536" y="19135"/>
                    <a:pt x="31175" y="19633"/>
                  </a:cubicBezTo>
                  <a:cubicBezTo>
                    <a:pt x="31175" y="19530"/>
                    <a:pt x="31038" y="19409"/>
                    <a:pt x="31175" y="19306"/>
                  </a:cubicBezTo>
                  <a:cubicBezTo>
                    <a:pt x="31313" y="19203"/>
                    <a:pt x="30832" y="19306"/>
                    <a:pt x="30746" y="19427"/>
                  </a:cubicBezTo>
                  <a:cubicBezTo>
                    <a:pt x="30746" y="19942"/>
                    <a:pt x="31347" y="20268"/>
                    <a:pt x="31656" y="20681"/>
                  </a:cubicBezTo>
                  <a:cubicBezTo>
                    <a:pt x="31811" y="20681"/>
                    <a:pt x="32223" y="20681"/>
                    <a:pt x="31983" y="20887"/>
                  </a:cubicBezTo>
                  <a:cubicBezTo>
                    <a:pt x="32223" y="21024"/>
                    <a:pt x="32979" y="21161"/>
                    <a:pt x="32807" y="21539"/>
                  </a:cubicBezTo>
                  <a:cubicBezTo>
                    <a:pt x="32653" y="21539"/>
                    <a:pt x="32807" y="21282"/>
                    <a:pt x="32532" y="21333"/>
                  </a:cubicBezTo>
                  <a:cubicBezTo>
                    <a:pt x="32258" y="21385"/>
                    <a:pt x="32258" y="21539"/>
                    <a:pt x="32309" y="21625"/>
                  </a:cubicBezTo>
                  <a:cubicBezTo>
                    <a:pt x="32670" y="21728"/>
                    <a:pt x="32309" y="21934"/>
                    <a:pt x="32309" y="22141"/>
                  </a:cubicBezTo>
                  <a:cubicBezTo>
                    <a:pt x="32309" y="22347"/>
                    <a:pt x="31845" y="22415"/>
                    <a:pt x="32086" y="22141"/>
                  </a:cubicBezTo>
                  <a:cubicBezTo>
                    <a:pt x="32197" y="21856"/>
                    <a:pt x="32069" y="21534"/>
                    <a:pt x="31794" y="21402"/>
                  </a:cubicBezTo>
                  <a:cubicBezTo>
                    <a:pt x="31639" y="21402"/>
                    <a:pt x="31794" y="21282"/>
                    <a:pt x="31656" y="21230"/>
                  </a:cubicBezTo>
                  <a:cubicBezTo>
                    <a:pt x="31518" y="21226"/>
                    <a:pt x="31393" y="21147"/>
                    <a:pt x="31330" y="21024"/>
                  </a:cubicBezTo>
                  <a:cubicBezTo>
                    <a:pt x="30317" y="21024"/>
                    <a:pt x="30145" y="18980"/>
                    <a:pt x="29080" y="20217"/>
                  </a:cubicBezTo>
                  <a:cubicBezTo>
                    <a:pt x="29080" y="20423"/>
                    <a:pt x="28736" y="20217"/>
                    <a:pt x="28633" y="20114"/>
                  </a:cubicBezTo>
                  <a:cubicBezTo>
                    <a:pt x="27568" y="19993"/>
                    <a:pt x="28633" y="20921"/>
                    <a:pt x="27448" y="21093"/>
                  </a:cubicBezTo>
                  <a:cubicBezTo>
                    <a:pt x="27534" y="21093"/>
                    <a:pt x="27448" y="21265"/>
                    <a:pt x="27448" y="21213"/>
                  </a:cubicBezTo>
                  <a:cubicBezTo>
                    <a:pt x="26744" y="21763"/>
                    <a:pt x="27448" y="21728"/>
                    <a:pt x="27191" y="22003"/>
                  </a:cubicBezTo>
                  <a:cubicBezTo>
                    <a:pt x="26950" y="22003"/>
                    <a:pt x="27070" y="22450"/>
                    <a:pt x="26847" y="22398"/>
                  </a:cubicBezTo>
                  <a:cubicBezTo>
                    <a:pt x="26418" y="22862"/>
                    <a:pt x="25919" y="22398"/>
                    <a:pt x="25421" y="22896"/>
                  </a:cubicBezTo>
                  <a:cubicBezTo>
                    <a:pt x="25095" y="22896"/>
                    <a:pt x="25147" y="22192"/>
                    <a:pt x="24700" y="22501"/>
                  </a:cubicBezTo>
                  <a:cubicBezTo>
                    <a:pt x="24700" y="22501"/>
                    <a:pt x="24494" y="22364"/>
                    <a:pt x="24408" y="22501"/>
                  </a:cubicBezTo>
                  <a:cubicBezTo>
                    <a:pt x="24426" y="22310"/>
                    <a:pt x="24460" y="22120"/>
                    <a:pt x="24511" y="21934"/>
                  </a:cubicBezTo>
                  <a:cubicBezTo>
                    <a:pt x="24185" y="21934"/>
                    <a:pt x="24511" y="21934"/>
                    <a:pt x="24511" y="21763"/>
                  </a:cubicBezTo>
                  <a:cubicBezTo>
                    <a:pt x="24099" y="22020"/>
                    <a:pt x="24614" y="21299"/>
                    <a:pt x="24631" y="21144"/>
                  </a:cubicBezTo>
                  <a:cubicBezTo>
                    <a:pt x="24648" y="20990"/>
                    <a:pt x="24631" y="20595"/>
                    <a:pt x="24734" y="20457"/>
                  </a:cubicBezTo>
                  <a:lnTo>
                    <a:pt x="24734" y="20457"/>
                  </a:lnTo>
                  <a:cubicBezTo>
                    <a:pt x="24734" y="20457"/>
                    <a:pt x="24734" y="20457"/>
                    <a:pt x="24734" y="20337"/>
                  </a:cubicBezTo>
                  <a:cubicBezTo>
                    <a:pt x="24734" y="20217"/>
                    <a:pt x="24734" y="20337"/>
                    <a:pt x="24734" y="20234"/>
                  </a:cubicBezTo>
                  <a:cubicBezTo>
                    <a:pt x="24734" y="20131"/>
                    <a:pt x="24940" y="20097"/>
                    <a:pt x="25026" y="20045"/>
                  </a:cubicBezTo>
                  <a:cubicBezTo>
                    <a:pt x="25112" y="19993"/>
                    <a:pt x="25404" y="20045"/>
                    <a:pt x="25490" y="20045"/>
                  </a:cubicBezTo>
                  <a:cubicBezTo>
                    <a:pt x="25851" y="20045"/>
                    <a:pt x="26246" y="20217"/>
                    <a:pt x="26607" y="20131"/>
                  </a:cubicBezTo>
                  <a:cubicBezTo>
                    <a:pt x="27242" y="20629"/>
                    <a:pt x="26847" y="18911"/>
                    <a:pt x="27276" y="19564"/>
                  </a:cubicBezTo>
                  <a:cubicBezTo>
                    <a:pt x="27276" y="19461"/>
                    <a:pt x="27173" y="19306"/>
                    <a:pt x="27053" y="19289"/>
                  </a:cubicBezTo>
                  <a:cubicBezTo>
                    <a:pt x="27225" y="19066"/>
                    <a:pt x="26899" y="19014"/>
                    <a:pt x="26813" y="18860"/>
                  </a:cubicBezTo>
                  <a:cubicBezTo>
                    <a:pt x="26727" y="18705"/>
                    <a:pt x="26813" y="18619"/>
                    <a:pt x="26950" y="18722"/>
                  </a:cubicBezTo>
                  <a:cubicBezTo>
                    <a:pt x="26847" y="18568"/>
                    <a:pt x="26727" y="18825"/>
                    <a:pt x="26727" y="18551"/>
                  </a:cubicBezTo>
                  <a:cubicBezTo>
                    <a:pt x="26607" y="18551"/>
                    <a:pt x="26400" y="18345"/>
                    <a:pt x="26229" y="18465"/>
                  </a:cubicBezTo>
                  <a:cubicBezTo>
                    <a:pt x="26057" y="18585"/>
                    <a:pt x="26229" y="18465"/>
                    <a:pt x="26229" y="18345"/>
                  </a:cubicBezTo>
                  <a:cubicBezTo>
                    <a:pt x="26229" y="18224"/>
                    <a:pt x="26332" y="18190"/>
                    <a:pt x="26229" y="18345"/>
                  </a:cubicBezTo>
                  <a:cubicBezTo>
                    <a:pt x="26126" y="18499"/>
                    <a:pt x="26229" y="18345"/>
                    <a:pt x="26229" y="18345"/>
                  </a:cubicBezTo>
                  <a:cubicBezTo>
                    <a:pt x="25851" y="18224"/>
                    <a:pt x="26435" y="18207"/>
                    <a:pt x="26555" y="18121"/>
                  </a:cubicBezTo>
                  <a:cubicBezTo>
                    <a:pt x="26692" y="18293"/>
                    <a:pt x="26795" y="18121"/>
                    <a:pt x="27019" y="18241"/>
                  </a:cubicBezTo>
                  <a:cubicBezTo>
                    <a:pt x="26989" y="18096"/>
                    <a:pt x="26949" y="17952"/>
                    <a:pt x="26899" y="17812"/>
                  </a:cubicBezTo>
                  <a:cubicBezTo>
                    <a:pt x="26899" y="17812"/>
                    <a:pt x="27053" y="17812"/>
                    <a:pt x="27105" y="17812"/>
                  </a:cubicBezTo>
                  <a:cubicBezTo>
                    <a:pt x="27156" y="17812"/>
                    <a:pt x="27397" y="18001"/>
                    <a:pt x="27500" y="17812"/>
                  </a:cubicBezTo>
                  <a:cubicBezTo>
                    <a:pt x="27259" y="17623"/>
                    <a:pt x="27775" y="17709"/>
                    <a:pt x="27775" y="17606"/>
                  </a:cubicBezTo>
                  <a:cubicBezTo>
                    <a:pt x="27775" y="17503"/>
                    <a:pt x="27860" y="17383"/>
                    <a:pt x="27895" y="17280"/>
                  </a:cubicBezTo>
                  <a:cubicBezTo>
                    <a:pt x="27929" y="17177"/>
                    <a:pt x="28204" y="16988"/>
                    <a:pt x="28444" y="17125"/>
                  </a:cubicBezTo>
                  <a:cubicBezTo>
                    <a:pt x="28273" y="17125"/>
                    <a:pt x="28221" y="16919"/>
                    <a:pt x="28444" y="17125"/>
                  </a:cubicBezTo>
                  <a:cubicBezTo>
                    <a:pt x="28668" y="17331"/>
                    <a:pt x="28324" y="17005"/>
                    <a:pt x="28547" y="17022"/>
                  </a:cubicBezTo>
                  <a:cubicBezTo>
                    <a:pt x="28187" y="16764"/>
                    <a:pt x="28925" y="16112"/>
                    <a:pt x="29286" y="16438"/>
                  </a:cubicBezTo>
                  <a:cubicBezTo>
                    <a:pt x="29028" y="16249"/>
                    <a:pt x="29389" y="16112"/>
                    <a:pt x="29458" y="16438"/>
                  </a:cubicBezTo>
                  <a:cubicBezTo>
                    <a:pt x="29458" y="16197"/>
                    <a:pt x="29458" y="16438"/>
                    <a:pt x="29595" y="16438"/>
                  </a:cubicBezTo>
                  <a:cubicBezTo>
                    <a:pt x="29441" y="16026"/>
                    <a:pt x="29750" y="16232"/>
                    <a:pt x="29956" y="16301"/>
                  </a:cubicBezTo>
                  <a:cubicBezTo>
                    <a:pt x="29389" y="16043"/>
                    <a:pt x="29544" y="15493"/>
                    <a:pt x="29389" y="15115"/>
                  </a:cubicBezTo>
                  <a:cubicBezTo>
                    <a:pt x="29630" y="15115"/>
                    <a:pt x="29527" y="14961"/>
                    <a:pt x="29664" y="15115"/>
                  </a:cubicBezTo>
                  <a:cubicBezTo>
                    <a:pt x="29664" y="14634"/>
                    <a:pt x="29836" y="15115"/>
                    <a:pt x="30025" y="15115"/>
                  </a:cubicBezTo>
                  <a:cubicBezTo>
                    <a:pt x="30025" y="15373"/>
                    <a:pt x="29527" y="15528"/>
                    <a:pt x="29922" y="16009"/>
                  </a:cubicBezTo>
                  <a:cubicBezTo>
                    <a:pt x="29922" y="15888"/>
                    <a:pt x="30334" y="16009"/>
                    <a:pt x="30059" y="16094"/>
                  </a:cubicBezTo>
                  <a:cubicBezTo>
                    <a:pt x="30591" y="16094"/>
                    <a:pt x="30385" y="15768"/>
                    <a:pt x="30883" y="16094"/>
                  </a:cubicBezTo>
                  <a:cubicBezTo>
                    <a:pt x="31124" y="16472"/>
                    <a:pt x="31656" y="15356"/>
                    <a:pt x="32103" y="15768"/>
                  </a:cubicBezTo>
                  <a:cubicBezTo>
                    <a:pt x="31828" y="15768"/>
                    <a:pt x="32103" y="16043"/>
                    <a:pt x="32326" y="15768"/>
                  </a:cubicBezTo>
                  <a:cubicBezTo>
                    <a:pt x="32299" y="15829"/>
                    <a:pt x="32250" y="15878"/>
                    <a:pt x="32189" y="15905"/>
                  </a:cubicBezTo>
                  <a:cubicBezTo>
                    <a:pt x="34078" y="15820"/>
                    <a:pt x="31656" y="15270"/>
                    <a:pt x="32704" y="14497"/>
                  </a:cubicBezTo>
                  <a:cubicBezTo>
                    <a:pt x="33082" y="15081"/>
                    <a:pt x="33202" y="14686"/>
                    <a:pt x="33031" y="14222"/>
                  </a:cubicBezTo>
                  <a:cubicBezTo>
                    <a:pt x="33031" y="14428"/>
                    <a:pt x="32739" y="14222"/>
                    <a:pt x="32842" y="14068"/>
                  </a:cubicBezTo>
                  <a:cubicBezTo>
                    <a:pt x="32532" y="14068"/>
                    <a:pt x="32842" y="13758"/>
                    <a:pt x="32842" y="13690"/>
                  </a:cubicBezTo>
                  <a:cubicBezTo>
                    <a:pt x="32842" y="13621"/>
                    <a:pt x="33082" y="13690"/>
                    <a:pt x="32979" y="13690"/>
                  </a:cubicBezTo>
                  <a:lnTo>
                    <a:pt x="33615" y="13793"/>
                  </a:lnTo>
                  <a:cubicBezTo>
                    <a:pt x="33426" y="13501"/>
                    <a:pt x="33615" y="13690"/>
                    <a:pt x="33752" y="13466"/>
                  </a:cubicBezTo>
                  <a:cubicBezTo>
                    <a:pt x="33889" y="13243"/>
                    <a:pt x="33305" y="13363"/>
                    <a:pt x="33546" y="13192"/>
                  </a:cubicBezTo>
                  <a:cubicBezTo>
                    <a:pt x="33546" y="13192"/>
                    <a:pt x="33426" y="13295"/>
                    <a:pt x="33408" y="13192"/>
                  </a:cubicBezTo>
                  <a:cubicBezTo>
                    <a:pt x="33408" y="13346"/>
                    <a:pt x="33099" y="13363"/>
                    <a:pt x="33031" y="13312"/>
                  </a:cubicBezTo>
                  <a:cubicBezTo>
                    <a:pt x="32962" y="13260"/>
                    <a:pt x="33031" y="13312"/>
                    <a:pt x="33031" y="13312"/>
                  </a:cubicBezTo>
                  <a:cubicBezTo>
                    <a:pt x="33031" y="13312"/>
                    <a:pt x="33031" y="13552"/>
                    <a:pt x="33031" y="13312"/>
                  </a:cubicBezTo>
                  <a:cubicBezTo>
                    <a:pt x="33031" y="13449"/>
                    <a:pt x="32601" y="13466"/>
                    <a:pt x="32567" y="13621"/>
                  </a:cubicBezTo>
                  <a:cubicBezTo>
                    <a:pt x="32567" y="13312"/>
                    <a:pt x="32412" y="13415"/>
                    <a:pt x="32172" y="13260"/>
                  </a:cubicBezTo>
                  <a:cubicBezTo>
                    <a:pt x="31931" y="13106"/>
                    <a:pt x="31691" y="12144"/>
                    <a:pt x="31914" y="12058"/>
                  </a:cubicBezTo>
                  <a:cubicBezTo>
                    <a:pt x="32137" y="11972"/>
                    <a:pt x="31914" y="11972"/>
                    <a:pt x="32017" y="12058"/>
                  </a:cubicBezTo>
                  <a:cubicBezTo>
                    <a:pt x="32120" y="12144"/>
                    <a:pt x="32017" y="11921"/>
                    <a:pt x="32017" y="11817"/>
                  </a:cubicBezTo>
                  <a:cubicBezTo>
                    <a:pt x="32017" y="11714"/>
                    <a:pt x="32240" y="11354"/>
                    <a:pt x="32309" y="11457"/>
                  </a:cubicBezTo>
                  <a:cubicBezTo>
                    <a:pt x="32103" y="11010"/>
                    <a:pt x="31708" y="11148"/>
                    <a:pt x="31502" y="11182"/>
                  </a:cubicBezTo>
                  <a:cubicBezTo>
                    <a:pt x="31622" y="11354"/>
                    <a:pt x="31502" y="11577"/>
                    <a:pt x="31656" y="11714"/>
                  </a:cubicBezTo>
                  <a:cubicBezTo>
                    <a:pt x="31532" y="12056"/>
                    <a:pt x="31318" y="12359"/>
                    <a:pt x="31038" y="12590"/>
                  </a:cubicBezTo>
                  <a:cubicBezTo>
                    <a:pt x="31158" y="12676"/>
                    <a:pt x="31038" y="12848"/>
                    <a:pt x="31175" y="12968"/>
                  </a:cubicBezTo>
                  <a:cubicBezTo>
                    <a:pt x="30883" y="13123"/>
                    <a:pt x="32189" y="13999"/>
                    <a:pt x="31382" y="13793"/>
                  </a:cubicBezTo>
                  <a:cubicBezTo>
                    <a:pt x="31382" y="13793"/>
                    <a:pt x="30901" y="13793"/>
                    <a:pt x="31210" y="13913"/>
                  </a:cubicBezTo>
                  <a:cubicBezTo>
                    <a:pt x="31519" y="14033"/>
                    <a:pt x="31811" y="14119"/>
                    <a:pt x="31485" y="14050"/>
                  </a:cubicBezTo>
                  <a:cubicBezTo>
                    <a:pt x="31485" y="14050"/>
                    <a:pt x="31485" y="14257"/>
                    <a:pt x="31364" y="14188"/>
                  </a:cubicBezTo>
                  <a:cubicBezTo>
                    <a:pt x="31244" y="14119"/>
                    <a:pt x="31467" y="14325"/>
                    <a:pt x="31364" y="14342"/>
                  </a:cubicBezTo>
                  <a:cubicBezTo>
                    <a:pt x="31485" y="14342"/>
                    <a:pt x="31519" y="14600"/>
                    <a:pt x="31364" y="14514"/>
                  </a:cubicBezTo>
                  <a:cubicBezTo>
                    <a:pt x="31502" y="14789"/>
                    <a:pt x="31519" y="15510"/>
                    <a:pt x="31090" y="15236"/>
                  </a:cubicBezTo>
                  <a:cubicBezTo>
                    <a:pt x="30815" y="16301"/>
                    <a:pt x="30059" y="14153"/>
                    <a:pt x="30162" y="14050"/>
                  </a:cubicBezTo>
                  <a:cubicBezTo>
                    <a:pt x="29990" y="13947"/>
                    <a:pt x="29939" y="13844"/>
                    <a:pt x="29939" y="13810"/>
                  </a:cubicBezTo>
                  <a:cubicBezTo>
                    <a:pt x="29958" y="13906"/>
                    <a:pt x="29958" y="14006"/>
                    <a:pt x="29939" y="14102"/>
                  </a:cubicBezTo>
                  <a:cubicBezTo>
                    <a:pt x="29939" y="14102"/>
                    <a:pt x="29939" y="14102"/>
                    <a:pt x="29733" y="13965"/>
                  </a:cubicBezTo>
                  <a:cubicBezTo>
                    <a:pt x="29733" y="14119"/>
                    <a:pt x="29733" y="14360"/>
                    <a:pt x="29595" y="14291"/>
                  </a:cubicBezTo>
                  <a:cubicBezTo>
                    <a:pt x="29733" y="14463"/>
                    <a:pt x="29286" y="14583"/>
                    <a:pt x="29183" y="14428"/>
                  </a:cubicBezTo>
                  <a:cubicBezTo>
                    <a:pt x="29080" y="14549"/>
                    <a:pt x="28651" y="14050"/>
                    <a:pt x="29183" y="14102"/>
                  </a:cubicBezTo>
                  <a:cubicBezTo>
                    <a:pt x="28960" y="14102"/>
                    <a:pt x="29183" y="13999"/>
                    <a:pt x="29011" y="13879"/>
                  </a:cubicBezTo>
                  <a:cubicBezTo>
                    <a:pt x="29011" y="14188"/>
                    <a:pt x="28771" y="13690"/>
                    <a:pt x="29011" y="13879"/>
                  </a:cubicBezTo>
                  <a:cubicBezTo>
                    <a:pt x="29252" y="14068"/>
                    <a:pt x="29011" y="13879"/>
                    <a:pt x="29166" y="13776"/>
                  </a:cubicBezTo>
                  <a:cubicBezTo>
                    <a:pt x="28960" y="13776"/>
                    <a:pt x="29166" y="13449"/>
                    <a:pt x="29166" y="13655"/>
                  </a:cubicBezTo>
                  <a:cubicBezTo>
                    <a:pt x="29118" y="13609"/>
                    <a:pt x="29118" y="13533"/>
                    <a:pt x="29164" y="13485"/>
                  </a:cubicBezTo>
                  <a:cubicBezTo>
                    <a:pt x="29165" y="13485"/>
                    <a:pt x="29165" y="13484"/>
                    <a:pt x="29166" y="13484"/>
                  </a:cubicBezTo>
                  <a:cubicBezTo>
                    <a:pt x="28943" y="13569"/>
                    <a:pt x="28822" y="13724"/>
                    <a:pt x="28943" y="13484"/>
                  </a:cubicBezTo>
                  <a:cubicBezTo>
                    <a:pt x="28788" y="13484"/>
                    <a:pt x="28736" y="13569"/>
                    <a:pt x="28943" y="13381"/>
                  </a:cubicBezTo>
                  <a:cubicBezTo>
                    <a:pt x="28599" y="13243"/>
                    <a:pt x="29544" y="13484"/>
                    <a:pt x="29355" y="13157"/>
                  </a:cubicBezTo>
                  <a:cubicBezTo>
                    <a:pt x="29355" y="13329"/>
                    <a:pt x="28582" y="13295"/>
                    <a:pt x="28994" y="13157"/>
                  </a:cubicBezTo>
                  <a:cubicBezTo>
                    <a:pt x="28651" y="13157"/>
                    <a:pt x="28994" y="13037"/>
                    <a:pt x="29183" y="13020"/>
                  </a:cubicBezTo>
                  <a:cubicBezTo>
                    <a:pt x="28822" y="13020"/>
                    <a:pt x="28754" y="12831"/>
                    <a:pt x="29046" y="12917"/>
                  </a:cubicBezTo>
                  <a:cubicBezTo>
                    <a:pt x="28960" y="12917"/>
                    <a:pt x="29046" y="12779"/>
                    <a:pt x="29183" y="12917"/>
                  </a:cubicBezTo>
                  <a:lnTo>
                    <a:pt x="29183" y="12797"/>
                  </a:lnTo>
                  <a:cubicBezTo>
                    <a:pt x="29183" y="12797"/>
                    <a:pt x="29183" y="12797"/>
                    <a:pt x="29441" y="12797"/>
                  </a:cubicBezTo>
                  <a:cubicBezTo>
                    <a:pt x="29114" y="12797"/>
                    <a:pt x="29303" y="12590"/>
                    <a:pt x="29578" y="12797"/>
                  </a:cubicBezTo>
                  <a:cubicBezTo>
                    <a:pt x="29217" y="12505"/>
                    <a:pt x="29578" y="12797"/>
                    <a:pt x="29578" y="12676"/>
                  </a:cubicBezTo>
                  <a:cubicBezTo>
                    <a:pt x="29578" y="12556"/>
                    <a:pt x="29922" y="12213"/>
                    <a:pt x="29767" y="12676"/>
                  </a:cubicBezTo>
                  <a:cubicBezTo>
                    <a:pt x="30007" y="12539"/>
                    <a:pt x="29973" y="12539"/>
                    <a:pt x="30059" y="12298"/>
                  </a:cubicBezTo>
                  <a:cubicBezTo>
                    <a:pt x="30145" y="12058"/>
                    <a:pt x="29784" y="12814"/>
                    <a:pt x="29801" y="12419"/>
                  </a:cubicBezTo>
                  <a:cubicBezTo>
                    <a:pt x="29664" y="12522"/>
                    <a:pt x="29801" y="12161"/>
                    <a:pt x="29801" y="12195"/>
                  </a:cubicBezTo>
                  <a:cubicBezTo>
                    <a:pt x="29801" y="12230"/>
                    <a:pt x="29990" y="12006"/>
                    <a:pt x="30145" y="11766"/>
                  </a:cubicBezTo>
                  <a:cubicBezTo>
                    <a:pt x="29990" y="11886"/>
                    <a:pt x="30059" y="11525"/>
                    <a:pt x="30145" y="11611"/>
                  </a:cubicBezTo>
                  <a:cubicBezTo>
                    <a:pt x="30231" y="11697"/>
                    <a:pt x="30145" y="11440"/>
                    <a:pt x="30145" y="11525"/>
                  </a:cubicBezTo>
                  <a:cubicBezTo>
                    <a:pt x="30042" y="11319"/>
                    <a:pt x="30145" y="11440"/>
                    <a:pt x="30145" y="11337"/>
                  </a:cubicBezTo>
                  <a:cubicBezTo>
                    <a:pt x="29939" y="11337"/>
                    <a:pt x="30145" y="11233"/>
                    <a:pt x="30025" y="11148"/>
                  </a:cubicBezTo>
                  <a:cubicBezTo>
                    <a:pt x="29904" y="11062"/>
                    <a:pt x="30025" y="10821"/>
                    <a:pt x="30334" y="10976"/>
                  </a:cubicBezTo>
                  <a:cubicBezTo>
                    <a:pt x="30179" y="10890"/>
                    <a:pt x="30111" y="10735"/>
                    <a:pt x="30334" y="10838"/>
                  </a:cubicBezTo>
                  <a:cubicBezTo>
                    <a:pt x="30557" y="10941"/>
                    <a:pt x="30162" y="10701"/>
                    <a:pt x="30334" y="10684"/>
                  </a:cubicBezTo>
                  <a:cubicBezTo>
                    <a:pt x="30042" y="10684"/>
                    <a:pt x="30334" y="10684"/>
                    <a:pt x="30334" y="10478"/>
                  </a:cubicBezTo>
                  <a:cubicBezTo>
                    <a:pt x="30523" y="10478"/>
                    <a:pt x="30488" y="10478"/>
                    <a:pt x="30506" y="10478"/>
                  </a:cubicBezTo>
                  <a:cubicBezTo>
                    <a:pt x="30918" y="10564"/>
                    <a:pt x="30214" y="10323"/>
                    <a:pt x="30506" y="10323"/>
                  </a:cubicBezTo>
                  <a:cubicBezTo>
                    <a:pt x="30506" y="10323"/>
                    <a:pt x="30506" y="10220"/>
                    <a:pt x="30506" y="10220"/>
                  </a:cubicBezTo>
                  <a:cubicBezTo>
                    <a:pt x="30506" y="10220"/>
                    <a:pt x="30506" y="9911"/>
                    <a:pt x="30609" y="10117"/>
                  </a:cubicBezTo>
                  <a:cubicBezTo>
                    <a:pt x="30712" y="10323"/>
                    <a:pt x="30609" y="10117"/>
                    <a:pt x="30609" y="10117"/>
                  </a:cubicBezTo>
                  <a:cubicBezTo>
                    <a:pt x="30385" y="9980"/>
                    <a:pt x="30609" y="10014"/>
                    <a:pt x="30609" y="10117"/>
                  </a:cubicBezTo>
                  <a:cubicBezTo>
                    <a:pt x="30609" y="10220"/>
                    <a:pt x="30609" y="9773"/>
                    <a:pt x="30609" y="10117"/>
                  </a:cubicBezTo>
                  <a:cubicBezTo>
                    <a:pt x="30609" y="9670"/>
                    <a:pt x="30609" y="10237"/>
                    <a:pt x="30798" y="10117"/>
                  </a:cubicBezTo>
                  <a:cubicBezTo>
                    <a:pt x="30609" y="9773"/>
                    <a:pt x="31021" y="10117"/>
                    <a:pt x="30798" y="9739"/>
                  </a:cubicBezTo>
                  <a:cubicBezTo>
                    <a:pt x="30901" y="9739"/>
                    <a:pt x="31038" y="9911"/>
                    <a:pt x="31124" y="9894"/>
                  </a:cubicBezTo>
                  <a:cubicBezTo>
                    <a:pt x="31210" y="9877"/>
                    <a:pt x="31124" y="9602"/>
                    <a:pt x="31124" y="9619"/>
                  </a:cubicBezTo>
                  <a:cubicBezTo>
                    <a:pt x="31124" y="9636"/>
                    <a:pt x="30969" y="9464"/>
                    <a:pt x="31124" y="9619"/>
                  </a:cubicBezTo>
                  <a:cubicBezTo>
                    <a:pt x="31279" y="9773"/>
                    <a:pt x="31124" y="9499"/>
                    <a:pt x="31124" y="9619"/>
                  </a:cubicBezTo>
                  <a:cubicBezTo>
                    <a:pt x="31244" y="9447"/>
                    <a:pt x="31279" y="10426"/>
                    <a:pt x="31261" y="9619"/>
                  </a:cubicBezTo>
                  <a:cubicBezTo>
                    <a:pt x="31536" y="10134"/>
                    <a:pt x="31261" y="9516"/>
                    <a:pt x="31450" y="9499"/>
                  </a:cubicBezTo>
                  <a:cubicBezTo>
                    <a:pt x="31639" y="9481"/>
                    <a:pt x="31450" y="9653"/>
                    <a:pt x="31553" y="9842"/>
                  </a:cubicBezTo>
                  <a:cubicBezTo>
                    <a:pt x="31656" y="10031"/>
                    <a:pt x="31639" y="9842"/>
                    <a:pt x="31674" y="9842"/>
                  </a:cubicBezTo>
                  <a:cubicBezTo>
                    <a:pt x="31502" y="9499"/>
                    <a:pt x="31863" y="9688"/>
                    <a:pt x="31845" y="9842"/>
                  </a:cubicBezTo>
                  <a:cubicBezTo>
                    <a:pt x="32172" y="9842"/>
                    <a:pt x="32051" y="10134"/>
                    <a:pt x="31742" y="10031"/>
                  </a:cubicBezTo>
                  <a:cubicBezTo>
                    <a:pt x="31845" y="10031"/>
                    <a:pt x="31948" y="10031"/>
                    <a:pt x="32000" y="10220"/>
                  </a:cubicBezTo>
                  <a:cubicBezTo>
                    <a:pt x="32051" y="10409"/>
                    <a:pt x="32120" y="10083"/>
                    <a:pt x="32275" y="10220"/>
                  </a:cubicBezTo>
                  <a:cubicBezTo>
                    <a:pt x="32275" y="10100"/>
                    <a:pt x="32275" y="10117"/>
                    <a:pt x="32275" y="10048"/>
                  </a:cubicBezTo>
                  <a:cubicBezTo>
                    <a:pt x="32275" y="9980"/>
                    <a:pt x="32653" y="10306"/>
                    <a:pt x="32378" y="10048"/>
                  </a:cubicBezTo>
                  <a:cubicBezTo>
                    <a:pt x="32378" y="10237"/>
                    <a:pt x="32567" y="10048"/>
                    <a:pt x="32584" y="10220"/>
                  </a:cubicBezTo>
                  <a:cubicBezTo>
                    <a:pt x="32601" y="10392"/>
                    <a:pt x="33220" y="10220"/>
                    <a:pt x="33683" y="10529"/>
                  </a:cubicBezTo>
                  <a:cubicBezTo>
                    <a:pt x="33563" y="10392"/>
                    <a:pt x="34044" y="10735"/>
                    <a:pt x="33804" y="10529"/>
                  </a:cubicBezTo>
                  <a:cubicBezTo>
                    <a:pt x="34697" y="10838"/>
                    <a:pt x="34611" y="11852"/>
                    <a:pt x="33597" y="11354"/>
                  </a:cubicBezTo>
                  <a:cubicBezTo>
                    <a:pt x="33477" y="11354"/>
                    <a:pt x="33477" y="11354"/>
                    <a:pt x="33426" y="11354"/>
                  </a:cubicBezTo>
                  <a:cubicBezTo>
                    <a:pt x="33374" y="11354"/>
                    <a:pt x="32910" y="11096"/>
                    <a:pt x="33065" y="11354"/>
                  </a:cubicBezTo>
                  <a:cubicBezTo>
                    <a:pt x="33220" y="11611"/>
                    <a:pt x="33460" y="11491"/>
                    <a:pt x="33357" y="11663"/>
                  </a:cubicBezTo>
                  <a:cubicBezTo>
                    <a:pt x="33632" y="11663"/>
                    <a:pt x="34834" y="13277"/>
                    <a:pt x="34576" y="12333"/>
                  </a:cubicBezTo>
                  <a:cubicBezTo>
                    <a:pt x="34388" y="12505"/>
                    <a:pt x="34113" y="12058"/>
                    <a:pt x="34250" y="12006"/>
                  </a:cubicBezTo>
                  <a:cubicBezTo>
                    <a:pt x="35693" y="12917"/>
                    <a:pt x="33975" y="11148"/>
                    <a:pt x="34972" y="11474"/>
                  </a:cubicBezTo>
                  <a:cubicBezTo>
                    <a:pt x="34972" y="11337"/>
                    <a:pt x="35092" y="11474"/>
                    <a:pt x="35143" y="11474"/>
                  </a:cubicBezTo>
                  <a:cubicBezTo>
                    <a:pt x="34895" y="11040"/>
                    <a:pt x="34569" y="10656"/>
                    <a:pt x="34181" y="10340"/>
                  </a:cubicBezTo>
                  <a:cubicBezTo>
                    <a:pt x="34491" y="10340"/>
                    <a:pt x="34972" y="10443"/>
                    <a:pt x="34800" y="10753"/>
                  </a:cubicBezTo>
                  <a:cubicBezTo>
                    <a:pt x="35195" y="11354"/>
                    <a:pt x="35349" y="10753"/>
                    <a:pt x="35143" y="10529"/>
                  </a:cubicBezTo>
                  <a:cubicBezTo>
                    <a:pt x="35315" y="10529"/>
                    <a:pt x="35143" y="9945"/>
                    <a:pt x="35401" y="10289"/>
                  </a:cubicBezTo>
                  <a:cubicBezTo>
                    <a:pt x="35401" y="10186"/>
                    <a:pt x="35178" y="9980"/>
                    <a:pt x="35401" y="10151"/>
                  </a:cubicBezTo>
                  <a:cubicBezTo>
                    <a:pt x="35229" y="9705"/>
                    <a:pt x="35521" y="10151"/>
                    <a:pt x="35727" y="10306"/>
                  </a:cubicBezTo>
                  <a:cubicBezTo>
                    <a:pt x="35727" y="10203"/>
                    <a:pt x="35727" y="10169"/>
                    <a:pt x="35727" y="10306"/>
                  </a:cubicBezTo>
                  <a:cubicBezTo>
                    <a:pt x="35504" y="10048"/>
                    <a:pt x="35882" y="10134"/>
                    <a:pt x="35830" y="9842"/>
                  </a:cubicBezTo>
                  <a:cubicBezTo>
                    <a:pt x="35951" y="9997"/>
                    <a:pt x="36311" y="10272"/>
                    <a:pt x="36019" y="9945"/>
                  </a:cubicBezTo>
                  <a:cubicBezTo>
                    <a:pt x="36191" y="9945"/>
                    <a:pt x="35916" y="9791"/>
                    <a:pt x="36122" y="9945"/>
                  </a:cubicBezTo>
                  <a:cubicBezTo>
                    <a:pt x="36035" y="9882"/>
                    <a:pt x="35943" y="9824"/>
                    <a:pt x="35848" y="9773"/>
                  </a:cubicBezTo>
                  <a:lnTo>
                    <a:pt x="35848" y="9773"/>
                  </a:lnTo>
                  <a:cubicBezTo>
                    <a:pt x="35057" y="9155"/>
                    <a:pt x="36586" y="9619"/>
                    <a:pt x="36981" y="9894"/>
                  </a:cubicBezTo>
                  <a:cubicBezTo>
                    <a:pt x="36792" y="9619"/>
                    <a:pt x="36517" y="9567"/>
                    <a:pt x="36260" y="9361"/>
                  </a:cubicBezTo>
                  <a:lnTo>
                    <a:pt x="36260" y="9361"/>
                  </a:lnTo>
                  <a:cubicBezTo>
                    <a:pt x="36260" y="9361"/>
                    <a:pt x="36260" y="9361"/>
                    <a:pt x="36140" y="9361"/>
                  </a:cubicBezTo>
                  <a:lnTo>
                    <a:pt x="36140" y="9361"/>
                  </a:lnTo>
                  <a:lnTo>
                    <a:pt x="35882" y="9155"/>
                  </a:lnTo>
                  <a:cubicBezTo>
                    <a:pt x="36019" y="9155"/>
                    <a:pt x="35624" y="8983"/>
                    <a:pt x="35727" y="8983"/>
                  </a:cubicBezTo>
                  <a:cubicBezTo>
                    <a:pt x="35504" y="8880"/>
                    <a:pt x="34353" y="7918"/>
                    <a:pt x="34594" y="7884"/>
                  </a:cubicBezTo>
                  <a:cubicBezTo>
                    <a:pt x="35435" y="8193"/>
                    <a:pt x="36311" y="9086"/>
                    <a:pt x="37136" y="9602"/>
                  </a:cubicBezTo>
                  <a:lnTo>
                    <a:pt x="37136" y="9602"/>
                  </a:lnTo>
                  <a:cubicBezTo>
                    <a:pt x="37389" y="9800"/>
                    <a:pt x="37614" y="10031"/>
                    <a:pt x="37806" y="10289"/>
                  </a:cubicBezTo>
                  <a:lnTo>
                    <a:pt x="37806" y="10289"/>
                  </a:lnTo>
                  <a:cubicBezTo>
                    <a:pt x="37995" y="10409"/>
                    <a:pt x="37977" y="10581"/>
                    <a:pt x="37806" y="10289"/>
                  </a:cubicBezTo>
                  <a:cubicBezTo>
                    <a:pt x="37806" y="10289"/>
                    <a:pt x="37479" y="10289"/>
                    <a:pt x="37703" y="10426"/>
                  </a:cubicBezTo>
                  <a:cubicBezTo>
                    <a:pt x="38939" y="10701"/>
                    <a:pt x="37256" y="9619"/>
                    <a:pt x="37101" y="9275"/>
                  </a:cubicBezTo>
                  <a:cubicBezTo>
                    <a:pt x="37101" y="9275"/>
                    <a:pt x="37101" y="9275"/>
                    <a:pt x="37101" y="9275"/>
                  </a:cubicBezTo>
                  <a:cubicBezTo>
                    <a:pt x="36284" y="8916"/>
                    <a:pt x="35525" y="8435"/>
                    <a:pt x="34851" y="7850"/>
                  </a:cubicBezTo>
                  <a:cubicBezTo>
                    <a:pt x="35229" y="8021"/>
                    <a:pt x="35573" y="8399"/>
                    <a:pt x="35933" y="8451"/>
                  </a:cubicBezTo>
                  <a:cubicBezTo>
                    <a:pt x="35796" y="8262"/>
                    <a:pt x="36208" y="8571"/>
                    <a:pt x="36105" y="8451"/>
                  </a:cubicBezTo>
                  <a:cubicBezTo>
                    <a:pt x="35827" y="8436"/>
                    <a:pt x="35564" y="8320"/>
                    <a:pt x="35367" y="8125"/>
                  </a:cubicBezTo>
                  <a:cubicBezTo>
                    <a:pt x="35727" y="8279"/>
                    <a:pt x="35367" y="8125"/>
                    <a:pt x="35367" y="8039"/>
                  </a:cubicBezTo>
                  <a:lnTo>
                    <a:pt x="35367" y="8039"/>
                  </a:lnTo>
                  <a:cubicBezTo>
                    <a:pt x="34886" y="7455"/>
                    <a:pt x="37084" y="8880"/>
                    <a:pt x="36363" y="8331"/>
                  </a:cubicBezTo>
                  <a:cubicBezTo>
                    <a:pt x="36637" y="8531"/>
                    <a:pt x="36938" y="8693"/>
                    <a:pt x="37256" y="8812"/>
                  </a:cubicBezTo>
                  <a:cubicBezTo>
                    <a:pt x="36947" y="8605"/>
                    <a:pt x="37256" y="8691"/>
                    <a:pt x="37428" y="8812"/>
                  </a:cubicBezTo>
                  <a:cubicBezTo>
                    <a:pt x="37325" y="8709"/>
                    <a:pt x="37033" y="8588"/>
                    <a:pt x="37101" y="8709"/>
                  </a:cubicBezTo>
                  <a:cubicBezTo>
                    <a:pt x="36569" y="8468"/>
                    <a:pt x="36019" y="8056"/>
                    <a:pt x="35384" y="7798"/>
                  </a:cubicBezTo>
                  <a:cubicBezTo>
                    <a:pt x="35212" y="7798"/>
                    <a:pt x="34405" y="7403"/>
                    <a:pt x="34525" y="7231"/>
                  </a:cubicBezTo>
                  <a:cubicBezTo>
                    <a:pt x="34284" y="6922"/>
                    <a:pt x="34697" y="7334"/>
                    <a:pt x="34851" y="7317"/>
                  </a:cubicBezTo>
                  <a:cubicBezTo>
                    <a:pt x="34628" y="7317"/>
                    <a:pt x="34491" y="7042"/>
                    <a:pt x="34267" y="7008"/>
                  </a:cubicBezTo>
                  <a:cubicBezTo>
                    <a:pt x="34044" y="6974"/>
                    <a:pt x="34061" y="7008"/>
                    <a:pt x="34027" y="6922"/>
                  </a:cubicBezTo>
                  <a:cubicBezTo>
                    <a:pt x="33992" y="6836"/>
                    <a:pt x="34130" y="6922"/>
                    <a:pt x="34027" y="6922"/>
                  </a:cubicBezTo>
                  <a:cubicBezTo>
                    <a:pt x="33924" y="6922"/>
                    <a:pt x="33838" y="6836"/>
                    <a:pt x="33872" y="6922"/>
                  </a:cubicBezTo>
                  <a:cubicBezTo>
                    <a:pt x="33907" y="7008"/>
                    <a:pt x="33683" y="6802"/>
                    <a:pt x="33872" y="6922"/>
                  </a:cubicBezTo>
                  <a:lnTo>
                    <a:pt x="33615" y="6768"/>
                  </a:lnTo>
                  <a:cubicBezTo>
                    <a:pt x="33615" y="6768"/>
                    <a:pt x="33615" y="6768"/>
                    <a:pt x="33615" y="6768"/>
                  </a:cubicBezTo>
                  <a:lnTo>
                    <a:pt x="33168" y="6458"/>
                  </a:lnTo>
                  <a:lnTo>
                    <a:pt x="33168" y="6458"/>
                  </a:lnTo>
                  <a:cubicBezTo>
                    <a:pt x="33086" y="6395"/>
                    <a:pt x="33000" y="6338"/>
                    <a:pt x="32910" y="6287"/>
                  </a:cubicBezTo>
                  <a:lnTo>
                    <a:pt x="32910" y="6287"/>
                  </a:lnTo>
                  <a:lnTo>
                    <a:pt x="32910" y="6287"/>
                  </a:lnTo>
                  <a:lnTo>
                    <a:pt x="32910" y="6287"/>
                  </a:lnTo>
                  <a:lnTo>
                    <a:pt x="32687" y="6184"/>
                  </a:lnTo>
                  <a:lnTo>
                    <a:pt x="32687" y="6184"/>
                  </a:lnTo>
                  <a:cubicBezTo>
                    <a:pt x="32687" y="6184"/>
                    <a:pt x="32515" y="6184"/>
                    <a:pt x="32687" y="6184"/>
                  </a:cubicBezTo>
                  <a:lnTo>
                    <a:pt x="32687" y="6184"/>
                  </a:lnTo>
                  <a:lnTo>
                    <a:pt x="32687" y="6184"/>
                  </a:lnTo>
                  <a:lnTo>
                    <a:pt x="32962" y="6287"/>
                  </a:lnTo>
                  <a:lnTo>
                    <a:pt x="32739" y="6184"/>
                  </a:lnTo>
                  <a:lnTo>
                    <a:pt x="32893" y="6184"/>
                  </a:lnTo>
                  <a:lnTo>
                    <a:pt x="32807" y="6184"/>
                  </a:lnTo>
                  <a:cubicBezTo>
                    <a:pt x="32762" y="6174"/>
                    <a:pt x="32715" y="6174"/>
                    <a:pt x="32670" y="6184"/>
                  </a:cubicBezTo>
                  <a:lnTo>
                    <a:pt x="32670" y="6184"/>
                  </a:lnTo>
                  <a:cubicBezTo>
                    <a:pt x="32625" y="6193"/>
                    <a:pt x="32578" y="6193"/>
                    <a:pt x="32532" y="6184"/>
                  </a:cubicBezTo>
                  <a:lnTo>
                    <a:pt x="32876" y="6304"/>
                  </a:lnTo>
                  <a:cubicBezTo>
                    <a:pt x="32750" y="6242"/>
                    <a:pt x="32618" y="6196"/>
                    <a:pt x="32481" y="6166"/>
                  </a:cubicBezTo>
                  <a:lnTo>
                    <a:pt x="32481" y="6166"/>
                  </a:lnTo>
                  <a:cubicBezTo>
                    <a:pt x="32481" y="6166"/>
                    <a:pt x="32292" y="6166"/>
                    <a:pt x="32343" y="6166"/>
                  </a:cubicBezTo>
                  <a:cubicBezTo>
                    <a:pt x="32395" y="6166"/>
                    <a:pt x="32343" y="6166"/>
                    <a:pt x="32343" y="6166"/>
                  </a:cubicBezTo>
                  <a:lnTo>
                    <a:pt x="32343" y="6166"/>
                  </a:lnTo>
                  <a:lnTo>
                    <a:pt x="32206" y="6166"/>
                  </a:lnTo>
                  <a:lnTo>
                    <a:pt x="32206" y="6166"/>
                  </a:lnTo>
                  <a:lnTo>
                    <a:pt x="31742" y="6029"/>
                  </a:lnTo>
                  <a:lnTo>
                    <a:pt x="31742" y="6029"/>
                  </a:lnTo>
                  <a:cubicBezTo>
                    <a:pt x="31571" y="6029"/>
                    <a:pt x="30763" y="5720"/>
                    <a:pt x="30952" y="5754"/>
                  </a:cubicBezTo>
                  <a:lnTo>
                    <a:pt x="30952" y="5754"/>
                  </a:lnTo>
                  <a:lnTo>
                    <a:pt x="31055" y="5754"/>
                  </a:lnTo>
                  <a:lnTo>
                    <a:pt x="31055" y="5754"/>
                  </a:lnTo>
                  <a:cubicBezTo>
                    <a:pt x="31244" y="5754"/>
                    <a:pt x="31416" y="5857"/>
                    <a:pt x="31605" y="5909"/>
                  </a:cubicBezTo>
                  <a:lnTo>
                    <a:pt x="31416" y="5909"/>
                  </a:lnTo>
                  <a:lnTo>
                    <a:pt x="31588" y="5909"/>
                  </a:lnTo>
                  <a:lnTo>
                    <a:pt x="31485" y="5909"/>
                  </a:lnTo>
                  <a:cubicBezTo>
                    <a:pt x="31588" y="5909"/>
                    <a:pt x="31364" y="5909"/>
                    <a:pt x="31485" y="5909"/>
                  </a:cubicBezTo>
                  <a:lnTo>
                    <a:pt x="31485" y="5909"/>
                  </a:lnTo>
                  <a:cubicBezTo>
                    <a:pt x="31794" y="5995"/>
                    <a:pt x="32481" y="6201"/>
                    <a:pt x="31811" y="5909"/>
                  </a:cubicBezTo>
                  <a:lnTo>
                    <a:pt x="31811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2292" y="6046"/>
                  </a:lnTo>
                  <a:lnTo>
                    <a:pt x="32051" y="6046"/>
                  </a:lnTo>
                  <a:lnTo>
                    <a:pt x="32378" y="6046"/>
                  </a:lnTo>
                  <a:lnTo>
                    <a:pt x="32635" y="6046"/>
                  </a:lnTo>
                  <a:lnTo>
                    <a:pt x="32635" y="6046"/>
                  </a:lnTo>
                  <a:cubicBezTo>
                    <a:pt x="32412" y="6046"/>
                    <a:pt x="32635" y="6046"/>
                    <a:pt x="32773" y="6046"/>
                  </a:cubicBezTo>
                  <a:lnTo>
                    <a:pt x="32773" y="6046"/>
                  </a:lnTo>
                  <a:lnTo>
                    <a:pt x="32773" y="6046"/>
                  </a:lnTo>
                  <a:cubicBezTo>
                    <a:pt x="33198" y="6156"/>
                    <a:pt x="33612" y="6306"/>
                    <a:pt x="34010" y="6493"/>
                  </a:cubicBezTo>
                  <a:cubicBezTo>
                    <a:pt x="34010" y="6493"/>
                    <a:pt x="34010" y="6493"/>
                    <a:pt x="34010" y="6493"/>
                  </a:cubicBezTo>
                  <a:cubicBezTo>
                    <a:pt x="34010" y="6493"/>
                    <a:pt x="34456" y="6665"/>
                    <a:pt x="34645" y="6768"/>
                  </a:cubicBezTo>
                  <a:lnTo>
                    <a:pt x="34645" y="6768"/>
                  </a:lnTo>
                  <a:lnTo>
                    <a:pt x="35470" y="7163"/>
                  </a:lnTo>
                  <a:cubicBezTo>
                    <a:pt x="35212" y="7025"/>
                    <a:pt x="34954" y="6871"/>
                    <a:pt x="34662" y="6733"/>
                  </a:cubicBezTo>
                  <a:lnTo>
                    <a:pt x="34662" y="6733"/>
                  </a:lnTo>
                  <a:lnTo>
                    <a:pt x="34353" y="6596"/>
                  </a:lnTo>
                  <a:lnTo>
                    <a:pt x="34491" y="6596"/>
                  </a:lnTo>
                  <a:cubicBezTo>
                    <a:pt x="34491" y="6596"/>
                    <a:pt x="34044" y="6441"/>
                    <a:pt x="34250" y="6493"/>
                  </a:cubicBezTo>
                  <a:lnTo>
                    <a:pt x="34113" y="6493"/>
                  </a:lnTo>
                  <a:lnTo>
                    <a:pt x="34422" y="6596"/>
                  </a:lnTo>
                  <a:cubicBezTo>
                    <a:pt x="34327" y="6538"/>
                    <a:pt x="34222" y="6497"/>
                    <a:pt x="34113" y="6476"/>
                  </a:cubicBezTo>
                  <a:cubicBezTo>
                    <a:pt x="34287" y="6517"/>
                    <a:pt x="34459" y="6568"/>
                    <a:pt x="34628" y="6630"/>
                  </a:cubicBezTo>
                  <a:lnTo>
                    <a:pt x="34473" y="6630"/>
                  </a:lnTo>
                  <a:lnTo>
                    <a:pt x="34473" y="6630"/>
                  </a:lnTo>
                  <a:lnTo>
                    <a:pt x="33700" y="4827"/>
                  </a:lnTo>
                  <a:cubicBezTo>
                    <a:pt x="42679" y="7791"/>
                    <a:pt x="48892" y="15993"/>
                    <a:pt x="49314" y="25438"/>
                  </a:cubicBezTo>
                  <a:cubicBezTo>
                    <a:pt x="49301" y="25780"/>
                    <a:pt x="49255" y="26119"/>
                    <a:pt x="49177" y="26452"/>
                  </a:cubicBezTo>
                  <a:cubicBezTo>
                    <a:pt x="49245" y="26349"/>
                    <a:pt x="49159" y="26538"/>
                    <a:pt x="49159" y="26589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61" name="Google Shape;261;p67"/>
            <p:cNvSpPr/>
            <p:nvPr/>
          </p:nvSpPr>
          <p:spPr>
            <a:xfrm rot="-5400000">
              <a:off x="12026199" y="6563439"/>
              <a:ext cx="13277" cy="68070"/>
            </a:xfrm>
            <a:custGeom>
              <a:avLst/>
              <a:gdLst/>
              <a:ahLst/>
              <a:cxnLst/>
              <a:rect l="l" t="t" r="r" b="b"/>
              <a:pathLst>
                <a:path w="13277" h="68070" extrusionOk="0">
                  <a:moveTo>
                    <a:pt x="13277" y="12024"/>
                  </a:moveTo>
                  <a:lnTo>
                    <a:pt x="0" y="12024"/>
                  </a:lnTo>
                  <a:lnTo>
                    <a:pt x="0" y="0"/>
                  </a:lnTo>
                  <a:lnTo>
                    <a:pt x="13277" y="0"/>
                  </a:lnTo>
                  <a:close/>
                  <a:moveTo>
                    <a:pt x="0" y="17984"/>
                  </a:moveTo>
                  <a:lnTo>
                    <a:pt x="13277" y="17984"/>
                  </a:lnTo>
                  <a:lnTo>
                    <a:pt x="13277" y="68070"/>
                  </a:lnTo>
                  <a:lnTo>
                    <a:pt x="0" y="6807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62" name="Google Shape;262;p67"/>
            <p:cNvSpPr/>
            <p:nvPr/>
          </p:nvSpPr>
          <p:spPr>
            <a:xfrm rot="-5400000">
              <a:off x="12018640" y="6529825"/>
              <a:ext cx="45208" cy="51256"/>
            </a:xfrm>
            <a:custGeom>
              <a:avLst/>
              <a:gdLst/>
              <a:ahLst/>
              <a:cxnLst/>
              <a:rect l="l" t="t" r="r" b="b"/>
              <a:pathLst>
                <a:path w="45208" h="51256" extrusionOk="0">
                  <a:moveTo>
                    <a:pt x="40279" y="4038"/>
                  </a:moveTo>
                  <a:cubicBezTo>
                    <a:pt x="43565" y="6752"/>
                    <a:pt x="45209" y="11246"/>
                    <a:pt x="45209" y="17521"/>
                  </a:cubicBezTo>
                  <a:lnTo>
                    <a:pt x="45209" y="51256"/>
                  </a:lnTo>
                  <a:lnTo>
                    <a:pt x="31794" y="51256"/>
                  </a:lnTo>
                  <a:lnTo>
                    <a:pt x="31794" y="20785"/>
                  </a:lnTo>
                  <a:cubicBezTo>
                    <a:pt x="31892" y="18712"/>
                    <a:pt x="31535" y="16642"/>
                    <a:pt x="30746" y="14722"/>
                  </a:cubicBezTo>
                  <a:cubicBezTo>
                    <a:pt x="29458" y="12162"/>
                    <a:pt x="27036" y="10874"/>
                    <a:pt x="23446" y="10874"/>
                  </a:cubicBezTo>
                  <a:cubicBezTo>
                    <a:pt x="19509" y="10574"/>
                    <a:pt x="15832" y="12861"/>
                    <a:pt x="14360" y="16525"/>
                  </a:cubicBezTo>
                  <a:cubicBezTo>
                    <a:pt x="13437" y="18959"/>
                    <a:pt x="13005" y="21550"/>
                    <a:pt x="13089" y="24152"/>
                  </a:cubicBezTo>
                  <a:lnTo>
                    <a:pt x="13089" y="51256"/>
                  </a:lnTo>
                  <a:lnTo>
                    <a:pt x="0" y="51256"/>
                  </a:lnTo>
                  <a:lnTo>
                    <a:pt x="0" y="1272"/>
                  </a:lnTo>
                  <a:lnTo>
                    <a:pt x="12676" y="1272"/>
                  </a:lnTo>
                  <a:lnTo>
                    <a:pt x="12676" y="8607"/>
                  </a:lnTo>
                  <a:cubicBezTo>
                    <a:pt x="13939" y="6498"/>
                    <a:pt x="15548" y="4617"/>
                    <a:pt x="17434" y="3042"/>
                  </a:cubicBezTo>
                  <a:cubicBezTo>
                    <a:pt x="20409" y="938"/>
                    <a:pt x="23996" y="-125"/>
                    <a:pt x="27637" y="19"/>
                  </a:cubicBezTo>
                  <a:cubicBezTo>
                    <a:pt x="32194" y="-181"/>
                    <a:pt x="36674" y="1243"/>
                    <a:pt x="40279" y="403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63" name="Google Shape;263;p67"/>
            <p:cNvSpPr/>
            <p:nvPr/>
          </p:nvSpPr>
          <p:spPr>
            <a:xfrm rot="-5400000">
              <a:off x="12018195" y="6477145"/>
              <a:ext cx="28942" cy="68414"/>
            </a:xfrm>
            <a:custGeom>
              <a:avLst/>
              <a:gdLst/>
              <a:ahLst/>
              <a:cxnLst/>
              <a:rect l="l" t="t" r="r" b="b"/>
              <a:pathLst>
                <a:path w="28942" h="68414" extrusionOk="0">
                  <a:moveTo>
                    <a:pt x="25868" y="0"/>
                  </a:moveTo>
                  <a:lnTo>
                    <a:pt x="28616" y="206"/>
                  </a:lnTo>
                  <a:lnTo>
                    <a:pt x="28616" y="10941"/>
                  </a:lnTo>
                  <a:cubicBezTo>
                    <a:pt x="27390" y="10808"/>
                    <a:pt x="26157" y="10739"/>
                    <a:pt x="24923" y="10735"/>
                  </a:cubicBezTo>
                  <a:cubicBezTo>
                    <a:pt x="23616" y="10538"/>
                    <a:pt x="22290" y="10956"/>
                    <a:pt x="21333" y="11869"/>
                  </a:cubicBezTo>
                  <a:cubicBezTo>
                    <a:pt x="20704" y="12627"/>
                    <a:pt x="20358" y="13580"/>
                    <a:pt x="20354" y="14566"/>
                  </a:cubicBezTo>
                  <a:lnTo>
                    <a:pt x="20354" y="18791"/>
                  </a:lnTo>
                  <a:lnTo>
                    <a:pt x="28943" y="18791"/>
                  </a:lnTo>
                  <a:lnTo>
                    <a:pt x="28943" y="28032"/>
                  </a:lnTo>
                  <a:lnTo>
                    <a:pt x="20354" y="28032"/>
                  </a:lnTo>
                  <a:lnTo>
                    <a:pt x="20354" y="68414"/>
                  </a:lnTo>
                  <a:lnTo>
                    <a:pt x="7352" y="68414"/>
                  </a:lnTo>
                  <a:lnTo>
                    <a:pt x="7352" y="28032"/>
                  </a:lnTo>
                  <a:lnTo>
                    <a:pt x="0" y="28032"/>
                  </a:lnTo>
                  <a:lnTo>
                    <a:pt x="0" y="18791"/>
                  </a:lnTo>
                  <a:lnTo>
                    <a:pt x="7163" y="18791"/>
                  </a:lnTo>
                  <a:lnTo>
                    <a:pt x="7163" y="15579"/>
                  </a:lnTo>
                  <a:cubicBezTo>
                    <a:pt x="7163" y="10220"/>
                    <a:pt x="8067" y="6527"/>
                    <a:pt x="9877" y="4500"/>
                  </a:cubicBezTo>
                  <a:cubicBezTo>
                    <a:pt x="11783" y="1494"/>
                    <a:pt x="16352" y="0"/>
                    <a:pt x="23618" y="0"/>
                  </a:cubicBezTo>
                  <a:cubicBezTo>
                    <a:pt x="24442" y="0"/>
                    <a:pt x="25198" y="0"/>
                    <a:pt x="25868" y="0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64" name="Google Shape;264;p67"/>
            <p:cNvSpPr/>
            <p:nvPr/>
          </p:nvSpPr>
          <p:spPr>
            <a:xfrm rot="-5400000">
              <a:off x="12016830" y="6161182"/>
              <a:ext cx="49036" cy="51048"/>
            </a:xfrm>
            <a:custGeom>
              <a:avLst/>
              <a:gdLst/>
              <a:ahLst/>
              <a:cxnLst/>
              <a:rect l="l" t="t" r="r" b="b"/>
              <a:pathLst>
                <a:path w="49036" h="51048" extrusionOk="0">
                  <a:moveTo>
                    <a:pt x="42949" y="43542"/>
                  </a:moveTo>
                  <a:cubicBezTo>
                    <a:pt x="38907" y="48535"/>
                    <a:pt x="32763" y="51037"/>
                    <a:pt x="24519" y="51049"/>
                  </a:cubicBezTo>
                  <a:cubicBezTo>
                    <a:pt x="16274" y="51060"/>
                    <a:pt x="10125" y="48558"/>
                    <a:pt x="6071" y="43542"/>
                  </a:cubicBezTo>
                  <a:cubicBezTo>
                    <a:pt x="2000" y="38452"/>
                    <a:pt x="-145" y="32091"/>
                    <a:pt x="8" y="25576"/>
                  </a:cubicBezTo>
                  <a:cubicBezTo>
                    <a:pt x="-130" y="19058"/>
                    <a:pt x="2016" y="12697"/>
                    <a:pt x="6071" y="7592"/>
                  </a:cubicBezTo>
                  <a:cubicBezTo>
                    <a:pt x="10125" y="2519"/>
                    <a:pt x="16274" y="-11"/>
                    <a:pt x="24519" y="0"/>
                  </a:cubicBezTo>
                  <a:cubicBezTo>
                    <a:pt x="32763" y="12"/>
                    <a:pt x="38907" y="2542"/>
                    <a:pt x="42949" y="7592"/>
                  </a:cubicBezTo>
                  <a:cubicBezTo>
                    <a:pt x="47010" y="12695"/>
                    <a:pt x="49160" y="19056"/>
                    <a:pt x="49030" y="25576"/>
                  </a:cubicBezTo>
                  <a:cubicBezTo>
                    <a:pt x="49177" y="32093"/>
                    <a:pt x="47023" y="38454"/>
                    <a:pt x="42949" y="43542"/>
                  </a:cubicBezTo>
                  <a:close/>
                  <a:moveTo>
                    <a:pt x="32918" y="36672"/>
                  </a:moveTo>
                  <a:cubicBezTo>
                    <a:pt x="35077" y="33390"/>
                    <a:pt x="36115" y="29497"/>
                    <a:pt x="35872" y="25576"/>
                  </a:cubicBezTo>
                  <a:cubicBezTo>
                    <a:pt x="36123" y="21654"/>
                    <a:pt x="35086" y="17758"/>
                    <a:pt x="32918" y="14480"/>
                  </a:cubicBezTo>
                  <a:cubicBezTo>
                    <a:pt x="28893" y="9808"/>
                    <a:pt x="21844" y="9283"/>
                    <a:pt x="17172" y="13307"/>
                  </a:cubicBezTo>
                  <a:cubicBezTo>
                    <a:pt x="16753" y="13668"/>
                    <a:pt x="16360" y="14060"/>
                    <a:pt x="15999" y="14480"/>
                  </a:cubicBezTo>
                  <a:cubicBezTo>
                    <a:pt x="13826" y="17756"/>
                    <a:pt x="12782" y="21652"/>
                    <a:pt x="13027" y="25576"/>
                  </a:cubicBezTo>
                  <a:cubicBezTo>
                    <a:pt x="12782" y="29510"/>
                    <a:pt x="13824" y="33418"/>
                    <a:pt x="15999" y="36706"/>
                  </a:cubicBezTo>
                  <a:cubicBezTo>
                    <a:pt x="19994" y="41378"/>
                    <a:pt x="27020" y="41927"/>
                    <a:pt x="31692" y="37932"/>
                  </a:cubicBezTo>
                  <a:cubicBezTo>
                    <a:pt x="32131" y="37556"/>
                    <a:pt x="32542" y="37146"/>
                    <a:pt x="32918" y="36706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65" name="Google Shape;265;p67"/>
            <p:cNvSpPr/>
            <p:nvPr/>
          </p:nvSpPr>
          <p:spPr>
            <a:xfrm rot="-5400000">
              <a:off x="12005374" y="6370523"/>
              <a:ext cx="71791" cy="51205"/>
            </a:xfrm>
            <a:custGeom>
              <a:avLst/>
              <a:gdLst/>
              <a:ahLst/>
              <a:cxnLst/>
              <a:rect l="l" t="t" r="r" b="b"/>
              <a:pathLst>
                <a:path w="71791" h="51205" extrusionOk="0">
                  <a:moveTo>
                    <a:pt x="62643" y="1307"/>
                  </a:moveTo>
                  <a:cubicBezTo>
                    <a:pt x="64938" y="2282"/>
                    <a:pt x="66944" y="3832"/>
                    <a:pt x="68466" y="5808"/>
                  </a:cubicBezTo>
                  <a:cubicBezTo>
                    <a:pt x="69936" y="7685"/>
                    <a:pt x="70917" y="9898"/>
                    <a:pt x="71317" y="12249"/>
                  </a:cubicBezTo>
                  <a:cubicBezTo>
                    <a:pt x="71680" y="14693"/>
                    <a:pt x="71834" y="17164"/>
                    <a:pt x="71781" y="19635"/>
                  </a:cubicBezTo>
                  <a:lnTo>
                    <a:pt x="71781" y="51205"/>
                  </a:lnTo>
                  <a:lnTo>
                    <a:pt x="58349" y="51205"/>
                  </a:lnTo>
                  <a:lnTo>
                    <a:pt x="58349" y="19308"/>
                  </a:lnTo>
                  <a:cubicBezTo>
                    <a:pt x="58414" y="17701"/>
                    <a:pt x="58101" y="16101"/>
                    <a:pt x="57438" y="14636"/>
                  </a:cubicBezTo>
                  <a:cubicBezTo>
                    <a:pt x="56188" y="12289"/>
                    <a:pt x="53642" y="10931"/>
                    <a:pt x="50997" y="11201"/>
                  </a:cubicBezTo>
                  <a:cubicBezTo>
                    <a:pt x="47802" y="10957"/>
                    <a:pt x="44803" y="12763"/>
                    <a:pt x="43525" y="15701"/>
                  </a:cubicBezTo>
                  <a:cubicBezTo>
                    <a:pt x="42766" y="17522"/>
                    <a:pt x="42404" y="19483"/>
                    <a:pt x="42460" y="21455"/>
                  </a:cubicBezTo>
                  <a:lnTo>
                    <a:pt x="42460" y="51205"/>
                  </a:lnTo>
                  <a:lnTo>
                    <a:pt x="29269" y="51205"/>
                  </a:lnTo>
                  <a:lnTo>
                    <a:pt x="29269" y="21387"/>
                  </a:lnTo>
                  <a:cubicBezTo>
                    <a:pt x="29389" y="19189"/>
                    <a:pt x="29080" y="16990"/>
                    <a:pt x="28359" y="14911"/>
                  </a:cubicBezTo>
                  <a:cubicBezTo>
                    <a:pt x="27192" y="12446"/>
                    <a:pt x="24595" y="10986"/>
                    <a:pt x="21883" y="11270"/>
                  </a:cubicBezTo>
                  <a:cubicBezTo>
                    <a:pt x="18138" y="11270"/>
                    <a:pt x="15626" y="12484"/>
                    <a:pt x="14342" y="14911"/>
                  </a:cubicBezTo>
                  <a:cubicBezTo>
                    <a:pt x="13527" y="16854"/>
                    <a:pt x="13162" y="18956"/>
                    <a:pt x="13277" y="21060"/>
                  </a:cubicBezTo>
                  <a:lnTo>
                    <a:pt x="13277" y="51205"/>
                  </a:lnTo>
                  <a:lnTo>
                    <a:pt x="0" y="51205"/>
                  </a:lnTo>
                  <a:lnTo>
                    <a:pt x="0" y="1221"/>
                  </a:lnTo>
                  <a:lnTo>
                    <a:pt x="12728" y="1221"/>
                  </a:lnTo>
                  <a:lnTo>
                    <a:pt x="12728" y="8556"/>
                  </a:lnTo>
                  <a:cubicBezTo>
                    <a:pt x="13930" y="6449"/>
                    <a:pt x="15488" y="4567"/>
                    <a:pt x="17331" y="2991"/>
                  </a:cubicBezTo>
                  <a:cubicBezTo>
                    <a:pt x="23120" y="-769"/>
                    <a:pt x="30538" y="-929"/>
                    <a:pt x="36483" y="2578"/>
                  </a:cubicBezTo>
                  <a:cubicBezTo>
                    <a:pt x="38381" y="4179"/>
                    <a:pt x="39841" y="6236"/>
                    <a:pt x="40726" y="8556"/>
                  </a:cubicBezTo>
                  <a:cubicBezTo>
                    <a:pt x="42206" y="5843"/>
                    <a:pt x="44413" y="3595"/>
                    <a:pt x="47098" y="2063"/>
                  </a:cubicBezTo>
                  <a:cubicBezTo>
                    <a:pt x="49896" y="665"/>
                    <a:pt x="52988" y="-42"/>
                    <a:pt x="56116" y="2"/>
                  </a:cubicBezTo>
                  <a:cubicBezTo>
                    <a:pt x="58356" y="15"/>
                    <a:pt x="60571" y="458"/>
                    <a:pt x="62643" y="1307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66" name="Google Shape;266;p67"/>
            <p:cNvSpPr/>
            <p:nvPr/>
          </p:nvSpPr>
          <p:spPr>
            <a:xfrm rot="-5400000">
              <a:off x="12026199" y="6307354"/>
              <a:ext cx="13277" cy="68070"/>
            </a:xfrm>
            <a:custGeom>
              <a:avLst/>
              <a:gdLst/>
              <a:ahLst/>
              <a:cxnLst/>
              <a:rect l="l" t="t" r="r" b="b"/>
              <a:pathLst>
                <a:path w="13277" h="68070" extrusionOk="0">
                  <a:moveTo>
                    <a:pt x="13278" y="12024"/>
                  </a:moveTo>
                  <a:lnTo>
                    <a:pt x="0" y="12024"/>
                  </a:lnTo>
                  <a:lnTo>
                    <a:pt x="0" y="0"/>
                  </a:lnTo>
                  <a:lnTo>
                    <a:pt x="13278" y="0"/>
                  </a:lnTo>
                  <a:close/>
                  <a:moveTo>
                    <a:pt x="0" y="17984"/>
                  </a:moveTo>
                  <a:lnTo>
                    <a:pt x="13278" y="17984"/>
                  </a:lnTo>
                  <a:lnTo>
                    <a:pt x="13278" y="68070"/>
                  </a:lnTo>
                  <a:lnTo>
                    <a:pt x="0" y="6807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67" name="Google Shape;267;p67"/>
            <p:cNvSpPr/>
            <p:nvPr/>
          </p:nvSpPr>
          <p:spPr>
            <a:xfrm rot="-5400000">
              <a:off x="12018641" y="6273739"/>
              <a:ext cx="45208" cy="51255"/>
            </a:xfrm>
            <a:custGeom>
              <a:avLst/>
              <a:gdLst/>
              <a:ahLst/>
              <a:cxnLst/>
              <a:rect l="l" t="t" r="r" b="b"/>
              <a:pathLst>
                <a:path w="45208" h="51255" extrusionOk="0">
                  <a:moveTo>
                    <a:pt x="40296" y="4038"/>
                  </a:moveTo>
                  <a:cubicBezTo>
                    <a:pt x="43560" y="6752"/>
                    <a:pt x="45209" y="11252"/>
                    <a:pt x="45209" y="17521"/>
                  </a:cubicBezTo>
                  <a:lnTo>
                    <a:pt x="45209" y="51256"/>
                  </a:lnTo>
                  <a:lnTo>
                    <a:pt x="31794" y="51256"/>
                  </a:lnTo>
                  <a:lnTo>
                    <a:pt x="31794" y="20785"/>
                  </a:lnTo>
                  <a:cubicBezTo>
                    <a:pt x="31900" y="18711"/>
                    <a:pt x="31543" y="16639"/>
                    <a:pt x="30746" y="14722"/>
                  </a:cubicBezTo>
                  <a:cubicBezTo>
                    <a:pt x="29458" y="12162"/>
                    <a:pt x="27036" y="10874"/>
                    <a:pt x="23446" y="10874"/>
                  </a:cubicBezTo>
                  <a:cubicBezTo>
                    <a:pt x="19511" y="10565"/>
                    <a:pt x="15833" y="12857"/>
                    <a:pt x="14377" y="16525"/>
                  </a:cubicBezTo>
                  <a:cubicBezTo>
                    <a:pt x="13439" y="18955"/>
                    <a:pt x="13001" y="21549"/>
                    <a:pt x="13089" y="24151"/>
                  </a:cubicBezTo>
                  <a:lnTo>
                    <a:pt x="13089" y="51256"/>
                  </a:lnTo>
                  <a:lnTo>
                    <a:pt x="0" y="51256"/>
                  </a:lnTo>
                  <a:lnTo>
                    <a:pt x="0" y="1272"/>
                  </a:lnTo>
                  <a:lnTo>
                    <a:pt x="12676" y="1272"/>
                  </a:lnTo>
                  <a:lnTo>
                    <a:pt x="12676" y="8607"/>
                  </a:lnTo>
                  <a:cubicBezTo>
                    <a:pt x="13946" y="6502"/>
                    <a:pt x="15553" y="4622"/>
                    <a:pt x="17434" y="3042"/>
                  </a:cubicBezTo>
                  <a:cubicBezTo>
                    <a:pt x="20409" y="938"/>
                    <a:pt x="23996" y="-125"/>
                    <a:pt x="27637" y="18"/>
                  </a:cubicBezTo>
                  <a:cubicBezTo>
                    <a:pt x="32199" y="-181"/>
                    <a:pt x="36684" y="1243"/>
                    <a:pt x="40296" y="403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68" name="Google Shape;268;p67"/>
            <p:cNvSpPr/>
            <p:nvPr/>
          </p:nvSpPr>
          <p:spPr>
            <a:xfrm rot="-5400000">
              <a:off x="12017163" y="6218687"/>
              <a:ext cx="48082" cy="51510"/>
            </a:xfrm>
            <a:custGeom>
              <a:avLst/>
              <a:gdLst/>
              <a:ahLst/>
              <a:cxnLst/>
              <a:rect l="l" t="t" r="r" b="b"/>
              <a:pathLst>
                <a:path w="48082" h="51510" extrusionOk="0">
                  <a:moveTo>
                    <a:pt x="35384" y="2281"/>
                  </a:moveTo>
                  <a:cubicBezTo>
                    <a:pt x="38804" y="3821"/>
                    <a:pt x="41712" y="6306"/>
                    <a:pt x="43766" y="9444"/>
                  </a:cubicBezTo>
                  <a:cubicBezTo>
                    <a:pt x="45803" y="12448"/>
                    <a:pt x="47126" y="15880"/>
                    <a:pt x="47631" y="19475"/>
                  </a:cubicBezTo>
                  <a:cubicBezTo>
                    <a:pt x="48021" y="22665"/>
                    <a:pt x="48160" y="25881"/>
                    <a:pt x="48043" y="29094"/>
                  </a:cubicBezTo>
                  <a:lnTo>
                    <a:pt x="12711" y="29094"/>
                  </a:lnTo>
                  <a:cubicBezTo>
                    <a:pt x="12900" y="33955"/>
                    <a:pt x="14600" y="37373"/>
                    <a:pt x="17778" y="39400"/>
                  </a:cubicBezTo>
                  <a:cubicBezTo>
                    <a:pt x="19884" y="40669"/>
                    <a:pt x="22311" y="41306"/>
                    <a:pt x="24769" y="41237"/>
                  </a:cubicBezTo>
                  <a:cubicBezTo>
                    <a:pt x="27307" y="41354"/>
                    <a:pt x="29803" y="40563"/>
                    <a:pt x="31811" y="39004"/>
                  </a:cubicBezTo>
                  <a:cubicBezTo>
                    <a:pt x="32891" y="38080"/>
                    <a:pt x="33774" y="36947"/>
                    <a:pt x="34405" y="35672"/>
                  </a:cubicBezTo>
                  <a:lnTo>
                    <a:pt x="47407" y="35672"/>
                  </a:lnTo>
                  <a:cubicBezTo>
                    <a:pt x="46818" y="39021"/>
                    <a:pt x="45169" y="42092"/>
                    <a:pt x="42701" y="44432"/>
                  </a:cubicBezTo>
                  <a:cubicBezTo>
                    <a:pt x="38355" y="49156"/>
                    <a:pt x="32292" y="51509"/>
                    <a:pt x="24459" y="51509"/>
                  </a:cubicBezTo>
                  <a:cubicBezTo>
                    <a:pt x="18245" y="51584"/>
                    <a:pt x="12202" y="49474"/>
                    <a:pt x="7386" y="45549"/>
                  </a:cubicBezTo>
                  <a:cubicBezTo>
                    <a:pt x="2461" y="41564"/>
                    <a:pt x="0" y="35094"/>
                    <a:pt x="0" y="26139"/>
                  </a:cubicBezTo>
                  <a:cubicBezTo>
                    <a:pt x="0" y="17746"/>
                    <a:pt x="2228" y="11304"/>
                    <a:pt x="6682" y="6816"/>
                  </a:cubicBezTo>
                  <a:cubicBezTo>
                    <a:pt x="11252" y="2254"/>
                    <a:pt x="17508" y="-208"/>
                    <a:pt x="23961" y="14"/>
                  </a:cubicBezTo>
                  <a:cubicBezTo>
                    <a:pt x="27886" y="-52"/>
                    <a:pt x="31782" y="721"/>
                    <a:pt x="35384" y="2281"/>
                  </a:cubicBezTo>
                  <a:close/>
                  <a:moveTo>
                    <a:pt x="16490" y="13223"/>
                  </a:moveTo>
                  <a:cubicBezTo>
                    <a:pt x="14554" y="15309"/>
                    <a:pt x="13350" y="17967"/>
                    <a:pt x="13054" y="20797"/>
                  </a:cubicBezTo>
                  <a:lnTo>
                    <a:pt x="34886" y="20797"/>
                  </a:lnTo>
                  <a:cubicBezTo>
                    <a:pt x="34844" y="17880"/>
                    <a:pt x="33601" y="15108"/>
                    <a:pt x="31450" y="13137"/>
                  </a:cubicBezTo>
                  <a:cubicBezTo>
                    <a:pt x="29363" y="11367"/>
                    <a:pt x="26698" y="10426"/>
                    <a:pt x="23961" y="10491"/>
                  </a:cubicBezTo>
                  <a:cubicBezTo>
                    <a:pt x="21201" y="10337"/>
                    <a:pt x="18499" y="11325"/>
                    <a:pt x="16490" y="13223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269" name="Google Shape;269;p67"/>
          <p:cNvSpPr txBox="1"/>
          <p:nvPr/>
        </p:nvSpPr>
        <p:spPr>
          <a:xfrm rot="-5400000">
            <a:off x="11250971" y="5290633"/>
            <a:ext cx="1567737" cy="110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</a:pPr>
            <a:r>
              <a:rPr lang="en-US" sz="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Copyright © 2020. All rights reserved.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70" name="Google Shape;270;p67"/>
          <p:cNvSpPr txBox="1">
            <a:spLocks noGrp="1"/>
          </p:cNvSpPr>
          <p:nvPr>
            <p:ph type="ftr" idx="11"/>
          </p:nvPr>
        </p:nvSpPr>
        <p:spPr>
          <a:xfrm>
            <a:off x="550862" y="6465614"/>
            <a:ext cx="7276401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096952881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Breaker Slide_2">
  <p:cSld name="Breaker Slide_2">
    <p:bg>
      <p:bgPr>
        <a:solidFill>
          <a:schemeClr val="lt2"/>
        </a:solidFill>
        <a:effectLst/>
      </p:bgPr>
    </p:bg>
    <p:spTree>
      <p:nvGrpSpPr>
        <p:cNvPr id="1" name="Shape 27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2" name="Google Shape;272;p69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273" name="Google Shape;273;p69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0">
                <a:srgbClr val="062379"/>
              </a:gs>
              <a:gs pos="16000">
                <a:srgbClr val="062379"/>
              </a:gs>
              <a:gs pos="55000">
                <a:srgbClr val="0934B6">
                  <a:alpha val="88235"/>
                </a:srgbClr>
              </a:gs>
              <a:gs pos="85000">
                <a:srgbClr val="036DFF">
                  <a:alpha val="80000"/>
                </a:srgbClr>
              </a:gs>
              <a:gs pos="100000">
                <a:srgbClr val="43E1D3"/>
              </a:gs>
            </a:gsLst>
            <a:lin ang="270000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74" name="Google Shape;274;p69"/>
          <p:cNvSpPr txBox="1">
            <a:spLocks noGrp="1"/>
          </p:cNvSpPr>
          <p:nvPr>
            <p:ph type="title"/>
          </p:nvPr>
        </p:nvSpPr>
        <p:spPr>
          <a:xfrm>
            <a:off x="992390" y="4026897"/>
            <a:ext cx="6785798" cy="1569660"/>
          </a:xfrm>
          <a:prstGeom prst="rect">
            <a:avLst/>
          </a:prstGeom>
          <a:noFill/>
          <a:ln>
            <a:noFill/>
          </a:ln>
          <a:effectLst>
            <a:outerShdw blurRad="190500" algn="tl" rotWithShape="0">
              <a:srgbClr val="000000">
                <a:alpha val="28235"/>
              </a:srgbClr>
            </a:outerShdw>
          </a:effectLst>
        </p:spPr>
        <p:txBody>
          <a:bodyPr spcFirstLastPara="1" wrap="square" lIns="0" tIns="0" rIns="0" bIns="0" anchor="ctr" anchorCtr="0">
            <a:sp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6000"/>
              <a:buFont typeface="Franklin Gothic"/>
              <a:buNone/>
              <a:defRPr sz="6000">
                <a:solidFill>
                  <a:schemeClr val="lt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275" name="Google Shape;275;p69"/>
          <p:cNvGrpSpPr/>
          <p:nvPr/>
        </p:nvGrpSpPr>
        <p:grpSpPr>
          <a:xfrm>
            <a:off x="11998459" y="6162188"/>
            <a:ext cx="68500" cy="441925"/>
            <a:chOff x="11998459" y="6162188"/>
            <a:chExt cx="68500" cy="441925"/>
          </a:xfrm>
        </p:grpSpPr>
        <p:sp>
          <p:nvSpPr>
            <p:cNvPr id="276" name="Google Shape;276;p69"/>
            <p:cNvSpPr/>
            <p:nvPr/>
          </p:nvSpPr>
          <p:spPr>
            <a:xfrm rot="-5400000">
              <a:off x="12063068" y="6476346"/>
              <a:ext cx="17" cy="1717"/>
            </a:xfrm>
            <a:custGeom>
              <a:avLst/>
              <a:gdLst/>
              <a:ahLst/>
              <a:cxnLst/>
              <a:rect l="l" t="t" r="r" b="b"/>
              <a:pathLst>
                <a:path w="17" h="1717" extrusionOk="0">
                  <a:moveTo>
                    <a:pt x="0" y="0"/>
                  </a:moveTo>
                  <a:lnTo>
                    <a:pt x="17" y="0"/>
                  </a:lnTo>
                  <a:lnTo>
                    <a:pt x="17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77" name="Google Shape;277;p69"/>
            <p:cNvSpPr/>
            <p:nvPr/>
          </p:nvSpPr>
          <p:spPr>
            <a:xfrm rot="-5400000">
              <a:off x="12023737" y="6455896"/>
              <a:ext cx="453" cy="271"/>
            </a:xfrm>
            <a:custGeom>
              <a:avLst/>
              <a:gdLst/>
              <a:ahLst/>
              <a:cxnLst/>
              <a:rect l="l" t="t" r="r" b="b"/>
              <a:pathLst>
                <a:path w="453" h="271" extrusionOk="0">
                  <a:moveTo>
                    <a:pt x="0" y="0"/>
                  </a:moveTo>
                  <a:cubicBezTo>
                    <a:pt x="258" y="172"/>
                    <a:pt x="498" y="344"/>
                    <a:pt x="447" y="240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78" name="Google Shape;278;p69"/>
            <p:cNvSpPr/>
            <p:nvPr/>
          </p:nvSpPr>
          <p:spPr>
            <a:xfrm rot="-5400000">
              <a:off x="12023907" y="6477766"/>
              <a:ext cx="15" cy="76"/>
            </a:xfrm>
            <a:custGeom>
              <a:avLst/>
              <a:gdLst/>
              <a:ahLst/>
              <a:cxnLst/>
              <a:rect l="l" t="t" r="r" b="b"/>
              <a:pathLst>
                <a:path w="15" h="76" extrusionOk="0">
                  <a:moveTo>
                    <a:pt x="15" y="38"/>
                  </a:moveTo>
                  <a:cubicBezTo>
                    <a:pt x="15" y="38"/>
                    <a:pt x="15" y="-48"/>
                    <a:pt x="15" y="38"/>
                  </a:cubicBezTo>
                  <a:cubicBezTo>
                    <a:pt x="15" y="124"/>
                    <a:pt x="-19" y="38"/>
                    <a:pt x="15" y="3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79" name="Google Shape;279;p69"/>
            <p:cNvSpPr/>
            <p:nvPr/>
          </p:nvSpPr>
          <p:spPr>
            <a:xfrm rot="-5400000">
              <a:off x="12021636" y="6473651"/>
              <a:ext cx="261" cy="103"/>
            </a:xfrm>
            <a:custGeom>
              <a:avLst/>
              <a:gdLst/>
              <a:ahLst/>
              <a:cxnLst/>
              <a:rect l="l" t="t" r="r" b="b"/>
              <a:pathLst>
                <a:path w="261" h="103" extrusionOk="0">
                  <a:moveTo>
                    <a:pt x="262" y="0"/>
                  </a:moveTo>
                  <a:lnTo>
                    <a:pt x="56" y="103"/>
                  </a:lnTo>
                  <a:cubicBezTo>
                    <a:pt x="176" y="103"/>
                    <a:pt x="-116" y="103"/>
                    <a:pt x="56" y="103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80" name="Google Shape;280;p69"/>
            <p:cNvSpPr/>
            <p:nvPr/>
          </p:nvSpPr>
          <p:spPr>
            <a:xfrm rot="-5400000">
              <a:off x="12015635" y="6442208"/>
              <a:ext cx="51323" cy="51323"/>
            </a:xfrm>
            <a:custGeom>
              <a:avLst/>
              <a:gdLst/>
              <a:ahLst/>
              <a:cxnLst/>
              <a:rect l="l" t="t" r="r" b="b"/>
              <a:pathLst>
                <a:path w="51323" h="51323" extrusionOk="0">
                  <a:moveTo>
                    <a:pt x="25662" y="0"/>
                  </a:moveTo>
                  <a:cubicBezTo>
                    <a:pt x="11489" y="0"/>
                    <a:pt x="0" y="11489"/>
                    <a:pt x="0" y="25662"/>
                  </a:cubicBezTo>
                  <a:cubicBezTo>
                    <a:pt x="0" y="39834"/>
                    <a:pt x="11489" y="51323"/>
                    <a:pt x="25662" y="51323"/>
                  </a:cubicBezTo>
                  <a:cubicBezTo>
                    <a:pt x="39835" y="51323"/>
                    <a:pt x="51324" y="39834"/>
                    <a:pt x="51324" y="25662"/>
                  </a:cubicBezTo>
                  <a:cubicBezTo>
                    <a:pt x="51324" y="25645"/>
                    <a:pt x="51324" y="25627"/>
                    <a:pt x="51324" y="25610"/>
                  </a:cubicBezTo>
                  <a:cubicBezTo>
                    <a:pt x="51314" y="11457"/>
                    <a:pt x="39833" y="-9"/>
                    <a:pt x="25679" y="0"/>
                  </a:cubicBezTo>
                  <a:cubicBezTo>
                    <a:pt x="25673" y="0"/>
                    <a:pt x="25667" y="0"/>
                    <a:pt x="25662" y="0"/>
                  </a:cubicBezTo>
                  <a:close/>
                  <a:moveTo>
                    <a:pt x="26967" y="15648"/>
                  </a:moveTo>
                  <a:cubicBezTo>
                    <a:pt x="26864" y="15648"/>
                    <a:pt x="26967" y="15785"/>
                    <a:pt x="26967" y="15837"/>
                  </a:cubicBezTo>
                  <a:cubicBezTo>
                    <a:pt x="26894" y="15820"/>
                    <a:pt x="26817" y="15820"/>
                    <a:pt x="26744" y="15837"/>
                  </a:cubicBezTo>
                  <a:cubicBezTo>
                    <a:pt x="26899" y="15837"/>
                    <a:pt x="27139" y="16043"/>
                    <a:pt x="26933" y="16163"/>
                  </a:cubicBezTo>
                  <a:cubicBezTo>
                    <a:pt x="26727" y="16283"/>
                    <a:pt x="27019" y="16163"/>
                    <a:pt x="27036" y="16163"/>
                  </a:cubicBezTo>
                  <a:cubicBezTo>
                    <a:pt x="27173" y="15854"/>
                    <a:pt x="27586" y="16283"/>
                    <a:pt x="27294" y="16489"/>
                  </a:cubicBezTo>
                  <a:lnTo>
                    <a:pt x="27294" y="16489"/>
                  </a:lnTo>
                  <a:cubicBezTo>
                    <a:pt x="27294" y="16489"/>
                    <a:pt x="27294" y="16489"/>
                    <a:pt x="27294" y="16489"/>
                  </a:cubicBezTo>
                  <a:lnTo>
                    <a:pt x="27294" y="16489"/>
                  </a:lnTo>
                  <a:cubicBezTo>
                    <a:pt x="27294" y="16489"/>
                    <a:pt x="27191" y="16489"/>
                    <a:pt x="27156" y="16489"/>
                  </a:cubicBezTo>
                  <a:cubicBezTo>
                    <a:pt x="27122" y="16489"/>
                    <a:pt x="27156" y="16489"/>
                    <a:pt x="27156" y="16593"/>
                  </a:cubicBezTo>
                  <a:cubicBezTo>
                    <a:pt x="27156" y="16696"/>
                    <a:pt x="27276" y="16593"/>
                    <a:pt x="27156" y="16593"/>
                  </a:cubicBezTo>
                  <a:cubicBezTo>
                    <a:pt x="27036" y="16593"/>
                    <a:pt x="27294" y="16593"/>
                    <a:pt x="27379" y="16593"/>
                  </a:cubicBezTo>
                  <a:cubicBezTo>
                    <a:pt x="27465" y="16593"/>
                    <a:pt x="27276" y="16713"/>
                    <a:pt x="27276" y="16799"/>
                  </a:cubicBezTo>
                  <a:cubicBezTo>
                    <a:pt x="27276" y="16885"/>
                    <a:pt x="26795" y="16936"/>
                    <a:pt x="26744" y="16799"/>
                  </a:cubicBezTo>
                  <a:cubicBezTo>
                    <a:pt x="26692" y="16661"/>
                    <a:pt x="26297" y="16799"/>
                    <a:pt x="26074" y="16902"/>
                  </a:cubicBezTo>
                  <a:cubicBezTo>
                    <a:pt x="25851" y="17005"/>
                    <a:pt x="26074" y="17125"/>
                    <a:pt x="25868" y="16988"/>
                  </a:cubicBezTo>
                  <a:cubicBezTo>
                    <a:pt x="25662" y="16850"/>
                    <a:pt x="25610" y="16988"/>
                    <a:pt x="25559" y="17142"/>
                  </a:cubicBezTo>
                  <a:cubicBezTo>
                    <a:pt x="25507" y="17297"/>
                    <a:pt x="25559" y="17142"/>
                    <a:pt x="25404" y="17142"/>
                  </a:cubicBezTo>
                  <a:cubicBezTo>
                    <a:pt x="25553" y="17029"/>
                    <a:pt x="25690" y="16902"/>
                    <a:pt x="25816" y="16764"/>
                  </a:cubicBezTo>
                  <a:cubicBezTo>
                    <a:pt x="25816" y="16593"/>
                    <a:pt x="26057" y="16764"/>
                    <a:pt x="26194" y="16764"/>
                  </a:cubicBezTo>
                  <a:cubicBezTo>
                    <a:pt x="26332" y="16764"/>
                    <a:pt x="26297" y="16610"/>
                    <a:pt x="26349" y="16541"/>
                  </a:cubicBezTo>
                  <a:cubicBezTo>
                    <a:pt x="26400" y="16472"/>
                    <a:pt x="26091" y="16764"/>
                    <a:pt x="26005" y="16627"/>
                  </a:cubicBezTo>
                  <a:cubicBezTo>
                    <a:pt x="25919" y="16489"/>
                    <a:pt x="25748" y="16627"/>
                    <a:pt x="25902" y="16627"/>
                  </a:cubicBezTo>
                  <a:cubicBezTo>
                    <a:pt x="26057" y="16627"/>
                    <a:pt x="25765" y="16627"/>
                    <a:pt x="25662" y="16627"/>
                  </a:cubicBezTo>
                  <a:lnTo>
                    <a:pt x="25662" y="16627"/>
                  </a:lnTo>
                  <a:cubicBezTo>
                    <a:pt x="25662" y="16627"/>
                    <a:pt x="25662" y="16627"/>
                    <a:pt x="25662" y="16627"/>
                  </a:cubicBezTo>
                  <a:cubicBezTo>
                    <a:pt x="25919" y="16541"/>
                    <a:pt x="26040" y="16472"/>
                    <a:pt x="26005" y="16215"/>
                  </a:cubicBezTo>
                  <a:lnTo>
                    <a:pt x="25834" y="16215"/>
                  </a:lnTo>
                  <a:cubicBezTo>
                    <a:pt x="25954" y="16094"/>
                    <a:pt x="26126" y="15940"/>
                    <a:pt x="26297" y="16060"/>
                  </a:cubicBezTo>
                  <a:cubicBezTo>
                    <a:pt x="26160" y="15888"/>
                    <a:pt x="26297" y="16060"/>
                    <a:pt x="26297" y="16060"/>
                  </a:cubicBezTo>
                  <a:cubicBezTo>
                    <a:pt x="26297" y="16060"/>
                    <a:pt x="26194" y="15837"/>
                    <a:pt x="26297" y="15785"/>
                  </a:cubicBezTo>
                  <a:cubicBezTo>
                    <a:pt x="26400" y="15734"/>
                    <a:pt x="26297" y="15648"/>
                    <a:pt x="26194" y="15785"/>
                  </a:cubicBezTo>
                  <a:lnTo>
                    <a:pt x="26194" y="15785"/>
                  </a:lnTo>
                  <a:cubicBezTo>
                    <a:pt x="26057" y="15785"/>
                    <a:pt x="26194" y="15476"/>
                    <a:pt x="26194" y="15493"/>
                  </a:cubicBezTo>
                  <a:cubicBezTo>
                    <a:pt x="26023" y="15493"/>
                    <a:pt x="25988" y="15613"/>
                    <a:pt x="25834" y="15493"/>
                  </a:cubicBezTo>
                  <a:cubicBezTo>
                    <a:pt x="25679" y="15373"/>
                    <a:pt x="25834" y="15493"/>
                    <a:pt x="25834" y="15596"/>
                  </a:cubicBezTo>
                  <a:cubicBezTo>
                    <a:pt x="25834" y="15699"/>
                    <a:pt x="25662" y="15459"/>
                    <a:pt x="25713" y="15596"/>
                  </a:cubicBezTo>
                  <a:cubicBezTo>
                    <a:pt x="25765" y="15734"/>
                    <a:pt x="25713" y="15493"/>
                    <a:pt x="25713" y="15459"/>
                  </a:cubicBezTo>
                  <a:lnTo>
                    <a:pt x="25713" y="15459"/>
                  </a:lnTo>
                  <a:cubicBezTo>
                    <a:pt x="25713" y="15459"/>
                    <a:pt x="25713" y="15287"/>
                    <a:pt x="25816" y="15236"/>
                  </a:cubicBezTo>
                  <a:cubicBezTo>
                    <a:pt x="25919" y="15184"/>
                    <a:pt x="25713" y="15029"/>
                    <a:pt x="25816" y="15064"/>
                  </a:cubicBezTo>
                  <a:cubicBezTo>
                    <a:pt x="25919" y="15098"/>
                    <a:pt x="25816" y="15064"/>
                    <a:pt x="25816" y="14961"/>
                  </a:cubicBezTo>
                  <a:cubicBezTo>
                    <a:pt x="25816" y="14858"/>
                    <a:pt x="25816" y="15047"/>
                    <a:pt x="25816" y="15081"/>
                  </a:cubicBezTo>
                  <a:lnTo>
                    <a:pt x="25816" y="15081"/>
                  </a:lnTo>
                  <a:cubicBezTo>
                    <a:pt x="25816" y="15081"/>
                    <a:pt x="25816" y="15081"/>
                    <a:pt x="25816" y="15081"/>
                  </a:cubicBezTo>
                  <a:cubicBezTo>
                    <a:pt x="25816" y="15081"/>
                    <a:pt x="25816" y="15081"/>
                    <a:pt x="25816" y="15081"/>
                  </a:cubicBezTo>
                  <a:cubicBezTo>
                    <a:pt x="25812" y="15173"/>
                    <a:pt x="25812" y="15264"/>
                    <a:pt x="25816" y="15356"/>
                  </a:cubicBezTo>
                  <a:cubicBezTo>
                    <a:pt x="25713" y="15356"/>
                    <a:pt x="25816" y="15218"/>
                    <a:pt x="25816" y="15167"/>
                  </a:cubicBezTo>
                  <a:cubicBezTo>
                    <a:pt x="25816" y="15115"/>
                    <a:pt x="25816" y="14858"/>
                    <a:pt x="25919" y="14823"/>
                  </a:cubicBezTo>
                  <a:cubicBezTo>
                    <a:pt x="26023" y="14789"/>
                    <a:pt x="25919" y="14823"/>
                    <a:pt x="25919" y="14823"/>
                  </a:cubicBezTo>
                  <a:cubicBezTo>
                    <a:pt x="25919" y="14823"/>
                    <a:pt x="25799" y="14978"/>
                    <a:pt x="25731" y="14823"/>
                  </a:cubicBezTo>
                  <a:cubicBezTo>
                    <a:pt x="25662" y="14669"/>
                    <a:pt x="25731" y="14823"/>
                    <a:pt x="25731" y="14823"/>
                  </a:cubicBezTo>
                  <a:cubicBezTo>
                    <a:pt x="25731" y="14823"/>
                    <a:pt x="25731" y="14686"/>
                    <a:pt x="25868" y="14737"/>
                  </a:cubicBezTo>
                  <a:cubicBezTo>
                    <a:pt x="26005" y="14789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lnTo>
                    <a:pt x="25868" y="14737"/>
                  </a:lnTo>
                  <a:lnTo>
                    <a:pt x="25868" y="14652"/>
                  </a:lnTo>
                  <a:cubicBezTo>
                    <a:pt x="25868" y="14652"/>
                    <a:pt x="25868" y="14652"/>
                    <a:pt x="25868" y="14652"/>
                  </a:cubicBezTo>
                  <a:cubicBezTo>
                    <a:pt x="25868" y="14652"/>
                    <a:pt x="25868" y="14566"/>
                    <a:pt x="25868" y="14514"/>
                  </a:cubicBezTo>
                  <a:lnTo>
                    <a:pt x="25868" y="14514"/>
                  </a:lnTo>
                  <a:cubicBezTo>
                    <a:pt x="25868" y="14514"/>
                    <a:pt x="25868" y="14514"/>
                    <a:pt x="25868" y="14514"/>
                  </a:cubicBezTo>
                  <a:cubicBezTo>
                    <a:pt x="25868" y="14514"/>
                    <a:pt x="25868" y="14514"/>
                    <a:pt x="25971" y="14514"/>
                  </a:cubicBezTo>
                  <a:cubicBezTo>
                    <a:pt x="25976" y="14486"/>
                    <a:pt x="25976" y="14457"/>
                    <a:pt x="25971" y="14428"/>
                  </a:cubicBezTo>
                  <a:cubicBezTo>
                    <a:pt x="25971" y="14428"/>
                    <a:pt x="26091" y="14085"/>
                    <a:pt x="26126" y="14291"/>
                  </a:cubicBezTo>
                  <a:cubicBezTo>
                    <a:pt x="26160" y="14497"/>
                    <a:pt x="26126" y="14291"/>
                    <a:pt x="26126" y="14291"/>
                  </a:cubicBezTo>
                  <a:cubicBezTo>
                    <a:pt x="26538" y="14136"/>
                    <a:pt x="26435" y="14291"/>
                    <a:pt x="26126" y="14531"/>
                  </a:cubicBezTo>
                  <a:lnTo>
                    <a:pt x="26126" y="14531"/>
                  </a:lnTo>
                  <a:cubicBezTo>
                    <a:pt x="25902" y="14737"/>
                    <a:pt x="26366" y="14531"/>
                    <a:pt x="26486" y="14531"/>
                  </a:cubicBezTo>
                  <a:cubicBezTo>
                    <a:pt x="26607" y="14531"/>
                    <a:pt x="26486" y="15029"/>
                    <a:pt x="26263" y="14995"/>
                  </a:cubicBezTo>
                  <a:cubicBezTo>
                    <a:pt x="26040" y="14961"/>
                    <a:pt x="26263" y="14995"/>
                    <a:pt x="26263" y="14995"/>
                  </a:cubicBezTo>
                  <a:cubicBezTo>
                    <a:pt x="26263" y="14995"/>
                    <a:pt x="26108" y="15133"/>
                    <a:pt x="26005" y="14995"/>
                  </a:cubicBezTo>
                  <a:cubicBezTo>
                    <a:pt x="26064" y="15057"/>
                    <a:pt x="26162" y="15059"/>
                    <a:pt x="26224" y="15000"/>
                  </a:cubicBezTo>
                  <a:cubicBezTo>
                    <a:pt x="26226" y="14998"/>
                    <a:pt x="26227" y="14997"/>
                    <a:pt x="26229" y="14995"/>
                  </a:cubicBezTo>
                  <a:cubicBezTo>
                    <a:pt x="26486" y="15098"/>
                    <a:pt x="26503" y="15373"/>
                    <a:pt x="26589" y="15579"/>
                  </a:cubicBezTo>
                  <a:cubicBezTo>
                    <a:pt x="26675" y="15785"/>
                    <a:pt x="26830" y="15545"/>
                    <a:pt x="26967" y="15613"/>
                  </a:cubicBezTo>
                  <a:close/>
                  <a:moveTo>
                    <a:pt x="18138" y="47476"/>
                  </a:moveTo>
                  <a:lnTo>
                    <a:pt x="18138" y="47476"/>
                  </a:lnTo>
                  <a:lnTo>
                    <a:pt x="18138" y="47476"/>
                  </a:lnTo>
                  <a:lnTo>
                    <a:pt x="18138" y="47476"/>
                  </a:lnTo>
                  <a:lnTo>
                    <a:pt x="18224" y="47476"/>
                  </a:lnTo>
                  <a:lnTo>
                    <a:pt x="18224" y="47476"/>
                  </a:lnTo>
                  <a:lnTo>
                    <a:pt x="17984" y="47338"/>
                  </a:lnTo>
                  <a:lnTo>
                    <a:pt x="17984" y="47338"/>
                  </a:lnTo>
                  <a:lnTo>
                    <a:pt x="17984" y="47338"/>
                  </a:lnTo>
                  <a:lnTo>
                    <a:pt x="18070" y="47338"/>
                  </a:lnTo>
                  <a:lnTo>
                    <a:pt x="18070" y="47338"/>
                  </a:lnTo>
                  <a:lnTo>
                    <a:pt x="18070" y="47338"/>
                  </a:lnTo>
                  <a:lnTo>
                    <a:pt x="17795" y="47218"/>
                  </a:lnTo>
                  <a:lnTo>
                    <a:pt x="17795" y="47218"/>
                  </a:lnTo>
                  <a:cubicBezTo>
                    <a:pt x="17795" y="47218"/>
                    <a:pt x="17795" y="47218"/>
                    <a:pt x="17795" y="47218"/>
                  </a:cubicBezTo>
                  <a:cubicBezTo>
                    <a:pt x="17762" y="47203"/>
                    <a:pt x="17725" y="47203"/>
                    <a:pt x="17692" y="47218"/>
                  </a:cubicBezTo>
                  <a:lnTo>
                    <a:pt x="17692" y="47218"/>
                  </a:lnTo>
                  <a:lnTo>
                    <a:pt x="17692" y="47218"/>
                  </a:lnTo>
                  <a:lnTo>
                    <a:pt x="17692" y="47218"/>
                  </a:lnTo>
                  <a:lnTo>
                    <a:pt x="17864" y="47218"/>
                  </a:lnTo>
                  <a:lnTo>
                    <a:pt x="17658" y="47218"/>
                  </a:lnTo>
                  <a:lnTo>
                    <a:pt x="17658" y="47218"/>
                  </a:lnTo>
                  <a:lnTo>
                    <a:pt x="17417" y="47115"/>
                  </a:lnTo>
                  <a:lnTo>
                    <a:pt x="17417" y="47115"/>
                  </a:lnTo>
                  <a:lnTo>
                    <a:pt x="17417" y="47115"/>
                  </a:lnTo>
                  <a:lnTo>
                    <a:pt x="17280" y="47115"/>
                  </a:lnTo>
                  <a:lnTo>
                    <a:pt x="17469" y="47218"/>
                  </a:lnTo>
                  <a:lnTo>
                    <a:pt x="17194" y="47081"/>
                  </a:lnTo>
                  <a:lnTo>
                    <a:pt x="17194" y="47081"/>
                  </a:lnTo>
                  <a:lnTo>
                    <a:pt x="17366" y="47081"/>
                  </a:lnTo>
                  <a:lnTo>
                    <a:pt x="17228" y="47081"/>
                  </a:lnTo>
                  <a:lnTo>
                    <a:pt x="17366" y="47081"/>
                  </a:lnTo>
                  <a:lnTo>
                    <a:pt x="17108" y="46961"/>
                  </a:lnTo>
                  <a:lnTo>
                    <a:pt x="17108" y="46961"/>
                  </a:lnTo>
                  <a:lnTo>
                    <a:pt x="17005" y="46961"/>
                  </a:lnTo>
                  <a:lnTo>
                    <a:pt x="17005" y="46961"/>
                  </a:lnTo>
                  <a:lnTo>
                    <a:pt x="16782" y="46858"/>
                  </a:lnTo>
                  <a:lnTo>
                    <a:pt x="16782" y="46858"/>
                  </a:lnTo>
                  <a:lnTo>
                    <a:pt x="16696" y="46858"/>
                  </a:lnTo>
                  <a:lnTo>
                    <a:pt x="16696" y="46858"/>
                  </a:lnTo>
                  <a:cubicBezTo>
                    <a:pt x="16557" y="46803"/>
                    <a:pt x="16425" y="46733"/>
                    <a:pt x="16301" y="46651"/>
                  </a:cubicBezTo>
                  <a:lnTo>
                    <a:pt x="16301" y="46651"/>
                  </a:lnTo>
                  <a:lnTo>
                    <a:pt x="16129" y="46548"/>
                  </a:lnTo>
                  <a:lnTo>
                    <a:pt x="16283" y="46651"/>
                  </a:lnTo>
                  <a:lnTo>
                    <a:pt x="15940" y="46462"/>
                  </a:lnTo>
                  <a:lnTo>
                    <a:pt x="15940" y="46462"/>
                  </a:lnTo>
                  <a:lnTo>
                    <a:pt x="15837" y="46462"/>
                  </a:lnTo>
                  <a:lnTo>
                    <a:pt x="15837" y="46462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510" y="46274"/>
                  </a:lnTo>
                  <a:lnTo>
                    <a:pt x="15510" y="46274"/>
                  </a:lnTo>
                  <a:lnTo>
                    <a:pt x="15339" y="46153"/>
                  </a:lnTo>
                  <a:lnTo>
                    <a:pt x="15339" y="46153"/>
                  </a:lnTo>
                  <a:lnTo>
                    <a:pt x="15201" y="46153"/>
                  </a:lnTo>
                  <a:lnTo>
                    <a:pt x="15201" y="46153"/>
                  </a:lnTo>
                  <a:cubicBezTo>
                    <a:pt x="15162" y="46164"/>
                    <a:pt x="15120" y="46164"/>
                    <a:pt x="15081" y="46153"/>
                  </a:cubicBezTo>
                  <a:lnTo>
                    <a:pt x="15081" y="46153"/>
                  </a:lnTo>
                  <a:lnTo>
                    <a:pt x="15218" y="46239"/>
                  </a:lnTo>
                  <a:lnTo>
                    <a:pt x="15081" y="46153"/>
                  </a:lnTo>
                  <a:lnTo>
                    <a:pt x="15081" y="46153"/>
                  </a:lnTo>
                  <a:lnTo>
                    <a:pt x="14961" y="46153"/>
                  </a:lnTo>
                  <a:lnTo>
                    <a:pt x="14961" y="46153"/>
                  </a:lnTo>
                  <a:lnTo>
                    <a:pt x="14823" y="46067"/>
                  </a:lnTo>
                  <a:cubicBezTo>
                    <a:pt x="14890" y="46095"/>
                    <a:pt x="14953" y="46130"/>
                    <a:pt x="15012" y="46170"/>
                  </a:cubicBezTo>
                  <a:cubicBezTo>
                    <a:pt x="15012" y="46170"/>
                    <a:pt x="15150" y="46274"/>
                    <a:pt x="15184" y="46274"/>
                  </a:cubicBezTo>
                  <a:lnTo>
                    <a:pt x="14720" y="45947"/>
                  </a:lnTo>
                  <a:lnTo>
                    <a:pt x="14720" y="45947"/>
                  </a:lnTo>
                  <a:cubicBezTo>
                    <a:pt x="14446" y="45724"/>
                    <a:pt x="14136" y="45535"/>
                    <a:pt x="13879" y="45312"/>
                  </a:cubicBezTo>
                  <a:lnTo>
                    <a:pt x="13982" y="45312"/>
                  </a:lnTo>
                  <a:lnTo>
                    <a:pt x="13827" y="45191"/>
                  </a:lnTo>
                  <a:lnTo>
                    <a:pt x="13827" y="45191"/>
                  </a:lnTo>
                  <a:cubicBezTo>
                    <a:pt x="13827" y="45191"/>
                    <a:pt x="13827" y="45191"/>
                    <a:pt x="13724" y="45191"/>
                  </a:cubicBezTo>
                  <a:lnTo>
                    <a:pt x="13724" y="45191"/>
                  </a:lnTo>
                  <a:lnTo>
                    <a:pt x="13724" y="45191"/>
                  </a:lnTo>
                  <a:lnTo>
                    <a:pt x="13724" y="45191"/>
                  </a:lnTo>
                  <a:cubicBezTo>
                    <a:pt x="13500" y="45056"/>
                    <a:pt x="13292" y="44895"/>
                    <a:pt x="13106" y="44710"/>
                  </a:cubicBezTo>
                  <a:lnTo>
                    <a:pt x="13106" y="44710"/>
                  </a:lnTo>
                  <a:cubicBezTo>
                    <a:pt x="12865" y="44453"/>
                    <a:pt x="12573" y="44264"/>
                    <a:pt x="12316" y="44023"/>
                  </a:cubicBezTo>
                  <a:cubicBezTo>
                    <a:pt x="12316" y="44023"/>
                    <a:pt x="12316" y="44023"/>
                    <a:pt x="12316" y="44023"/>
                  </a:cubicBezTo>
                  <a:cubicBezTo>
                    <a:pt x="11271" y="42931"/>
                    <a:pt x="10350" y="41727"/>
                    <a:pt x="9567" y="40434"/>
                  </a:cubicBezTo>
                  <a:lnTo>
                    <a:pt x="9567" y="40434"/>
                  </a:lnTo>
                  <a:cubicBezTo>
                    <a:pt x="9215" y="39466"/>
                    <a:pt x="8691" y="38570"/>
                    <a:pt x="8021" y="37788"/>
                  </a:cubicBezTo>
                  <a:lnTo>
                    <a:pt x="8021" y="37788"/>
                  </a:lnTo>
                  <a:cubicBezTo>
                    <a:pt x="6949" y="36560"/>
                    <a:pt x="6200" y="35084"/>
                    <a:pt x="5840" y="33494"/>
                  </a:cubicBezTo>
                  <a:cubicBezTo>
                    <a:pt x="5840" y="33494"/>
                    <a:pt x="5840" y="33494"/>
                    <a:pt x="5840" y="33580"/>
                  </a:cubicBezTo>
                  <a:cubicBezTo>
                    <a:pt x="5850" y="33546"/>
                    <a:pt x="5850" y="33511"/>
                    <a:pt x="5840" y="33477"/>
                  </a:cubicBezTo>
                  <a:cubicBezTo>
                    <a:pt x="5840" y="33477"/>
                    <a:pt x="5840" y="33580"/>
                    <a:pt x="5840" y="33614"/>
                  </a:cubicBezTo>
                  <a:cubicBezTo>
                    <a:pt x="5600" y="33202"/>
                    <a:pt x="5685" y="28461"/>
                    <a:pt x="5222" y="30299"/>
                  </a:cubicBezTo>
                  <a:cubicBezTo>
                    <a:pt x="5222" y="30299"/>
                    <a:pt x="5222" y="30093"/>
                    <a:pt x="5222" y="30042"/>
                  </a:cubicBezTo>
                  <a:cubicBezTo>
                    <a:pt x="5222" y="29990"/>
                    <a:pt x="5222" y="30042"/>
                    <a:pt x="5222" y="30128"/>
                  </a:cubicBezTo>
                  <a:cubicBezTo>
                    <a:pt x="5222" y="30213"/>
                    <a:pt x="5222" y="29887"/>
                    <a:pt x="5067" y="29784"/>
                  </a:cubicBezTo>
                  <a:cubicBezTo>
                    <a:pt x="4913" y="29681"/>
                    <a:pt x="5067" y="29784"/>
                    <a:pt x="5067" y="29784"/>
                  </a:cubicBezTo>
                  <a:lnTo>
                    <a:pt x="5067" y="29784"/>
                  </a:lnTo>
                  <a:cubicBezTo>
                    <a:pt x="5067" y="29784"/>
                    <a:pt x="5067" y="29612"/>
                    <a:pt x="5067" y="29544"/>
                  </a:cubicBezTo>
                  <a:cubicBezTo>
                    <a:pt x="5067" y="29475"/>
                    <a:pt x="5067" y="29664"/>
                    <a:pt x="5067" y="29715"/>
                  </a:cubicBezTo>
                  <a:cubicBezTo>
                    <a:pt x="5067" y="29458"/>
                    <a:pt x="4947" y="29166"/>
                    <a:pt x="4844" y="28908"/>
                  </a:cubicBezTo>
                  <a:cubicBezTo>
                    <a:pt x="4844" y="28994"/>
                    <a:pt x="4844" y="29080"/>
                    <a:pt x="4844" y="29183"/>
                  </a:cubicBezTo>
                  <a:cubicBezTo>
                    <a:pt x="4689" y="28753"/>
                    <a:pt x="4672" y="28290"/>
                    <a:pt x="4552" y="27843"/>
                  </a:cubicBezTo>
                  <a:cubicBezTo>
                    <a:pt x="4552" y="27929"/>
                    <a:pt x="4552" y="27843"/>
                    <a:pt x="4552" y="27740"/>
                  </a:cubicBezTo>
                  <a:cubicBezTo>
                    <a:pt x="4552" y="27637"/>
                    <a:pt x="4552" y="27740"/>
                    <a:pt x="4552" y="27740"/>
                  </a:cubicBezTo>
                  <a:cubicBezTo>
                    <a:pt x="4552" y="27740"/>
                    <a:pt x="4552" y="27740"/>
                    <a:pt x="4552" y="27740"/>
                  </a:cubicBezTo>
                  <a:cubicBezTo>
                    <a:pt x="4552" y="27740"/>
                    <a:pt x="4552" y="27740"/>
                    <a:pt x="4552" y="27740"/>
                  </a:cubicBezTo>
                  <a:cubicBezTo>
                    <a:pt x="4343" y="27287"/>
                    <a:pt x="4226" y="26796"/>
                    <a:pt x="4208" y="26297"/>
                  </a:cubicBezTo>
                  <a:cubicBezTo>
                    <a:pt x="4218" y="26366"/>
                    <a:pt x="4218" y="26435"/>
                    <a:pt x="4208" y="26503"/>
                  </a:cubicBezTo>
                  <a:cubicBezTo>
                    <a:pt x="4218" y="26435"/>
                    <a:pt x="4218" y="26366"/>
                    <a:pt x="4208" y="26297"/>
                  </a:cubicBezTo>
                  <a:lnTo>
                    <a:pt x="4208" y="26297"/>
                  </a:lnTo>
                  <a:cubicBezTo>
                    <a:pt x="4208" y="26297"/>
                    <a:pt x="4208" y="26297"/>
                    <a:pt x="4208" y="26297"/>
                  </a:cubicBezTo>
                  <a:lnTo>
                    <a:pt x="4208" y="26297"/>
                  </a:lnTo>
                  <a:lnTo>
                    <a:pt x="4208" y="26297"/>
                  </a:lnTo>
                  <a:cubicBezTo>
                    <a:pt x="4208" y="26297"/>
                    <a:pt x="4208" y="26297"/>
                    <a:pt x="4208" y="26400"/>
                  </a:cubicBezTo>
                  <a:cubicBezTo>
                    <a:pt x="4208" y="26503"/>
                    <a:pt x="4208" y="26400"/>
                    <a:pt x="4208" y="26400"/>
                  </a:cubicBezTo>
                  <a:lnTo>
                    <a:pt x="4208" y="26400"/>
                  </a:lnTo>
                  <a:lnTo>
                    <a:pt x="4208" y="26400"/>
                  </a:lnTo>
                  <a:cubicBezTo>
                    <a:pt x="4208" y="26314"/>
                    <a:pt x="4208" y="26194"/>
                    <a:pt x="4208" y="26091"/>
                  </a:cubicBezTo>
                  <a:lnTo>
                    <a:pt x="4208" y="26091"/>
                  </a:lnTo>
                  <a:cubicBezTo>
                    <a:pt x="4200" y="26034"/>
                    <a:pt x="4200" y="25976"/>
                    <a:pt x="4208" y="25919"/>
                  </a:cubicBezTo>
                  <a:lnTo>
                    <a:pt x="4208" y="25919"/>
                  </a:lnTo>
                  <a:cubicBezTo>
                    <a:pt x="4191" y="25679"/>
                    <a:pt x="4191" y="25438"/>
                    <a:pt x="4208" y="25198"/>
                  </a:cubicBezTo>
                  <a:lnTo>
                    <a:pt x="4208" y="25198"/>
                  </a:lnTo>
                  <a:cubicBezTo>
                    <a:pt x="4208" y="25198"/>
                    <a:pt x="4208" y="25112"/>
                    <a:pt x="4208" y="25078"/>
                  </a:cubicBezTo>
                  <a:lnTo>
                    <a:pt x="4208" y="25078"/>
                  </a:lnTo>
                  <a:cubicBezTo>
                    <a:pt x="4764" y="15747"/>
                    <a:pt x="10928" y="7687"/>
                    <a:pt x="19787" y="4706"/>
                  </a:cubicBezTo>
                  <a:lnTo>
                    <a:pt x="19787" y="4706"/>
                  </a:lnTo>
                  <a:lnTo>
                    <a:pt x="19994" y="4706"/>
                  </a:lnTo>
                  <a:lnTo>
                    <a:pt x="19994" y="4706"/>
                  </a:lnTo>
                  <a:lnTo>
                    <a:pt x="20217" y="4706"/>
                  </a:lnTo>
                  <a:lnTo>
                    <a:pt x="20062" y="4706"/>
                  </a:lnTo>
                  <a:lnTo>
                    <a:pt x="20337" y="4706"/>
                  </a:lnTo>
                  <a:lnTo>
                    <a:pt x="20234" y="4706"/>
                  </a:lnTo>
                  <a:lnTo>
                    <a:pt x="20234" y="4706"/>
                  </a:lnTo>
                  <a:lnTo>
                    <a:pt x="20423" y="4706"/>
                  </a:lnTo>
                  <a:lnTo>
                    <a:pt x="20423" y="4706"/>
                  </a:lnTo>
                  <a:lnTo>
                    <a:pt x="21711" y="4414"/>
                  </a:lnTo>
                  <a:lnTo>
                    <a:pt x="21711" y="4414"/>
                  </a:lnTo>
                  <a:lnTo>
                    <a:pt x="22038" y="4414"/>
                  </a:lnTo>
                  <a:lnTo>
                    <a:pt x="21814" y="4414"/>
                  </a:lnTo>
                  <a:lnTo>
                    <a:pt x="21814" y="4414"/>
                  </a:lnTo>
                  <a:lnTo>
                    <a:pt x="22415" y="4414"/>
                  </a:lnTo>
                  <a:lnTo>
                    <a:pt x="22415" y="4414"/>
                  </a:lnTo>
                  <a:lnTo>
                    <a:pt x="22106" y="4414"/>
                  </a:lnTo>
                  <a:lnTo>
                    <a:pt x="22398" y="4414"/>
                  </a:lnTo>
                  <a:lnTo>
                    <a:pt x="22398" y="4414"/>
                  </a:lnTo>
                  <a:lnTo>
                    <a:pt x="22690" y="4414"/>
                  </a:lnTo>
                  <a:lnTo>
                    <a:pt x="22587" y="4414"/>
                  </a:lnTo>
                  <a:lnTo>
                    <a:pt x="22484" y="4414"/>
                  </a:lnTo>
                  <a:lnTo>
                    <a:pt x="22725" y="4414"/>
                  </a:lnTo>
                  <a:lnTo>
                    <a:pt x="22347" y="4414"/>
                  </a:lnTo>
                  <a:lnTo>
                    <a:pt x="22244" y="4414"/>
                  </a:lnTo>
                  <a:lnTo>
                    <a:pt x="22055" y="4414"/>
                  </a:lnTo>
                  <a:lnTo>
                    <a:pt x="22415" y="4414"/>
                  </a:lnTo>
                  <a:lnTo>
                    <a:pt x="22020" y="4414"/>
                  </a:lnTo>
                  <a:lnTo>
                    <a:pt x="22020" y="4414"/>
                  </a:lnTo>
                  <a:lnTo>
                    <a:pt x="21608" y="4414"/>
                  </a:lnTo>
                  <a:lnTo>
                    <a:pt x="21608" y="4414"/>
                  </a:lnTo>
                  <a:lnTo>
                    <a:pt x="21213" y="4500"/>
                  </a:lnTo>
                  <a:lnTo>
                    <a:pt x="21385" y="4500"/>
                  </a:lnTo>
                  <a:lnTo>
                    <a:pt x="21385" y="4500"/>
                  </a:lnTo>
                  <a:cubicBezTo>
                    <a:pt x="21251" y="4544"/>
                    <a:pt x="21113" y="4572"/>
                    <a:pt x="20973" y="4586"/>
                  </a:cubicBezTo>
                  <a:lnTo>
                    <a:pt x="21144" y="4586"/>
                  </a:lnTo>
                  <a:lnTo>
                    <a:pt x="20955" y="4586"/>
                  </a:lnTo>
                  <a:lnTo>
                    <a:pt x="20955" y="4586"/>
                  </a:lnTo>
                  <a:lnTo>
                    <a:pt x="20835" y="4586"/>
                  </a:lnTo>
                  <a:lnTo>
                    <a:pt x="20835" y="4586"/>
                  </a:lnTo>
                  <a:lnTo>
                    <a:pt x="20835" y="4586"/>
                  </a:lnTo>
                  <a:cubicBezTo>
                    <a:pt x="20835" y="4586"/>
                    <a:pt x="20835" y="4586"/>
                    <a:pt x="20835" y="4586"/>
                  </a:cubicBezTo>
                  <a:lnTo>
                    <a:pt x="20835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560" y="4586"/>
                  </a:lnTo>
                  <a:lnTo>
                    <a:pt x="20560" y="4586"/>
                  </a:lnTo>
                  <a:lnTo>
                    <a:pt x="20114" y="4706"/>
                  </a:lnTo>
                  <a:lnTo>
                    <a:pt x="20114" y="4706"/>
                  </a:lnTo>
                  <a:lnTo>
                    <a:pt x="19787" y="4827"/>
                  </a:lnTo>
                  <a:lnTo>
                    <a:pt x="19787" y="4827"/>
                  </a:lnTo>
                  <a:lnTo>
                    <a:pt x="19392" y="4947"/>
                  </a:lnTo>
                  <a:lnTo>
                    <a:pt x="19392" y="4947"/>
                  </a:lnTo>
                  <a:lnTo>
                    <a:pt x="19100" y="5153"/>
                  </a:lnTo>
                  <a:lnTo>
                    <a:pt x="19100" y="5153"/>
                  </a:lnTo>
                  <a:lnTo>
                    <a:pt x="18997" y="5153"/>
                  </a:lnTo>
                  <a:lnTo>
                    <a:pt x="18997" y="5153"/>
                  </a:lnTo>
                  <a:lnTo>
                    <a:pt x="18430" y="5359"/>
                  </a:lnTo>
                  <a:lnTo>
                    <a:pt x="18568" y="5359"/>
                  </a:lnTo>
                  <a:lnTo>
                    <a:pt x="18568" y="5359"/>
                  </a:lnTo>
                  <a:cubicBezTo>
                    <a:pt x="18763" y="5286"/>
                    <a:pt x="18964" y="5229"/>
                    <a:pt x="19169" y="5187"/>
                  </a:cubicBezTo>
                  <a:lnTo>
                    <a:pt x="19169" y="5187"/>
                  </a:lnTo>
                  <a:lnTo>
                    <a:pt x="19341" y="5187"/>
                  </a:lnTo>
                  <a:lnTo>
                    <a:pt x="19461" y="5187"/>
                  </a:lnTo>
                  <a:lnTo>
                    <a:pt x="19186" y="5187"/>
                  </a:lnTo>
                  <a:lnTo>
                    <a:pt x="19186" y="5187"/>
                  </a:lnTo>
                  <a:lnTo>
                    <a:pt x="19032" y="5187"/>
                  </a:lnTo>
                  <a:lnTo>
                    <a:pt x="19032" y="5187"/>
                  </a:lnTo>
                  <a:lnTo>
                    <a:pt x="18911" y="5187"/>
                  </a:lnTo>
                  <a:lnTo>
                    <a:pt x="18911" y="5187"/>
                  </a:lnTo>
                  <a:lnTo>
                    <a:pt x="18740" y="5187"/>
                  </a:lnTo>
                  <a:lnTo>
                    <a:pt x="18740" y="5187"/>
                  </a:lnTo>
                  <a:lnTo>
                    <a:pt x="18894" y="5187"/>
                  </a:lnTo>
                  <a:lnTo>
                    <a:pt x="18894" y="5187"/>
                  </a:lnTo>
                  <a:lnTo>
                    <a:pt x="19049" y="5187"/>
                  </a:lnTo>
                  <a:lnTo>
                    <a:pt x="19049" y="5187"/>
                  </a:lnTo>
                  <a:lnTo>
                    <a:pt x="18860" y="5187"/>
                  </a:lnTo>
                  <a:cubicBezTo>
                    <a:pt x="18997" y="5187"/>
                    <a:pt x="19392" y="5067"/>
                    <a:pt x="19032" y="5187"/>
                  </a:cubicBezTo>
                  <a:lnTo>
                    <a:pt x="19186" y="5187"/>
                  </a:lnTo>
                  <a:lnTo>
                    <a:pt x="19289" y="5187"/>
                  </a:lnTo>
                  <a:lnTo>
                    <a:pt x="19650" y="5084"/>
                  </a:lnTo>
                  <a:cubicBezTo>
                    <a:pt x="19252" y="5196"/>
                    <a:pt x="18862" y="5334"/>
                    <a:pt x="18482" y="5497"/>
                  </a:cubicBezTo>
                  <a:lnTo>
                    <a:pt x="18654" y="5497"/>
                  </a:lnTo>
                  <a:lnTo>
                    <a:pt x="18654" y="5497"/>
                  </a:lnTo>
                  <a:cubicBezTo>
                    <a:pt x="18654" y="5497"/>
                    <a:pt x="18860" y="5497"/>
                    <a:pt x="18740" y="5497"/>
                  </a:cubicBezTo>
                  <a:lnTo>
                    <a:pt x="18894" y="5497"/>
                  </a:lnTo>
                  <a:lnTo>
                    <a:pt x="18894" y="5497"/>
                  </a:lnTo>
                  <a:lnTo>
                    <a:pt x="19032" y="5497"/>
                  </a:lnTo>
                  <a:cubicBezTo>
                    <a:pt x="18929" y="5497"/>
                    <a:pt x="18808" y="5497"/>
                    <a:pt x="18722" y="5617"/>
                  </a:cubicBezTo>
                  <a:lnTo>
                    <a:pt x="18722" y="5617"/>
                  </a:lnTo>
                  <a:lnTo>
                    <a:pt x="18585" y="5617"/>
                  </a:lnTo>
                  <a:lnTo>
                    <a:pt x="18585" y="5617"/>
                  </a:lnTo>
                  <a:lnTo>
                    <a:pt x="18413" y="5617"/>
                  </a:lnTo>
                  <a:cubicBezTo>
                    <a:pt x="18505" y="5624"/>
                    <a:pt x="18597" y="5624"/>
                    <a:pt x="18688" y="5617"/>
                  </a:cubicBezTo>
                  <a:cubicBezTo>
                    <a:pt x="18396" y="5771"/>
                    <a:pt x="18035" y="5909"/>
                    <a:pt x="17743" y="6098"/>
                  </a:cubicBezTo>
                  <a:lnTo>
                    <a:pt x="17743" y="6098"/>
                  </a:lnTo>
                  <a:lnTo>
                    <a:pt x="17554" y="6201"/>
                  </a:lnTo>
                  <a:lnTo>
                    <a:pt x="17743" y="6201"/>
                  </a:lnTo>
                  <a:lnTo>
                    <a:pt x="17743" y="6201"/>
                  </a:lnTo>
                  <a:cubicBezTo>
                    <a:pt x="17743" y="6201"/>
                    <a:pt x="17743" y="6201"/>
                    <a:pt x="17743" y="6201"/>
                  </a:cubicBezTo>
                  <a:cubicBezTo>
                    <a:pt x="17557" y="6309"/>
                    <a:pt x="17362" y="6402"/>
                    <a:pt x="17159" y="6476"/>
                  </a:cubicBezTo>
                  <a:cubicBezTo>
                    <a:pt x="17159" y="6476"/>
                    <a:pt x="17159" y="6476"/>
                    <a:pt x="17159" y="6476"/>
                  </a:cubicBezTo>
                  <a:cubicBezTo>
                    <a:pt x="17159" y="6476"/>
                    <a:pt x="17056" y="6476"/>
                    <a:pt x="17039" y="6476"/>
                  </a:cubicBezTo>
                  <a:lnTo>
                    <a:pt x="17039" y="6476"/>
                  </a:lnTo>
                  <a:cubicBezTo>
                    <a:pt x="16976" y="6499"/>
                    <a:pt x="16918" y="6534"/>
                    <a:pt x="16867" y="6579"/>
                  </a:cubicBezTo>
                  <a:lnTo>
                    <a:pt x="16867" y="6579"/>
                  </a:lnTo>
                  <a:cubicBezTo>
                    <a:pt x="16867" y="6579"/>
                    <a:pt x="16627" y="6750"/>
                    <a:pt x="16730" y="6716"/>
                  </a:cubicBezTo>
                  <a:lnTo>
                    <a:pt x="16730" y="6716"/>
                  </a:lnTo>
                  <a:lnTo>
                    <a:pt x="16730" y="6716"/>
                  </a:lnTo>
                  <a:lnTo>
                    <a:pt x="16730" y="6716"/>
                  </a:lnTo>
                  <a:cubicBezTo>
                    <a:pt x="16730" y="6716"/>
                    <a:pt x="16730" y="6716"/>
                    <a:pt x="16730" y="6716"/>
                  </a:cubicBezTo>
                  <a:lnTo>
                    <a:pt x="16885" y="6716"/>
                  </a:lnTo>
                  <a:lnTo>
                    <a:pt x="16627" y="6853"/>
                  </a:lnTo>
                  <a:lnTo>
                    <a:pt x="16627" y="6853"/>
                  </a:lnTo>
                  <a:cubicBezTo>
                    <a:pt x="16627" y="6853"/>
                    <a:pt x="16455" y="6853"/>
                    <a:pt x="16386" y="6991"/>
                  </a:cubicBezTo>
                  <a:cubicBezTo>
                    <a:pt x="16318" y="7128"/>
                    <a:pt x="16507" y="6991"/>
                    <a:pt x="16558" y="6991"/>
                  </a:cubicBezTo>
                  <a:cubicBezTo>
                    <a:pt x="16389" y="7066"/>
                    <a:pt x="16228" y="7158"/>
                    <a:pt x="16077" y="7266"/>
                  </a:cubicBezTo>
                  <a:lnTo>
                    <a:pt x="16077" y="7266"/>
                  </a:lnTo>
                  <a:lnTo>
                    <a:pt x="16077" y="7266"/>
                  </a:lnTo>
                  <a:cubicBezTo>
                    <a:pt x="16317" y="7116"/>
                    <a:pt x="16570" y="6989"/>
                    <a:pt x="16833" y="6888"/>
                  </a:cubicBezTo>
                  <a:lnTo>
                    <a:pt x="16833" y="6888"/>
                  </a:lnTo>
                  <a:cubicBezTo>
                    <a:pt x="16833" y="6888"/>
                    <a:pt x="16833" y="6888"/>
                    <a:pt x="16833" y="6888"/>
                  </a:cubicBezTo>
                  <a:lnTo>
                    <a:pt x="16833" y="6888"/>
                  </a:lnTo>
                  <a:lnTo>
                    <a:pt x="16936" y="6888"/>
                  </a:lnTo>
                  <a:lnTo>
                    <a:pt x="16833" y="6888"/>
                  </a:lnTo>
                  <a:cubicBezTo>
                    <a:pt x="16833" y="6888"/>
                    <a:pt x="16988" y="6785"/>
                    <a:pt x="17056" y="6785"/>
                  </a:cubicBezTo>
                  <a:lnTo>
                    <a:pt x="17056" y="6785"/>
                  </a:lnTo>
                  <a:cubicBezTo>
                    <a:pt x="17056" y="6785"/>
                    <a:pt x="17314" y="6682"/>
                    <a:pt x="17159" y="6785"/>
                  </a:cubicBezTo>
                  <a:lnTo>
                    <a:pt x="17039" y="6785"/>
                  </a:lnTo>
                  <a:cubicBezTo>
                    <a:pt x="17073" y="6775"/>
                    <a:pt x="17109" y="6775"/>
                    <a:pt x="17142" y="6785"/>
                  </a:cubicBezTo>
                  <a:lnTo>
                    <a:pt x="17022" y="6785"/>
                  </a:lnTo>
                  <a:lnTo>
                    <a:pt x="17022" y="6785"/>
                  </a:lnTo>
                  <a:cubicBezTo>
                    <a:pt x="17022" y="6785"/>
                    <a:pt x="17022" y="6785"/>
                    <a:pt x="16885" y="6785"/>
                  </a:cubicBezTo>
                  <a:cubicBezTo>
                    <a:pt x="16747" y="6785"/>
                    <a:pt x="17074" y="6785"/>
                    <a:pt x="17005" y="6785"/>
                  </a:cubicBezTo>
                  <a:cubicBezTo>
                    <a:pt x="17104" y="6745"/>
                    <a:pt x="17215" y="6745"/>
                    <a:pt x="17314" y="6785"/>
                  </a:cubicBezTo>
                  <a:lnTo>
                    <a:pt x="17314" y="6785"/>
                  </a:lnTo>
                  <a:cubicBezTo>
                    <a:pt x="17125" y="6922"/>
                    <a:pt x="16902" y="7025"/>
                    <a:pt x="16696" y="7145"/>
                  </a:cubicBezTo>
                  <a:lnTo>
                    <a:pt x="16696" y="7145"/>
                  </a:lnTo>
                  <a:lnTo>
                    <a:pt x="16696" y="7145"/>
                  </a:lnTo>
                  <a:lnTo>
                    <a:pt x="16696" y="7145"/>
                  </a:lnTo>
                  <a:cubicBezTo>
                    <a:pt x="16696" y="7145"/>
                    <a:pt x="16696" y="7145"/>
                    <a:pt x="16696" y="7145"/>
                  </a:cubicBezTo>
                  <a:lnTo>
                    <a:pt x="16696" y="7145"/>
                  </a:lnTo>
                  <a:lnTo>
                    <a:pt x="16696" y="7145"/>
                  </a:lnTo>
                  <a:lnTo>
                    <a:pt x="16455" y="7300"/>
                  </a:lnTo>
                  <a:lnTo>
                    <a:pt x="16455" y="7300"/>
                  </a:lnTo>
                  <a:cubicBezTo>
                    <a:pt x="16455" y="7300"/>
                    <a:pt x="16455" y="7300"/>
                    <a:pt x="16455" y="7386"/>
                  </a:cubicBezTo>
                  <a:lnTo>
                    <a:pt x="16610" y="7386"/>
                  </a:lnTo>
                  <a:lnTo>
                    <a:pt x="16610" y="7386"/>
                  </a:lnTo>
                  <a:lnTo>
                    <a:pt x="16610" y="7489"/>
                  </a:lnTo>
                  <a:cubicBezTo>
                    <a:pt x="16610" y="7489"/>
                    <a:pt x="16610" y="7489"/>
                    <a:pt x="16610" y="7489"/>
                  </a:cubicBezTo>
                  <a:lnTo>
                    <a:pt x="16610" y="7489"/>
                  </a:lnTo>
                  <a:cubicBezTo>
                    <a:pt x="16953" y="7266"/>
                    <a:pt x="16713" y="7489"/>
                    <a:pt x="16610" y="7592"/>
                  </a:cubicBezTo>
                  <a:cubicBezTo>
                    <a:pt x="16730" y="7592"/>
                    <a:pt x="16833" y="7386"/>
                    <a:pt x="16970" y="7334"/>
                  </a:cubicBezTo>
                  <a:lnTo>
                    <a:pt x="16970" y="7334"/>
                  </a:lnTo>
                  <a:cubicBezTo>
                    <a:pt x="16970" y="7334"/>
                    <a:pt x="17280" y="7145"/>
                    <a:pt x="17108" y="7334"/>
                  </a:cubicBezTo>
                  <a:lnTo>
                    <a:pt x="17245" y="7334"/>
                  </a:lnTo>
                  <a:lnTo>
                    <a:pt x="17142" y="7334"/>
                  </a:lnTo>
                  <a:cubicBezTo>
                    <a:pt x="17142" y="7334"/>
                    <a:pt x="17142" y="7334"/>
                    <a:pt x="17142" y="7334"/>
                  </a:cubicBezTo>
                  <a:cubicBezTo>
                    <a:pt x="17142" y="7334"/>
                    <a:pt x="17022" y="7334"/>
                    <a:pt x="16988" y="7437"/>
                  </a:cubicBezTo>
                  <a:lnTo>
                    <a:pt x="16988" y="7437"/>
                  </a:lnTo>
                  <a:cubicBezTo>
                    <a:pt x="16988" y="7437"/>
                    <a:pt x="16885" y="7437"/>
                    <a:pt x="16867" y="7437"/>
                  </a:cubicBezTo>
                  <a:cubicBezTo>
                    <a:pt x="17211" y="7317"/>
                    <a:pt x="16747" y="7437"/>
                    <a:pt x="16610" y="7575"/>
                  </a:cubicBezTo>
                  <a:lnTo>
                    <a:pt x="16610" y="7575"/>
                  </a:lnTo>
                  <a:lnTo>
                    <a:pt x="16421" y="7678"/>
                  </a:lnTo>
                  <a:lnTo>
                    <a:pt x="16421" y="7678"/>
                  </a:lnTo>
                  <a:lnTo>
                    <a:pt x="16283" y="7678"/>
                  </a:lnTo>
                  <a:cubicBezTo>
                    <a:pt x="16438" y="7678"/>
                    <a:pt x="16283" y="7678"/>
                    <a:pt x="16283" y="7678"/>
                  </a:cubicBezTo>
                  <a:lnTo>
                    <a:pt x="16283" y="7678"/>
                  </a:lnTo>
                  <a:lnTo>
                    <a:pt x="16129" y="7678"/>
                  </a:lnTo>
                  <a:lnTo>
                    <a:pt x="16129" y="7678"/>
                  </a:lnTo>
                  <a:lnTo>
                    <a:pt x="16129" y="7678"/>
                  </a:lnTo>
                  <a:lnTo>
                    <a:pt x="16129" y="7678"/>
                  </a:lnTo>
                  <a:cubicBezTo>
                    <a:pt x="16026" y="7678"/>
                    <a:pt x="15923" y="7833"/>
                    <a:pt x="15820" y="7867"/>
                  </a:cubicBezTo>
                  <a:cubicBezTo>
                    <a:pt x="15717" y="7901"/>
                    <a:pt x="15974" y="7764"/>
                    <a:pt x="16043" y="7747"/>
                  </a:cubicBezTo>
                  <a:cubicBezTo>
                    <a:pt x="16112" y="7729"/>
                    <a:pt x="16043" y="7747"/>
                    <a:pt x="16043" y="7747"/>
                  </a:cubicBezTo>
                  <a:cubicBezTo>
                    <a:pt x="16131" y="7705"/>
                    <a:pt x="16223" y="7670"/>
                    <a:pt x="16318" y="7644"/>
                  </a:cubicBezTo>
                  <a:lnTo>
                    <a:pt x="16198" y="7644"/>
                  </a:lnTo>
                  <a:cubicBezTo>
                    <a:pt x="16386" y="7558"/>
                    <a:pt x="16558" y="7420"/>
                    <a:pt x="16747" y="7352"/>
                  </a:cubicBezTo>
                  <a:lnTo>
                    <a:pt x="16747" y="7352"/>
                  </a:lnTo>
                  <a:lnTo>
                    <a:pt x="16747" y="7352"/>
                  </a:lnTo>
                  <a:cubicBezTo>
                    <a:pt x="16976" y="7288"/>
                    <a:pt x="17195" y="7196"/>
                    <a:pt x="17400" y="7077"/>
                  </a:cubicBezTo>
                  <a:cubicBezTo>
                    <a:pt x="17400" y="7077"/>
                    <a:pt x="17400" y="7077"/>
                    <a:pt x="17262" y="7077"/>
                  </a:cubicBezTo>
                  <a:lnTo>
                    <a:pt x="17262" y="7077"/>
                  </a:lnTo>
                  <a:cubicBezTo>
                    <a:pt x="17366" y="7077"/>
                    <a:pt x="17761" y="6836"/>
                    <a:pt x="17520" y="6991"/>
                  </a:cubicBezTo>
                  <a:cubicBezTo>
                    <a:pt x="17692" y="6991"/>
                    <a:pt x="17692" y="6819"/>
                    <a:pt x="17846" y="6768"/>
                  </a:cubicBezTo>
                  <a:cubicBezTo>
                    <a:pt x="17692" y="6768"/>
                    <a:pt x="17846" y="6768"/>
                    <a:pt x="17846" y="6768"/>
                  </a:cubicBezTo>
                  <a:lnTo>
                    <a:pt x="17846" y="6768"/>
                  </a:lnTo>
                  <a:cubicBezTo>
                    <a:pt x="18036" y="6628"/>
                    <a:pt x="18252" y="6528"/>
                    <a:pt x="18482" y="6476"/>
                  </a:cubicBezTo>
                  <a:lnTo>
                    <a:pt x="18482" y="6476"/>
                  </a:lnTo>
                  <a:cubicBezTo>
                    <a:pt x="18662" y="6364"/>
                    <a:pt x="18859" y="6282"/>
                    <a:pt x="19066" y="6235"/>
                  </a:cubicBezTo>
                  <a:lnTo>
                    <a:pt x="18911" y="6321"/>
                  </a:lnTo>
                  <a:cubicBezTo>
                    <a:pt x="19100" y="6321"/>
                    <a:pt x="19238" y="6149"/>
                    <a:pt x="19427" y="6115"/>
                  </a:cubicBezTo>
                  <a:lnTo>
                    <a:pt x="19238" y="6252"/>
                  </a:lnTo>
                  <a:cubicBezTo>
                    <a:pt x="20286" y="5617"/>
                    <a:pt x="22038" y="4998"/>
                    <a:pt x="20303" y="5909"/>
                  </a:cubicBezTo>
                  <a:cubicBezTo>
                    <a:pt x="20578" y="5823"/>
                    <a:pt x="21230" y="5411"/>
                    <a:pt x="21024" y="5651"/>
                  </a:cubicBezTo>
                  <a:cubicBezTo>
                    <a:pt x="21780" y="5393"/>
                    <a:pt x="20629" y="6012"/>
                    <a:pt x="20303" y="6149"/>
                  </a:cubicBezTo>
                  <a:cubicBezTo>
                    <a:pt x="20698" y="6012"/>
                    <a:pt x="20303" y="6149"/>
                    <a:pt x="20303" y="6149"/>
                  </a:cubicBezTo>
                  <a:cubicBezTo>
                    <a:pt x="20303" y="6149"/>
                    <a:pt x="20560" y="5977"/>
                    <a:pt x="20406" y="6149"/>
                  </a:cubicBezTo>
                  <a:cubicBezTo>
                    <a:pt x="20663" y="5857"/>
                    <a:pt x="20921" y="6149"/>
                    <a:pt x="20492" y="6235"/>
                  </a:cubicBezTo>
                  <a:cubicBezTo>
                    <a:pt x="20448" y="6218"/>
                    <a:pt x="20398" y="6218"/>
                    <a:pt x="20354" y="6235"/>
                  </a:cubicBezTo>
                  <a:cubicBezTo>
                    <a:pt x="20612" y="6235"/>
                    <a:pt x="20251" y="6321"/>
                    <a:pt x="20165" y="6355"/>
                  </a:cubicBezTo>
                  <a:cubicBezTo>
                    <a:pt x="20818" y="6149"/>
                    <a:pt x="19616" y="6647"/>
                    <a:pt x="20337" y="6355"/>
                  </a:cubicBezTo>
                  <a:cubicBezTo>
                    <a:pt x="19427" y="6750"/>
                    <a:pt x="20749" y="6355"/>
                    <a:pt x="19856" y="6716"/>
                  </a:cubicBezTo>
                  <a:cubicBezTo>
                    <a:pt x="19856" y="6819"/>
                    <a:pt x="19856" y="6716"/>
                    <a:pt x="20097" y="6716"/>
                  </a:cubicBezTo>
                  <a:cubicBezTo>
                    <a:pt x="19967" y="6814"/>
                    <a:pt x="19822" y="6889"/>
                    <a:pt x="19667" y="6939"/>
                  </a:cubicBezTo>
                  <a:cubicBezTo>
                    <a:pt x="19564" y="6939"/>
                    <a:pt x="20423" y="6939"/>
                    <a:pt x="19495" y="7145"/>
                  </a:cubicBezTo>
                  <a:cubicBezTo>
                    <a:pt x="19392" y="7145"/>
                    <a:pt x="19959" y="7145"/>
                    <a:pt x="19358" y="7266"/>
                  </a:cubicBezTo>
                  <a:cubicBezTo>
                    <a:pt x="19856" y="7094"/>
                    <a:pt x="19925" y="7266"/>
                    <a:pt x="19358" y="7352"/>
                  </a:cubicBezTo>
                  <a:cubicBezTo>
                    <a:pt x="19581" y="7541"/>
                    <a:pt x="19255" y="7592"/>
                    <a:pt x="19358" y="7523"/>
                  </a:cubicBezTo>
                  <a:cubicBezTo>
                    <a:pt x="19083" y="7523"/>
                    <a:pt x="19358" y="7747"/>
                    <a:pt x="19049" y="7626"/>
                  </a:cubicBezTo>
                  <a:cubicBezTo>
                    <a:pt x="18860" y="7953"/>
                    <a:pt x="19186" y="7764"/>
                    <a:pt x="18860" y="7918"/>
                  </a:cubicBezTo>
                  <a:cubicBezTo>
                    <a:pt x="19118" y="7833"/>
                    <a:pt x="18654" y="8193"/>
                    <a:pt x="18860" y="8039"/>
                  </a:cubicBezTo>
                  <a:cubicBezTo>
                    <a:pt x="18534" y="8365"/>
                    <a:pt x="19152" y="7850"/>
                    <a:pt x="18705" y="8399"/>
                  </a:cubicBezTo>
                  <a:cubicBezTo>
                    <a:pt x="18482" y="8520"/>
                    <a:pt x="19066" y="8399"/>
                    <a:pt x="18551" y="8588"/>
                  </a:cubicBezTo>
                  <a:cubicBezTo>
                    <a:pt x="18929" y="8434"/>
                    <a:pt x="18637" y="8966"/>
                    <a:pt x="18396" y="8829"/>
                  </a:cubicBezTo>
                  <a:cubicBezTo>
                    <a:pt x="18396" y="8966"/>
                    <a:pt x="18242" y="9069"/>
                    <a:pt x="18190" y="8966"/>
                  </a:cubicBezTo>
                  <a:cubicBezTo>
                    <a:pt x="18138" y="8863"/>
                    <a:pt x="18018" y="9155"/>
                    <a:pt x="18190" y="8966"/>
                  </a:cubicBezTo>
                  <a:cubicBezTo>
                    <a:pt x="18362" y="8777"/>
                    <a:pt x="17692" y="9447"/>
                    <a:pt x="17846" y="9155"/>
                  </a:cubicBezTo>
                  <a:cubicBezTo>
                    <a:pt x="17709" y="8966"/>
                    <a:pt x="18173" y="8709"/>
                    <a:pt x="18224" y="8605"/>
                  </a:cubicBezTo>
                  <a:cubicBezTo>
                    <a:pt x="17915" y="8777"/>
                    <a:pt x="18104" y="8605"/>
                    <a:pt x="18224" y="8434"/>
                  </a:cubicBezTo>
                  <a:cubicBezTo>
                    <a:pt x="18345" y="8262"/>
                    <a:pt x="17967" y="8640"/>
                    <a:pt x="18053" y="8434"/>
                  </a:cubicBezTo>
                  <a:cubicBezTo>
                    <a:pt x="17761" y="8709"/>
                    <a:pt x="17589" y="8743"/>
                    <a:pt x="17486" y="9155"/>
                  </a:cubicBezTo>
                  <a:cubicBezTo>
                    <a:pt x="17383" y="9567"/>
                    <a:pt x="16816" y="10065"/>
                    <a:pt x="16747" y="9842"/>
                  </a:cubicBezTo>
                  <a:cubicBezTo>
                    <a:pt x="16678" y="9619"/>
                    <a:pt x="16867" y="9722"/>
                    <a:pt x="16747" y="9396"/>
                  </a:cubicBezTo>
                  <a:cubicBezTo>
                    <a:pt x="16524" y="9791"/>
                    <a:pt x="16524" y="10306"/>
                    <a:pt x="16524" y="10306"/>
                  </a:cubicBezTo>
                  <a:cubicBezTo>
                    <a:pt x="15820" y="10461"/>
                    <a:pt x="16644" y="9104"/>
                    <a:pt x="16799" y="9069"/>
                  </a:cubicBezTo>
                  <a:cubicBezTo>
                    <a:pt x="16524" y="9172"/>
                    <a:pt x="16799" y="9069"/>
                    <a:pt x="16558" y="9069"/>
                  </a:cubicBezTo>
                  <a:cubicBezTo>
                    <a:pt x="16678" y="8897"/>
                    <a:pt x="16386" y="9155"/>
                    <a:pt x="16301" y="9069"/>
                  </a:cubicBezTo>
                  <a:cubicBezTo>
                    <a:pt x="16215" y="8983"/>
                    <a:pt x="17005" y="8382"/>
                    <a:pt x="16850" y="8794"/>
                  </a:cubicBezTo>
                  <a:cubicBezTo>
                    <a:pt x="18310" y="8485"/>
                    <a:pt x="19203" y="7077"/>
                    <a:pt x="19530" y="6733"/>
                  </a:cubicBezTo>
                  <a:cubicBezTo>
                    <a:pt x="19032" y="7145"/>
                    <a:pt x="19169" y="6733"/>
                    <a:pt x="18980" y="6733"/>
                  </a:cubicBezTo>
                  <a:cubicBezTo>
                    <a:pt x="18791" y="6733"/>
                    <a:pt x="19238" y="6579"/>
                    <a:pt x="18980" y="6561"/>
                  </a:cubicBezTo>
                  <a:cubicBezTo>
                    <a:pt x="19203" y="6321"/>
                    <a:pt x="18980" y="6561"/>
                    <a:pt x="18980" y="6373"/>
                  </a:cubicBezTo>
                  <a:lnTo>
                    <a:pt x="19083" y="6373"/>
                  </a:lnTo>
                  <a:lnTo>
                    <a:pt x="18929" y="6458"/>
                  </a:lnTo>
                  <a:cubicBezTo>
                    <a:pt x="18671" y="6579"/>
                    <a:pt x="18430" y="6733"/>
                    <a:pt x="18173" y="6871"/>
                  </a:cubicBezTo>
                  <a:lnTo>
                    <a:pt x="18173" y="6871"/>
                  </a:lnTo>
                  <a:lnTo>
                    <a:pt x="18293" y="6871"/>
                  </a:lnTo>
                  <a:lnTo>
                    <a:pt x="18242" y="6871"/>
                  </a:lnTo>
                  <a:lnTo>
                    <a:pt x="18242" y="6871"/>
                  </a:lnTo>
                  <a:cubicBezTo>
                    <a:pt x="18242" y="6957"/>
                    <a:pt x="17984" y="6871"/>
                    <a:pt x="17898" y="7025"/>
                  </a:cubicBezTo>
                  <a:lnTo>
                    <a:pt x="17898" y="7025"/>
                  </a:lnTo>
                  <a:lnTo>
                    <a:pt x="17898" y="7025"/>
                  </a:lnTo>
                  <a:lnTo>
                    <a:pt x="18001" y="7025"/>
                  </a:lnTo>
                  <a:cubicBezTo>
                    <a:pt x="18001" y="7025"/>
                    <a:pt x="18001" y="7025"/>
                    <a:pt x="18001" y="7025"/>
                  </a:cubicBezTo>
                  <a:lnTo>
                    <a:pt x="18001" y="7025"/>
                  </a:lnTo>
                  <a:cubicBezTo>
                    <a:pt x="18001" y="7025"/>
                    <a:pt x="17881" y="7025"/>
                    <a:pt x="17829" y="7025"/>
                  </a:cubicBezTo>
                  <a:lnTo>
                    <a:pt x="17829" y="7025"/>
                  </a:lnTo>
                  <a:lnTo>
                    <a:pt x="17829" y="7025"/>
                  </a:lnTo>
                  <a:cubicBezTo>
                    <a:pt x="17623" y="7180"/>
                    <a:pt x="17400" y="7300"/>
                    <a:pt x="17177" y="7437"/>
                  </a:cubicBezTo>
                  <a:lnTo>
                    <a:pt x="17434" y="7334"/>
                  </a:lnTo>
                  <a:lnTo>
                    <a:pt x="17434" y="7334"/>
                  </a:lnTo>
                  <a:lnTo>
                    <a:pt x="17864" y="7111"/>
                  </a:lnTo>
                  <a:cubicBezTo>
                    <a:pt x="17702" y="7258"/>
                    <a:pt x="17523" y="7385"/>
                    <a:pt x="17331" y="7489"/>
                  </a:cubicBezTo>
                  <a:lnTo>
                    <a:pt x="17331" y="7489"/>
                  </a:lnTo>
                  <a:cubicBezTo>
                    <a:pt x="17075" y="7607"/>
                    <a:pt x="16843" y="7770"/>
                    <a:pt x="16644" y="7970"/>
                  </a:cubicBezTo>
                  <a:cubicBezTo>
                    <a:pt x="16644" y="7970"/>
                    <a:pt x="16747" y="7884"/>
                    <a:pt x="16799" y="7884"/>
                  </a:cubicBezTo>
                  <a:lnTo>
                    <a:pt x="16799" y="7884"/>
                  </a:lnTo>
                  <a:lnTo>
                    <a:pt x="17675" y="7437"/>
                  </a:lnTo>
                  <a:lnTo>
                    <a:pt x="17675" y="7437"/>
                  </a:lnTo>
                  <a:lnTo>
                    <a:pt x="17675" y="7437"/>
                  </a:lnTo>
                  <a:cubicBezTo>
                    <a:pt x="17675" y="7437"/>
                    <a:pt x="17675" y="7334"/>
                    <a:pt x="17812" y="7352"/>
                  </a:cubicBezTo>
                  <a:lnTo>
                    <a:pt x="17812" y="7352"/>
                  </a:lnTo>
                  <a:cubicBezTo>
                    <a:pt x="17812" y="7352"/>
                    <a:pt x="17812" y="7352"/>
                    <a:pt x="17932" y="7352"/>
                  </a:cubicBezTo>
                  <a:lnTo>
                    <a:pt x="17932" y="7352"/>
                  </a:lnTo>
                  <a:lnTo>
                    <a:pt x="18362" y="7111"/>
                  </a:lnTo>
                  <a:cubicBezTo>
                    <a:pt x="18362" y="7111"/>
                    <a:pt x="18362" y="7111"/>
                    <a:pt x="18362" y="7266"/>
                  </a:cubicBezTo>
                  <a:lnTo>
                    <a:pt x="18362" y="7266"/>
                  </a:lnTo>
                  <a:cubicBezTo>
                    <a:pt x="18341" y="7321"/>
                    <a:pt x="18297" y="7365"/>
                    <a:pt x="18242" y="7386"/>
                  </a:cubicBezTo>
                  <a:cubicBezTo>
                    <a:pt x="18242" y="7300"/>
                    <a:pt x="18242" y="7472"/>
                    <a:pt x="18104" y="7489"/>
                  </a:cubicBezTo>
                  <a:cubicBezTo>
                    <a:pt x="17967" y="7506"/>
                    <a:pt x="17967" y="7626"/>
                    <a:pt x="17898" y="7626"/>
                  </a:cubicBezTo>
                  <a:cubicBezTo>
                    <a:pt x="17829" y="7626"/>
                    <a:pt x="17898" y="7626"/>
                    <a:pt x="17898" y="7626"/>
                  </a:cubicBezTo>
                  <a:lnTo>
                    <a:pt x="17898" y="7626"/>
                  </a:lnTo>
                  <a:cubicBezTo>
                    <a:pt x="17898" y="7626"/>
                    <a:pt x="17606" y="7764"/>
                    <a:pt x="17692" y="7626"/>
                  </a:cubicBezTo>
                  <a:lnTo>
                    <a:pt x="17692" y="7626"/>
                  </a:lnTo>
                  <a:cubicBezTo>
                    <a:pt x="17692" y="7626"/>
                    <a:pt x="17692" y="7712"/>
                    <a:pt x="17537" y="7729"/>
                  </a:cubicBezTo>
                  <a:lnTo>
                    <a:pt x="17537" y="7729"/>
                  </a:lnTo>
                  <a:cubicBezTo>
                    <a:pt x="17537" y="7729"/>
                    <a:pt x="17417" y="7729"/>
                    <a:pt x="17537" y="7729"/>
                  </a:cubicBezTo>
                  <a:cubicBezTo>
                    <a:pt x="17222" y="8004"/>
                    <a:pt x="16845" y="8199"/>
                    <a:pt x="16438" y="8296"/>
                  </a:cubicBezTo>
                  <a:cubicBezTo>
                    <a:pt x="16466" y="8278"/>
                    <a:pt x="16495" y="8261"/>
                    <a:pt x="16524" y="8245"/>
                  </a:cubicBezTo>
                  <a:lnTo>
                    <a:pt x="16524" y="8245"/>
                  </a:lnTo>
                  <a:lnTo>
                    <a:pt x="16661" y="8125"/>
                  </a:lnTo>
                  <a:lnTo>
                    <a:pt x="16661" y="8125"/>
                  </a:lnTo>
                  <a:cubicBezTo>
                    <a:pt x="16661" y="8125"/>
                    <a:pt x="16490" y="8210"/>
                    <a:pt x="16661" y="8125"/>
                  </a:cubicBezTo>
                  <a:cubicBezTo>
                    <a:pt x="16557" y="8250"/>
                    <a:pt x="16436" y="8360"/>
                    <a:pt x="16301" y="8451"/>
                  </a:cubicBezTo>
                  <a:lnTo>
                    <a:pt x="16404" y="8296"/>
                  </a:lnTo>
                  <a:cubicBezTo>
                    <a:pt x="16404" y="8296"/>
                    <a:pt x="16404" y="8382"/>
                    <a:pt x="16283" y="8399"/>
                  </a:cubicBezTo>
                  <a:cubicBezTo>
                    <a:pt x="16163" y="8417"/>
                    <a:pt x="16283" y="8399"/>
                    <a:pt x="16283" y="8399"/>
                  </a:cubicBezTo>
                  <a:lnTo>
                    <a:pt x="16283" y="8399"/>
                  </a:lnTo>
                  <a:lnTo>
                    <a:pt x="16438" y="8279"/>
                  </a:lnTo>
                  <a:cubicBezTo>
                    <a:pt x="16438" y="8279"/>
                    <a:pt x="16335" y="8279"/>
                    <a:pt x="16438" y="8279"/>
                  </a:cubicBezTo>
                  <a:lnTo>
                    <a:pt x="16438" y="8279"/>
                  </a:lnTo>
                  <a:lnTo>
                    <a:pt x="16438" y="8279"/>
                  </a:lnTo>
                  <a:cubicBezTo>
                    <a:pt x="16260" y="8438"/>
                    <a:pt x="16057" y="8566"/>
                    <a:pt x="15837" y="8657"/>
                  </a:cubicBezTo>
                  <a:lnTo>
                    <a:pt x="15837" y="8657"/>
                  </a:lnTo>
                  <a:cubicBezTo>
                    <a:pt x="15510" y="8846"/>
                    <a:pt x="15837" y="8520"/>
                    <a:pt x="15837" y="8365"/>
                  </a:cubicBezTo>
                  <a:cubicBezTo>
                    <a:pt x="15545" y="8537"/>
                    <a:pt x="15614" y="8846"/>
                    <a:pt x="15287" y="8932"/>
                  </a:cubicBezTo>
                  <a:lnTo>
                    <a:pt x="15287" y="8932"/>
                  </a:lnTo>
                  <a:lnTo>
                    <a:pt x="14841" y="9138"/>
                  </a:lnTo>
                  <a:cubicBezTo>
                    <a:pt x="14841" y="9138"/>
                    <a:pt x="14841" y="9138"/>
                    <a:pt x="14841" y="9138"/>
                  </a:cubicBezTo>
                  <a:lnTo>
                    <a:pt x="14841" y="9138"/>
                  </a:lnTo>
                  <a:lnTo>
                    <a:pt x="14841" y="9138"/>
                  </a:lnTo>
                  <a:cubicBezTo>
                    <a:pt x="14841" y="9138"/>
                    <a:pt x="14841" y="9138"/>
                    <a:pt x="14961" y="9035"/>
                  </a:cubicBezTo>
                  <a:cubicBezTo>
                    <a:pt x="15081" y="8932"/>
                    <a:pt x="14841" y="9035"/>
                    <a:pt x="14806" y="9121"/>
                  </a:cubicBezTo>
                  <a:cubicBezTo>
                    <a:pt x="14849" y="9096"/>
                    <a:pt x="14884" y="9060"/>
                    <a:pt x="14909" y="9018"/>
                  </a:cubicBezTo>
                  <a:cubicBezTo>
                    <a:pt x="14909" y="9018"/>
                    <a:pt x="14514" y="9344"/>
                    <a:pt x="14686" y="9138"/>
                  </a:cubicBezTo>
                  <a:lnTo>
                    <a:pt x="14531" y="9258"/>
                  </a:lnTo>
                  <a:cubicBezTo>
                    <a:pt x="14601" y="9111"/>
                    <a:pt x="14687" y="8973"/>
                    <a:pt x="14789" y="8846"/>
                  </a:cubicBezTo>
                  <a:lnTo>
                    <a:pt x="14789" y="8846"/>
                  </a:lnTo>
                  <a:lnTo>
                    <a:pt x="14789" y="8846"/>
                  </a:lnTo>
                  <a:lnTo>
                    <a:pt x="14703" y="8949"/>
                  </a:lnTo>
                  <a:cubicBezTo>
                    <a:pt x="14909" y="8794"/>
                    <a:pt x="14600" y="9138"/>
                    <a:pt x="14549" y="9121"/>
                  </a:cubicBezTo>
                  <a:lnTo>
                    <a:pt x="14686" y="9121"/>
                  </a:lnTo>
                  <a:cubicBezTo>
                    <a:pt x="14549" y="9361"/>
                    <a:pt x="13999" y="9653"/>
                    <a:pt x="14411" y="9121"/>
                  </a:cubicBezTo>
                  <a:cubicBezTo>
                    <a:pt x="14274" y="9207"/>
                    <a:pt x="14205" y="9361"/>
                    <a:pt x="14085" y="9447"/>
                  </a:cubicBezTo>
                  <a:lnTo>
                    <a:pt x="14085" y="9447"/>
                  </a:lnTo>
                  <a:lnTo>
                    <a:pt x="14085" y="9447"/>
                  </a:lnTo>
                  <a:lnTo>
                    <a:pt x="14085" y="9447"/>
                  </a:lnTo>
                  <a:lnTo>
                    <a:pt x="13930" y="9585"/>
                  </a:lnTo>
                  <a:cubicBezTo>
                    <a:pt x="13930" y="9585"/>
                    <a:pt x="13930" y="9585"/>
                    <a:pt x="13930" y="9585"/>
                  </a:cubicBezTo>
                  <a:cubicBezTo>
                    <a:pt x="13930" y="9585"/>
                    <a:pt x="13810" y="9585"/>
                    <a:pt x="13776" y="9585"/>
                  </a:cubicBezTo>
                  <a:cubicBezTo>
                    <a:pt x="13741" y="9585"/>
                    <a:pt x="13260" y="9911"/>
                    <a:pt x="13123" y="9945"/>
                  </a:cubicBezTo>
                  <a:lnTo>
                    <a:pt x="13123" y="9945"/>
                  </a:lnTo>
                  <a:cubicBezTo>
                    <a:pt x="12737" y="10291"/>
                    <a:pt x="12330" y="10612"/>
                    <a:pt x="11903" y="10907"/>
                  </a:cubicBezTo>
                  <a:cubicBezTo>
                    <a:pt x="12900" y="10254"/>
                    <a:pt x="11749" y="11405"/>
                    <a:pt x="11525" y="11405"/>
                  </a:cubicBezTo>
                  <a:cubicBezTo>
                    <a:pt x="11972" y="11405"/>
                    <a:pt x="11732" y="11783"/>
                    <a:pt x="11525" y="12092"/>
                  </a:cubicBezTo>
                  <a:lnTo>
                    <a:pt x="11525" y="12092"/>
                  </a:lnTo>
                  <a:cubicBezTo>
                    <a:pt x="11512" y="12253"/>
                    <a:pt x="11471" y="12409"/>
                    <a:pt x="11405" y="12556"/>
                  </a:cubicBezTo>
                  <a:cubicBezTo>
                    <a:pt x="11525" y="12556"/>
                    <a:pt x="11508" y="12693"/>
                    <a:pt x="11629" y="12693"/>
                  </a:cubicBezTo>
                  <a:lnTo>
                    <a:pt x="11629" y="12693"/>
                  </a:lnTo>
                  <a:cubicBezTo>
                    <a:pt x="11143" y="13178"/>
                    <a:pt x="10727" y="13727"/>
                    <a:pt x="10392" y="14325"/>
                  </a:cubicBezTo>
                  <a:cubicBezTo>
                    <a:pt x="10598" y="14325"/>
                    <a:pt x="10546" y="14325"/>
                    <a:pt x="10753" y="14188"/>
                  </a:cubicBezTo>
                  <a:cubicBezTo>
                    <a:pt x="10753" y="14274"/>
                    <a:pt x="10546" y="14445"/>
                    <a:pt x="10649" y="14514"/>
                  </a:cubicBezTo>
                  <a:cubicBezTo>
                    <a:pt x="11067" y="13670"/>
                    <a:pt x="11757" y="12992"/>
                    <a:pt x="12608" y="12590"/>
                  </a:cubicBezTo>
                  <a:cubicBezTo>
                    <a:pt x="13106" y="12024"/>
                    <a:pt x="13484" y="11337"/>
                    <a:pt x="13999" y="11148"/>
                  </a:cubicBezTo>
                  <a:lnTo>
                    <a:pt x="13999" y="11148"/>
                  </a:lnTo>
                  <a:cubicBezTo>
                    <a:pt x="14085" y="11148"/>
                    <a:pt x="14119" y="10976"/>
                    <a:pt x="14205" y="10976"/>
                  </a:cubicBezTo>
                  <a:cubicBezTo>
                    <a:pt x="14291" y="10976"/>
                    <a:pt x="14205" y="10873"/>
                    <a:pt x="14325" y="10856"/>
                  </a:cubicBezTo>
                  <a:cubicBezTo>
                    <a:pt x="14446" y="10838"/>
                    <a:pt x="15493" y="9808"/>
                    <a:pt x="15081" y="10409"/>
                  </a:cubicBezTo>
                  <a:cubicBezTo>
                    <a:pt x="15081" y="10409"/>
                    <a:pt x="15253" y="10409"/>
                    <a:pt x="15201" y="10409"/>
                  </a:cubicBezTo>
                  <a:lnTo>
                    <a:pt x="15201" y="10409"/>
                  </a:lnTo>
                  <a:cubicBezTo>
                    <a:pt x="15510" y="10409"/>
                    <a:pt x="15201" y="10409"/>
                    <a:pt x="15304" y="10564"/>
                  </a:cubicBezTo>
                  <a:cubicBezTo>
                    <a:pt x="15407" y="10718"/>
                    <a:pt x="15201" y="10649"/>
                    <a:pt x="15167" y="10701"/>
                  </a:cubicBezTo>
                  <a:lnTo>
                    <a:pt x="15167" y="10701"/>
                  </a:lnTo>
                  <a:cubicBezTo>
                    <a:pt x="15167" y="10701"/>
                    <a:pt x="15167" y="10804"/>
                    <a:pt x="15167" y="10856"/>
                  </a:cubicBezTo>
                  <a:lnTo>
                    <a:pt x="15167" y="10856"/>
                  </a:lnTo>
                  <a:cubicBezTo>
                    <a:pt x="15167" y="10856"/>
                    <a:pt x="15167" y="10941"/>
                    <a:pt x="15167" y="10941"/>
                  </a:cubicBezTo>
                  <a:lnTo>
                    <a:pt x="15167" y="10941"/>
                  </a:lnTo>
                  <a:cubicBezTo>
                    <a:pt x="15167" y="10941"/>
                    <a:pt x="15167" y="11027"/>
                    <a:pt x="15047" y="11079"/>
                  </a:cubicBez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cubicBezTo>
                    <a:pt x="15201" y="11079"/>
                    <a:pt x="15047" y="11165"/>
                    <a:pt x="15047" y="11216"/>
                  </a:cubicBezTo>
                  <a:cubicBezTo>
                    <a:pt x="15047" y="11268"/>
                    <a:pt x="15150" y="11113"/>
                    <a:pt x="15201" y="11130"/>
                  </a:cubicBezTo>
                  <a:cubicBezTo>
                    <a:pt x="15253" y="11148"/>
                    <a:pt x="14909" y="11337"/>
                    <a:pt x="14789" y="11508"/>
                  </a:cubicBezTo>
                  <a:lnTo>
                    <a:pt x="14789" y="11508"/>
                  </a:lnTo>
                  <a:cubicBezTo>
                    <a:pt x="14789" y="11508"/>
                    <a:pt x="14652" y="11629"/>
                    <a:pt x="14583" y="11508"/>
                  </a:cubicBezTo>
                  <a:cubicBezTo>
                    <a:pt x="14772" y="11680"/>
                    <a:pt x="14308" y="12041"/>
                    <a:pt x="14325" y="11989"/>
                  </a:cubicBezTo>
                  <a:cubicBezTo>
                    <a:pt x="14342" y="11938"/>
                    <a:pt x="14325" y="12144"/>
                    <a:pt x="14325" y="11989"/>
                  </a:cubicBezTo>
                  <a:cubicBezTo>
                    <a:pt x="14325" y="11835"/>
                    <a:pt x="14119" y="12264"/>
                    <a:pt x="14016" y="12367"/>
                  </a:cubicBezTo>
                  <a:cubicBezTo>
                    <a:pt x="14291" y="12178"/>
                    <a:pt x="14360" y="12144"/>
                    <a:pt x="14016" y="12367"/>
                  </a:cubicBezTo>
                  <a:cubicBezTo>
                    <a:pt x="14016" y="12367"/>
                    <a:pt x="14308" y="12127"/>
                    <a:pt x="14308" y="12230"/>
                  </a:cubicBezTo>
                  <a:cubicBezTo>
                    <a:pt x="14308" y="12333"/>
                    <a:pt x="14463" y="12109"/>
                    <a:pt x="14549" y="12075"/>
                  </a:cubicBezTo>
                  <a:cubicBezTo>
                    <a:pt x="14564" y="12131"/>
                    <a:pt x="14564" y="12191"/>
                    <a:pt x="14549" y="12247"/>
                  </a:cubicBezTo>
                  <a:cubicBezTo>
                    <a:pt x="14549" y="12161"/>
                    <a:pt x="14961" y="11800"/>
                    <a:pt x="14995" y="11921"/>
                  </a:cubicBezTo>
                  <a:cubicBezTo>
                    <a:pt x="15030" y="12041"/>
                    <a:pt x="14995" y="11921"/>
                    <a:pt x="14995" y="11921"/>
                  </a:cubicBezTo>
                  <a:cubicBezTo>
                    <a:pt x="14995" y="11921"/>
                    <a:pt x="14995" y="11817"/>
                    <a:pt x="15133" y="11817"/>
                  </a:cubicBezTo>
                  <a:lnTo>
                    <a:pt x="15133" y="11817"/>
                  </a:lnTo>
                  <a:cubicBezTo>
                    <a:pt x="15133" y="11732"/>
                    <a:pt x="15579" y="11457"/>
                    <a:pt x="15442" y="11577"/>
                  </a:cubicBezTo>
                  <a:lnTo>
                    <a:pt x="15442" y="11577"/>
                  </a:lnTo>
                  <a:cubicBezTo>
                    <a:pt x="15442" y="11577"/>
                    <a:pt x="15442" y="11697"/>
                    <a:pt x="15322" y="11697"/>
                  </a:cubicBezTo>
                  <a:cubicBezTo>
                    <a:pt x="15201" y="11697"/>
                    <a:pt x="15322" y="11697"/>
                    <a:pt x="15322" y="11783"/>
                  </a:cubicBezTo>
                  <a:lnTo>
                    <a:pt x="15322" y="11783"/>
                  </a:lnTo>
                  <a:cubicBezTo>
                    <a:pt x="15218" y="11783"/>
                    <a:pt x="15322" y="11955"/>
                    <a:pt x="15150" y="12006"/>
                  </a:cubicBezTo>
                  <a:cubicBezTo>
                    <a:pt x="14978" y="12058"/>
                    <a:pt x="15150" y="12127"/>
                    <a:pt x="15150" y="12006"/>
                  </a:cubicBezTo>
                  <a:cubicBezTo>
                    <a:pt x="15150" y="11886"/>
                    <a:pt x="14789" y="12161"/>
                    <a:pt x="15150" y="12144"/>
                  </a:cubicBezTo>
                  <a:cubicBezTo>
                    <a:pt x="15510" y="12127"/>
                    <a:pt x="14961" y="12298"/>
                    <a:pt x="15150" y="12247"/>
                  </a:cubicBezTo>
                  <a:cubicBezTo>
                    <a:pt x="15339" y="12195"/>
                    <a:pt x="14995" y="12419"/>
                    <a:pt x="14978" y="12247"/>
                  </a:cubicBezTo>
                  <a:cubicBezTo>
                    <a:pt x="14961" y="12075"/>
                    <a:pt x="14978" y="12333"/>
                    <a:pt x="14978" y="12350"/>
                  </a:cubicBezTo>
                  <a:cubicBezTo>
                    <a:pt x="14978" y="12367"/>
                    <a:pt x="15098" y="12350"/>
                    <a:pt x="15150" y="12350"/>
                  </a:cubicBezTo>
                  <a:cubicBezTo>
                    <a:pt x="15201" y="12350"/>
                    <a:pt x="14961" y="12350"/>
                    <a:pt x="14892" y="12505"/>
                  </a:cubicBezTo>
                  <a:cubicBezTo>
                    <a:pt x="15133" y="12505"/>
                    <a:pt x="15047" y="12505"/>
                    <a:pt x="14892" y="12608"/>
                  </a:cubicBezTo>
                  <a:cubicBezTo>
                    <a:pt x="14738" y="12711"/>
                    <a:pt x="14892" y="12608"/>
                    <a:pt x="14995" y="12608"/>
                  </a:cubicBezTo>
                  <a:cubicBezTo>
                    <a:pt x="15011" y="12682"/>
                    <a:pt x="14963" y="12755"/>
                    <a:pt x="14889" y="12770"/>
                  </a:cubicBezTo>
                  <a:cubicBezTo>
                    <a:pt x="14861" y="12776"/>
                    <a:pt x="14832" y="12773"/>
                    <a:pt x="14806" y="12762"/>
                  </a:cubicBezTo>
                  <a:cubicBezTo>
                    <a:pt x="14806" y="12762"/>
                    <a:pt x="14961" y="12848"/>
                    <a:pt x="14806" y="12917"/>
                  </a:cubicBezTo>
                  <a:cubicBezTo>
                    <a:pt x="14995" y="13020"/>
                    <a:pt x="14600" y="13157"/>
                    <a:pt x="14566" y="13089"/>
                  </a:cubicBezTo>
                  <a:cubicBezTo>
                    <a:pt x="14531" y="13020"/>
                    <a:pt x="14566" y="13363"/>
                    <a:pt x="14411" y="13312"/>
                  </a:cubicBezTo>
                  <a:cubicBezTo>
                    <a:pt x="14257" y="13260"/>
                    <a:pt x="14669" y="13312"/>
                    <a:pt x="14531" y="13415"/>
                  </a:cubicBezTo>
                  <a:cubicBezTo>
                    <a:pt x="14394" y="13518"/>
                    <a:pt x="14531" y="13415"/>
                    <a:pt x="14531" y="13501"/>
                  </a:cubicBezTo>
                  <a:cubicBezTo>
                    <a:pt x="14531" y="13587"/>
                    <a:pt x="14531" y="13501"/>
                    <a:pt x="14531" y="13621"/>
                  </a:cubicBezTo>
                  <a:lnTo>
                    <a:pt x="14634" y="13621"/>
                  </a:lnTo>
                  <a:cubicBezTo>
                    <a:pt x="14634" y="13707"/>
                    <a:pt x="14428" y="13879"/>
                    <a:pt x="14325" y="13844"/>
                  </a:cubicBezTo>
                  <a:cubicBezTo>
                    <a:pt x="14222" y="13810"/>
                    <a:pt x="14480" y="13844"/>
                    <a:pt x="14549" y="13844"/>
                  </a:cubicBezTo>
                  <a:cubicBezTo>
                    <a:pt x="14325" y="14050"/>
                    <a:pt x="14549" y="13844"/>
                    <a:pt x="14549" y="13844"/>
                  </a:cubicBezTo>
                  <a:cubicBezTo>
                    <a:pt x="14549" y="13844"/>
                    <a:pt x="14549" y="13844"/>
                    <a:pt x="14394" y="13999"/>
                  </a:cubicBezTo>
                  <a:cubicBezTo>
                    <a:pt x="14394" y="13999"/>
                    <a:pt x="14686" y="13810"/>
                    <a:pt x="14549" y="13999"/>
                  </a:cubicBezTo>
                  <a:lnTo>
                    <a:pt x="14549" y="13999"/>
                  </a:lnTo>
                  <a:cubicBezTo>
                    <a:pt x="14549" y="13999"/>
                    <a:pt x="14463" y="14102"/>
                    <a:pt x="14446" y="14153"/>
                  </a:cubicBezTo>
                  <a:cubicBezTo>
                    <a:pt x="14428" y="14205"/>
                    <a:pt x="14755" y="14153"/>
                    <a:pt x="14549" y="14153"/>
                  </a:cubicBezTo>
                  <a:cubicBezTo>
                    <a:pt x="14806" y="14342"/>
                    <a:pt x="14205" y="14239"/>
                    <a:pt x="14119" y="14360"/>
                  </a:cubicBezTo>
                  <a:cubicBezTo>
                    <a:pt x="14566" y="14360"/>
                    <a:pt x="13982" y="14360"/>
                    <a:pt x="13896" y="14497"/>
                  </a:cubicBezTo>
                  <a:cubicBezTo>
                    <a:pt x="13870" y="14437"/>
                    <a:pt x="13870" y="14368"/>
                    <a:pt x="13896" y="14308"/>
                  </a:cubicBezTo>
                  <a:cubicBezTo>
                    <a:pt x="13896" y="14445"/>
                    <a:pt x="13896" y="14531"/>
                    <a:pt x="13793" y="14634"/>
                  </a:cubicBezTo>
                  <a:cubicBezTo>
                    <a:pt x="13982" y="14634"/>
                    <a:pt x="14188" y="14342"/>
                    <a:pt x="14428" y="14411"/>
                  </a:cubicBezTo>
                  <a:cubicBezTo>
                    <a:pt x="14308" y="14257"/>
                    <a:pt x="14806" y="14411"/>
                    <a:pt x="14428" y="14617"/>
                  </a:cubicBezTo>
                  <a:cubicBezTo>
                    <a:pt x="14428" y="14617"/>
                    <a:pt x="14428" y="14617"/>
                    <a:pt x="14428" y="14617"/>
                  </a:cubicBezTo>
                  <a:cubicBezTo>
                    <a:pt x="14428" y="14617"/>
                    <a:pt x="14703" y="14463"/>
                    <a:pt x="14566" y="14617"/>
                  </a:cubicBezTo>
                  <a:cubicBezTo>
                    <a:pt x="14428" y="14772"/>
                    <a:pt x="14669" y="14617"/>
                    <a:pt x="14652" y="14617"/>
                  </a:cubicBezTo>
                  <a:cubicBezTo>
                    <a:pt x="14634" y="14617"/>
                    <a:pt x="14652" y="14789"/>
                    <a:pt x="14497" y="14772"/>
                  </a:cubicBezTo>
                  <a:cubicBezTo>
                    <a:pt x="14600" y="14772"/>
                    <a:pt x="14360" y="14995"/>
                    <a:pt x="14360" y="14875"/>
                  </a:cubicBezTo>
                  <a:cubicBezTo>
                    <a:pt x="14360" y="14755"/>
                    <a:pt x="14549" y="15047"/>
                    <a:pt x="14360" y="15012"/>
                  </a:cubicBezTo>
                  <a:cubicBezTo>
                    <a:pt x="14583" y="15115"/>
                    <a:pt x="13879" y="15407"/>
                    <a:pt x="13844" y="15287"/>
                  </a:cubicBezTo>
                  <a:cubicBezTo>
                    <a:pt x="13810" y="15167"/>
                    <a:pt x="13724" y="15287"/>
                    <a:pt x="13844" y="15287"/>
                  </a:cubicBezTo>
                  <a:cubicBezTo>
                    <a:pt x="13381" y="15682"/>
                    <a:pt x="13003" y="15734"/>
                    <a:pt x="12590" y="15407"/>
                  </a:cubicBezTo>
                  <a:cubicBezTo>
                    <a:pt x="12590" y="15407"/>
                    <a:pt x="12213" y="15407"/>
                    <a:pt x="12247" y="15253"/>
                  </a:cubicBezTo>
                  <a:cubicBezTo>
                    <a:pt x="11629" y="15631"/>
                    <a:pt x="11062" y="16026"/>
                    <a:pt x="10426" y="16369"/>
                  </a:cubicBezTo>
                  <a:cubicBezTo>
                    <a:pt x="10849" y="16193"/>
                    <a:pt x="11326" y="16193"/>
                    <a:pt x="11749" y="16369"/>
                  </a:cubicBezTo>
                  <a:cubicBezTo>
                    <a:pt x="11704" y="16429"/>
                    <a:pt x="11645" y="16477"/>
                    <a:pt x="11577" y="16507"/>
                  </a:cubicBezTo>
                  <a:cubicBezTo>
                    <a:pt x="11749" y="16507"/>
                    <a:pt x="11354" y="16885"/>
                    <a:pt x="11577" y="16936"/>
                  </a:cubicBezTo>
                  <a:cubicBezTo>
                    <a:pt x="11405" y="17022"/>
                    <a:pt x="11732" y="17262"/>
                    <a:pt x="11835" y="17125"/>
                  </a:cubicBezTo>
                  <a:cubicBezTo>
                    <a:pt x="11835" y="17125"/>
                    <a:pt x="11972" y="17262"/>
                    <a:pt x="11835" y="17245"/>
                  </a:cubicBezTo>
                  <a:cubicBezTo>
                    <a:pt x="12075" y="17245"/>
                    <a:pt x="11182" y="17520"/>
                    <a:pt x="11251" y="17365"/>
                  </a:cubicBezTo>
                  <a:cubicBezTo>
                    <a:pt x="11101" y="17505"/>
                    <a:pt x="10940" y="17631"/>
                    <a:pt x="10770" y="17743"/>
                  </a:cubicBezTo>
                  <a:lnTo>
                    <a:pt x="10770" y="17743"/>
                  </a:lnTo>
                  <a:cubicBezTo>
                    <a:pt x="10667" y="17743"/>
                    <a:pt x="10770" y="17589"/>
                    <a:pt x="10770" y="17640"/>
                  </a:cubicBezTo>
                  <a:cubicBezTo>
                    <a:pt x="10770" y="17417"/>
                    <a:pt x="11371" y="16988"/>
                    <a:pt x="11371" y="17280"/>
                  </a:cubicBezTo>
                  <a:cubicBezTo>
                    <a:pt x="11371" y="17177"/>
                    <a:pt x="11491" y="17280"/>
                    <a:pt x="11543" y="17194"/>
                  </a:cubicBezTo>
                  <a:cubicBezTo>
                    <a:pt x="11233" y="17073"/>
                    <a:pt x="11233" y="17194"/>
                    <a:pt x="11543" y="16970"/>
                  </a:cubicBezTo>
                  <a:lnTo>
                    <a:pt x="11543" y="16970"/>
                  </a:lnTo>
                  <a:lnTo>
                    <a:pt x="11543" y="16970"/>
                  </a:lnTo>
                  <a:cubicBezTo>
                    <a:pt x="11543" y="17073"/>
                    <a:pt x="11045" y="17245"/>
                    <a:pt x="11233" y="16970"/>
                  </a:cubicBezTo>
                  <a:cubicBezTo>
                    <a:pt x="11096" y="17125"/>
                    <a:pt x="11045" y="17073"/>
                    <a:pt x="10924" y="16970"/>
                  </a:cubicBezTo>
                  <a:cubicBezTo>
                    <a:pt x="10804" y="16867"/>
                    <a:pt x="10924" y="17091"/>
                    <a:pt x="10924" y="17159"/>
                  </a:cubicBezTo>
                  <a:cubicBezTo>
                    <a:pt x="10924" y="17228"/>
                    <a:pt x="10924" y="17331"/>
                    <a:pt x="10924" y="17159"/>
                  </a:cubicBezTo>
                  <a:cubicBezTo>
                    <a:pt x="10924" y="16988"/>
                    <a:pt x="10598" y="17314"/>
                    <a:pt x="10667" y="17159"/>
                  </a:cubicBezTo>
                  <a:cubicBezTo>
                    <a:pt x="10735" y="17005"/>
                    <a:pt x="10478" y="17245"/>
                    <a:pt x="10667" y="17159"/>
                  </a:cubicBezTo>
                  <a:cubicBezTo>
                    <a:pt x="10856" y="17073"/>
                    <a:pt x="10546" y="17297"/>
                    <a:pt x="10478" y="17331"/>
                  </a:cubicBezTo>
                  <a:lnTo>
                    <a:pt x="10478" y="17331"/>
                  </a:lnTo>
                  <a:cubicBezTo>
                    <a:pt x="10478" y="17331"/>
                    <a:pt x="10478" y="17417"/>
                    <a:pt x="10478" y="17331"/>
                  </a:cubicBezTo>
                  <a:cubicBezTo>
                    <a:pt x="10478" y="17245"/>
                    <a:pt x="10357" y="17469"/>
                    <a:pt x="10478" y="17331"/>
                  </a:cubicBezTo>
                  <a:cubicBezTo>
                    <a:pt x="10254" y="17331"/>
                    <a:pt x="9722" y="18345"/>
                    <a:pt x="10083" y="18001"/>
                  </a:cubicBezTo>
                  <a:cubicBezTo>
                    <a:pt x="10083" y="18138"/>
                    <a:pt x="9842" y="18327"/>
                    <a:pt x="9911" y="18087"/>
                  </a:cubicBezTo>
                  <a:cubicBezTo>
                    <a:pt x="9773" y="18259"/>
                    <a:pt x="9791" y="18241"/>
                    <a:pt x="9808" y="18087"/>
                  </a:cubicBezTo>
                  <a:cubicBezTo>
                    <a:pt x="9360" y="18252"/>
                    <a:pt x="8984" y="18568"/>
                    <a:pt x="8743" y="18980"/>
                  </a:cubicBezTo>
                  <a:lnTo>
                    <a:pt x="8743" y="18980"/>
                  </a:lnTo>
                  <a:lnTo>
                    <a:pt x="8743" y="18980"/>
                  </a:lnTo>
                  <a:cubicBezTo>
                    <a:pt x="8743" y="18980"/>
                    <a:pt x="8743" y="18825"/>
                    <a:pt x="8743" y="18740"/>
                  </a:cubicBezTo>
                  <a:cubicBezTo>
                    <a:pt x="8605" y="18980"/>
                    <a:pt x="8588" y="19289"/>
                    <a:pt x="8365" y="19495"/>
                  </a:cubicBezTo>
                  <a:lnTo>
                    <a:pt x="8365" y="19495"/>
                  </a:lnTo>
                  <a:lnTo>
                    <a:pt x="8262" y="19650"/>
                  </a:lnTo>
                  <a:cubicBezTo>
                    <a:pt x="8298" y="19536"/>
                    <a:pt x="8356" y="19431"/>
                    <a:pt x="8434" y="19341"/>
                  </a:cubicBezTo>
                  <a:cubicBezTo>
                    <a:pt x="8434" y="19341"/>
                    <a:pt x="8434" y="19255"/>
                    <a:pt x="8434" y="19221"/>
                  </a:cubicBezTo>
                  <a:lnTo>
                    <a:pt x="8434" y="19221"/>
                  </a:lnTo>
                  <a:cubicBezTo>
                    <a:pt x="8434" y="19014"/>
                    <a:pt x="8605" y="18860"/>
                    <a:pt x="8674" y="18671"/>
                  </a:cubicBezTo>
                  <a:cubicBezTo>
                    <a:pt x="8545" y="18838"/>
                    <a:pt x="8441" y="19023"/>
                    <a:pt x="8365" y="19221"/>
                  </a:cubicBezTo>
                  <a:cubicBezTo>
                    <a:pt x="8365" y="19117"/>
                    <a:pt x="8365" y="19032"/>
                    <a:pt x="8365" y="18929"/>
                  </a:cubicBezTo>
                  <a:cubicBezTo>
                    <a:pt x="8365" y="18825"/>
                    <a:pt x="8365" y="19581"/>
                    <a:pt x="8365" y="19324"/>
                  </a:cubicBezTo>
                  <a:cubicBezTo>
                    <a:pt x="8365" y="19324"/>
                    <a:pt x="8365" y="19598"/>
                    <a:pt x="8365" y="19530"/>
                  </a:cubicBezTo>
                  <a:cubicBezTo>
                    <a:pt x="8365" y="19461"/>
                    <a:pt x="8365" y="19616"/>
                    <a:pt x="8365" y="19650"/>
                  </a:cubicBezTo>
                  <a:cubicBezTo>
                    <a:pt x="8374" y="19605"/>
                    <a:pt x="8374" y="19558"/>
                    <a:pt x="8365" y="19513"/>
                  </a:cubicBezTo>
                  <a:cubicBezTo>
                    <a:pt x="8365" y="19650"/>
                    <a:pt x="8502" y="19719"/>
                    <a:pt x="8365" y="19856"/>
                  </a:cubicBezTo>
                  <a:lnTo>
                    <a:pt x="8365" y="19856"/>
                  </a:lnTo>
                  <a:cubicBezTo>
                    <a:pt x="8365" y="19993"/>
                    <a:pt x="8176" y="20148"/>
                    <a:pt x="8210" y="19976"/>
                  </a:cubicBezTo>
                  <a:cubicBezTo>
                    <a:pt x="8245" y="19805"/>
                    <a:pt x="8210" y="20079"/>
                    <a:pt x="8210" y="20097"/>
                  </a:cubicBezTo>
                  <a:cubicBezTo>
                    <a:pt x="8210" y="20114"/>
                    <a:pt x="8296" y="20097"/>
                    <a:pt x="8313" y="20234"/>
                  </a:cubicBezTo>
                  <a:cubicBezTo>
                    <a:pt x="8304" y="20200"/>
                    <a:pt x="8304" y="20165"/>
                    <a:pt x="8313" y="20131"/>
                  </a:cubicBezTo>
                  <a:cubicBezTo>
                    <a:pt x="8313" y="20234"/>
                    <a:pt x="8313" y="20285"/>
                    <a:pt x="8176" y="20354"/>
                  </a:cubicBezTo>
                  <a:cubicBezTo>
                    <a:pt x="8039" y="20423"/>
                    <a:pt x="8176" y="20354"/>
                    <a:pt x="8176" y="20251"/>
                  </a:cubicBezTo>
                  <a:cubicBezTo>
                    <a:pt x="8176" y="20148"/>
                    <a:pt x="8176" y="20251"/>
                    <a:pt x="8176" y="20251"/>
                  </a:cubicBezTo>
                  <a:cubicBezTo>
                    <a:pt x="8176" y="20251"/>
                    <a:pt x="8176" y="20474"/>
                    <a:pt x="8176" y="20389"/>
                  </a:cubicBezTo>
                  <a:lnTo>
                    <a:pt x="8176" y="20389"/>
                  </a:lnTo>
                  <a:lnTo>
                    <a:pt x="8176" y="20389"/>
                  </a:lnTo>
                  <a:lnTo>
                    <a:pt x="8176" y="20389"/>
                  </a:lnTo>
                  <a:cubicBezTo>
                    <a:pt x="6991" y="20389"/>
                    <a:pt x="6458" y="24992"/>
                    <a:pt x="6579" y="22982"/>
                  </a:cubicBezTo>
                  <a:cubicBezTo>
                    <a:pt x="6579" y="22982"/>
                    <a:pt x="6579" y="22982"/>
                    <a:pt x="6579" y="22982"/>
                  </a:cubicBezTo>
                  <a:cubicBezTo>
                    <a:pt x="6579" y="22982"/>
                    <a:pt x="6579" y="22982"/>
                    <a:pt x="6579" y="22982"/>
                  </a:cubicBezTo>
                  <a:lnTo>
                    <a:pt x="6579" y="22982"/>
                  </a:lnTo>
                  <a:cubicBezTo>
                    <a:pt x="6579" y="22879"/>
                    <a:pt x="6579" y="22707"/>
                    <a:pt x="6579" y="22604"/>
                  </a:cubicBezTo>
                  <a:cubicBezTo>
                    <a:pt x="6579" y="22501"/>
                    <a:pt x="6579" y="22604"/>
                    <a:pt x="6579" y="22707"/>
                  </a:cubicBezTo>
                  <a:cubicBezTo>
                    <a:pt x="6579" y="22810"/>
                    <a:pt x="6853" y="21780"/>
                    <a:pt x="6579" y="21745"/>
                  </a:cubicBezTo>
                  <a:cubicBezTo>
                    <a:pt x="6304" y="21711"/>
                    <a:pt x="6476" y="21849"/>
                    <a:pt x="6579" y="21745"/>
                  </a:cubicBezTo>
                  <a:lnTo>
                    <a:pt x="6579" y="21745"/>
                  </a:lnTo>
                  <a:lnTo>
                    <a:pt x="6579" y="21745"/>
                  </a:lnTo>
                  <a:cubicBezTo>
                    <a:pt x="6579" y="21745"/>
                    <a:pt x="6579" y="21574"/>
                    <a:pt x="6579" y="21642"/>
                  </a:cubicBezTo>
                  <a:cubicBezTo>
                    <a:pt x="6587" y="21603"/>
                    <a:pt x="6587" y="21562"/>
                    <a:pt x="6579" y="21522"/>
                  </a:cubicBezTo>
                  <a:lnTo>
                    <a:pt x="6579" y="21522"/>
                  </a:lnTo>
                  <a:cubicBezTo>
                    <a:pt x="6579" y="21522"/>
                    <a:pt x="6579" y="21436"/>
                    <a:pt x="6579" y="21385"/>
                  </a:cubicBezTo>
                  <a:lnTo>
                    <a:pt x="6579" y="21385"/>
                  </a:lnTo>
                  <a:cubicBezTo>
                    <a:pt x="6579" y="21385"/>
                    <a:pt x="6579" y="21385"/>
                    <a:pt x="6579" y="21385"/>
                  </a:cubicBezTo>
                  <a:cubicBezTo>
                    <a:pt x="6579" y="21385"/>
                    <a:pt x="6579" y="21385"/>
                    <a:pt x="6579" y="21385"/>
                  </a:cubicBezTo>
                  <a:cubicBezTo>
                    <a:pt x="6579" y="21385"/>
                    <a:pt x="6579" y="21282"/>
                    <a:pt x="6579" y="21230"/>
                  </a:cubicBezTo>
                  <a:lnTo>
                    <a:pt x="6579" y="21333"/>
                  </a:lnTo>
                  <a:cubicBezTo>
                    <a:pt x="6579" y="21230"/>
                    <a:pt x="6390" y="21333"/>
                    <a:pt x="6373" y="21453"/>
                  </a:cubicBezTo>
                  <a:lnTo>
                    <a:pt x="6373" y="21453"/>
                  </a:lnTo>
                  <a:cubicBezTo>
                    <a:pt x="6373" y="21642"/>
                    <a:pt x="6373" y="21763"/>
                    <a:pt x="6373" y="21849"/>
                  </a:cubicBezTo>
                  <a:cubicBezTo>
                    <a:pt x="6373" y="21934"/>
                    <a:pt x="6373" y="21471"/>
                    <a:pt x="6373" y="21763"/>
                  </a:cubicBezTo>
                  <a:lnTo>
                    <a:pt x="6373" y="21660"/>
                  </a:lnTo>
                  <a:cubicBezTo>
                    <a:pt x="6373" y="21539"/>
                    <a:pt x="6373" y="21471"/>
                    <a:pt x="6373" y="21350"/>
                  </a:cubicBezTo>
                  <a:cubicBezTo>
                    <a:pt x="6373" y="21230"/>
                    <a:pt x="6373" y="21350"/>
                    <a:pt x="6373" y="21350"/>
                  </a:cubicBezTo>
                  <a:cubicBezTo>
                    <a:pt x="6373" y="21591"/>
                    <a:pt x="6373" y="21076"/>
                    <a:pt x="6184" y="21350"/>
                  </a:cubicBezTo>
                  <a:cubicBezTo>
                    <a:pt x="6184" y="21350"/>
                    <a:pt x="6184" y="21196"/>
                    <a:pt x="6184" y="21127"/>
                  </a:cubicBezTo>
                  <a:cubicBezTo>
                    <a:pt x="6184" y="21058"/>
                    <a:pt x="6184" y="21247"/>
                    <a:pt x="6184" y="21127"/>
                  </a:cubicBezTo>
                  <a:cubicBezTo>
                    <a:pt x="6193" y="21213"/>
                    <a:pt x="6193" y="21299"/>
                    <a:pt x="6184" y="21385"/>
                  </a:cubicBezTo>
                  <a:lnTo>
                    <a:pt x="6184" y="21385"/>
                  </a:lnTo>
                  <a:lnTo>
                    <a:pt x="6184" y="21505"/>
                  </a:lnTo>
                  <a:lnTo>
                    <a:pt x="6184" y="21505"/>
                  </a:lnTo>
                  <a:cubicBezTo>
                    <a:pt x="6184" y="21591"/>
                    <a:pt x="6184" y="21505"/>
                    <a:pt x="6184" y="21505"/>
                  </a:cubicBezTo>
                  <a:lnTo>
                    <a:pt x="6184" y="21505"/>
                  </a:lnTo>
                  <a:cubicBezTo>
                    <a:pt x="6184" y="21505"/>
                    <a:pt x="6184" y="21505"/>
                    <a:pt x="6184" y="21505"/>
                  </a:cubicBezTo>
                  <a:lnTo>
                    <a:pt x="6184" y="21505"/>
                  </a:lnTo>
                  <a:cubicBezTo>
                    <a:pt x="6184" y="21505"/>
                    <a:pt x="6184" y="21608"/>
                    <a:pt x="6184" y="21608"/>
                  </a:cubicBezTo>
                  <a:lnTo>
                    <a:pt x="6184" y="21608"/>
                  </a:lnTo>
                  <a:cubicBezTo>
                    <a:pt x="6085" y="21918"/>
                    <a:pt x="6005" y="22233"/>
                    <a:pt x="5943" y="22553"/>
                  </a:cubicBezTo>
                  <a:cubicBezTo>
                    <a:pt x="5943" y="22553"/>
                    <a:pt x="5943" y="22433"/>
                    <a:pt x="5943" y="22398"/>
                  </a:cubicBezTo>
                  <a:cubicBezTo>
                    <a:pt x="5943" y="22364"/>
                    <a:pt x="5840" y="22862"/>
                    <a:pt x="5943" y="22621"/>
                  </a:cubicBezTo>
                  <a:cubicBezTo>
                    <a:pt x="5838" y="23115"/>
                    <a:pt x="5758" y="23614"/>
                    <a:pt x="5703" y="24116"/>
                  </a:cubicBezTo>
                  <a:cubicBezTo>
                    <a:pt x="5668" y="24579"/>
                    <a:pt x="5668" y="25044"/>
                    <a:pt x="5703" y="25507"/>
                  </a:cubicBezTo>
                  <a:cubicBezTo>
                    <a:pt x="5703" y="25507"/>
                    <a:pt x="5703" y="25507"/>
                    <a:pt x="5703" y="25507"/>
                  </a:cubicBezTo>
                  <a:cubicBezTo>
                    <a:pt x="5709" y="25479"/>
                    <a:pt x="5709" y="25449"/>
                    <a:pt x="5703" y="25421"/>
                  </a:cubicBezTo>
                  <a:lnTo>
                    <a:pt x="5703" y="25421"/>
                  </a:lnTo>
                  <a:cubicBezTo>
                    <a:pt x="5703" y="25421"/>
                    <a:pt x="5703" y="25421"/>
                    <a:pt x="5703" y="25421"/>
                  </a:cubicBezTo>
                  <a:lnTo>
                    <a:pt x="5703" y="25421"/>
                  </a:lnTo>
                  <a:cubicBezTo>
                    <a:pt x="5703" y="25421"/>
                    <a:pt x="5703" y="25559"/>
                    <a:pt x="5703" y="25627"/>
                  </a:cubicBezTo>
                  <a:lnTo>
                    <a:pt x="5703" y="25627"/>
                  </a:lnTo>
                  <a:lnTo>
                    <a:pt x="5703" y="25627"/>
                  </a:lnTo>
                  <a:cubicBezTo>
                    <a:pt x="5711" y="25553"/>
                    <a:pt x="5711" y="25478"/>
                    <a:pt x="5703" y="25404"/>
                  </a:cubicBezTo>
                  <a:lnTo>
                    <a:pt x="5703" y="25404"/>
                  </a:lnTo>
                  <a:cubicBezTo>
                    <a:pt x="5857" y="25249"/>
                    <a:pt x="5703" y="24511"/>
                    <a:pt x="5995" y="24665"/>
                  </a:cubicBezTo>
                  <a:cubicBezTo>
                    <a:pt x="5995" y="24665"/>
                    <a:pt x="5995" y="24562"/>
                    <a:pt x="5995" y="24665"/>
                  </a:cubicBezTo>
                  <a:cubicBezTo>
                    <a:pt x="5995" y="24769"/>
                    <a:pt x="5995" y="24665"/>
                    <a:pt x="5995" y="24665"/>
                  </a:cubicBezTo>
                  <a:cubicBezTo>
                    <a:pt x="5995" y="24665"/>
                    <a:pt x="5995" y="24820"/>
                    <a:pt x="5995" y="24665"/>
                  </a:cubicBezTo>
                  <a:cubicBezTo>
                    <a:pt x="6098" y="24957"/>
                    <a:pt x="5806" y="25284"/>
                    <a:pt x="5857" y="25593"/>
                  </a:cubicBezTo>
                  <a:cubicBezTo>
                    <a:pt x="5857" y="25593"/>
                    <a:pt x="5857" y="25868"/>
                    <a:pt x="5857" y="25919"/>
                  </a:cubicBezTo>
                  <a:cubicBezTo>
                    <a:pt x="5814" y="26294"/>
                    <a:pt x="5476" y="26563"/>
                    <a:pt x="5101" y="26521"/>
                  </a:cubicBezTo>
                  <a:cubicBezTo>
                    <a:pt x="4727" y="26478"/>
                    <a:pt x="4457" y="26140"/>
                    <a:pt x="4500" y="25765"/>
                  </a:cubicBezTo>
                  <a:cubicBezTo>
                    <a:pt x="4500" y="25954"/>
                    <a:pt x="4500" y="26349"/>
                    <a:pt x="4397" y="26658"/>
                  </a:cubicBezTo>
                  <a:lnTo>
                    <a:pt x="4397" y="26658"/>
                  </a:lnTo>
                  <a:cubicBezTo>
                    <a:pt x="4380" y="26726"/>
                    <a:pt x="4380" y="26796"/>
                    <a:pt x="4397" y="26864"/>
                  </a:cubicBezTo>
                  <a:lnTo>
                    <a:pt x="4397" y="26864"/>
                  </a:lnTo>
                  <a:cubicBezTo>
                    <a:pt x="4397" y="26864"/>
                    <a:pt x="4397" y="26864"/>
                    <a:pt x="4397" y="26950"/>
                  </a:cubicBezTo>
                  <a:cubicBezTo>
                    <a:pt x="4397" y="27036"/>
                    <a:pt x="4603" y="27139"/>
                    <a:pt x="4586" y="26950"/>
                  </a:cubicBezTo>
                  <a:cubicBezTo>
                    <a:pt x="4586" y="27053"/>
                    <a:pt x="4586" y="27105"/>
                    <a:pt x="4724" y="27190"/>
                  </a:cubicBezTo>
                  <a:lnTo>
                    <a:pt x="4724" y="27190"/>
                  </a:lnTo>
                  <a:cubicBezTo>
                    <a:pt x="4738" y="27241"/>
                    <a:pt x="4738" y="27295"/>
                    <a:pt x="4724" y="27345"/>
                  </a:cubicBezTo>
                  <a:cubicBezTo>
                    <a:pt x="4724" y="27208"/>
                    <a:pt x="4724" y="27345"/>
                    <a:pt x="4724" y="27448"/>
                  </a:cubicBezTo>
                  <a:lnTo>
                    <a:pt x="4724" y="27448"/>
                  </a:lnTo>
                  <a:cubicBezTo>
                    <a:pt x="4767" y="27681"/>
                    <a:pt x="4767" y="27920"/>
                    <a:pt x="4724" y="28152"/>
                  </a:cubicBezTo>
                  <a:lnTo>
                    <a:pt x="4724" y="28152"/>
                  </a:lnTo>
                  <a:cubicBezTo>
                    <a:pt x="4732" y="28307"/>
                    <a:pt x="4732" y="28462"/>
                    <a:pt x="4724" y="28616"/>
                  </a:cubicBezTo>
                  <a:cubicBezTo>
                    <a:pt x="4724" y="28616"/>
                    <a:pt x="4724" y="28513"/>
                    <a:pt x="4724" y="28444"/>
                  </a:cubicBezTo>
                  <a:cubicBezTo>
                    <a:pt x="4715" y="28564"/>
                    <a:pt x="4715" y="28685"/>
                    <a:pt x="4724" y="28805"/>
                  </a:cubicBezTo>
                  <a:cubicBezTo>
                    <a:pt x="4734" y="28777"/>
                    <a:pt x="4734" y="28747"/>
                    <a:pt x="4724" y="28719"/>
                  </a:cubicBezTo>
                  <a:cubicBezTo>
                    <a:pt x="4697" y="28861"/>
                    <a:pt x="4697" y="29007"/>
                    <a:pt x="4724" y="29149"/>
                  </a:cubicBezTo>
                  <a:cubicBezTo>
                    <a:pt x="4724" y="29063"/>
                    <a:pt x="4947" y="30042"/>
                    <a:pt x="4930" y="29733"/>
                  </a:cubicBezTo>
                  <a:cubicBezTo>
                    <a:pt x="5136" y="30265"/>
                    <a:pt x="5170" y="29131"/>
                    <a:pt x="5634" y="30471"/>
                  </a:cubicBezTo>
                  <a:cubicBezTo>
                    <a:pt x="5634" y="30368"/>
                    <a:pt x="5634" y="29337"/>
                    <a:pt x="5960" y="29595"/>
                  </a:cubicBezTo>
                  <a:cubicBezTo>
                    <a:pt x="5960" y="29818"/>
                    <a:pt x="5960" y="29595"/>
                    <a:pt x="5960" y="29475"/>
                  </a:cubicBezTo>
                  <a:cubicBezTo>
                    <a:pt x="5960" y="29355"/>
                    <a:pt x="6252" y="29303"/>
                    <a:pt x="6355" y="29234"/>
                  </a:cubicBezTo>
                  <a:cubicBezTo>
                    <a:pt x="6476" y="29458"/>
                    <a:pt x="6355" y="29836"/>
                    <a:pt x="6355" y="30145"/>
                  </a:cubicBezTo>
                  <a:cubicBezTo>
                    <a:pt x="6630" y="30901"/>
                    <a:pt x="6355" y="29681"/>
                    <a:pt x="6665" y="29664"/>
                  </a:cubicBezTo>
                  <a:cubicBezTo>
                    <a:pt x="6974" y="29647"/>
                    <a:pt x="6527" y="29544"/>
                    <a:pt x="6665" y="29441"/>
                  </a:cubicBezTo>
                  <a:cubicBezTo>
                    <a:pt x="6802" y="29337"/>
                    <a:pt x="6665" y="29664"/>
                    <a:pt x="6785" y="29733"/>
                  </a:cubicBezTo>
                  <a:cubicBezTo>
                    <a:pt x="6933" y="29741"/>
                    <a:pt x="7051" y="29859"/>
                    <a:pt x="7060" y="30007"/>
                  </a:cubicBezTo>
                  <a:cubicBezTo>
                    <a:pt x="6939" y="30213"/>
                    <a:pt x="7352" y="30145"/>
                    <a:pt x="7472" y="30196"/>
                  </a:cubicBezTo>
                  <a:cubicBezTo>
                    <a:pt x="7558" y="30660"/>
                    <a:pt x="8090" y="30042"/>
                    <a:pt x="8262" y="30402"/>
                  </a:cubicBezTo>
                  <a:cubicBezTo>
                    <a:pt x="8004" y="30402"/>
                    <a:pt x="8073" y="30402"/>
                    <a:pt x="8262" y="30643"/>
                  </a:cubicBezTo>
                  <a:cubicBezTo>
                    <a:pt x="8262" y="30471"/>
                    <a:pt x="8863" y="31107"/>
                    <a:pt x="8434" y="31107"/>
                  </a:cubicBezTo>
                  <a:cubicBezTo>
                    <a:pt x="8885" y="31152"/>
                    <a:pt x="9220" y="31547"/>
                    <a:pt x="9189" y="32000"/>
                  </a:cubicBezTo>
                  <a:cubicBezTo>
                    <a:pt x="9189" y="31673"/>
                    <a:pt x="9550" y="32154"/>
                    <a:pt x="9550" y="32309"/>
                  </a:cubicBezTo>
                  <a:cubicBezTo>
                    <a:pt x="9464" y="32103"/>
                    <a:pt x="10461" y="32309"/>
                    <a:pt x="10220" y="32532"/>
                  </a:cubicBezTo>
                  <a:cubicBezTo>
                    <a:pt x="10443" y="32361"/>
                    <a:pt x="10976" y="33030"/>
                    <a:pt x="10856" y="33151"/>
                  </a:cubicBezTo>
                  <a:cubicBezTo>
                    <a:pt x="11010" y="32893"/>
                    <a:pt x="11130" y="33735"/>
                    <a:pt x="11302" y="33924"/>
                  </a:cubicBezTo>
                  <a:cubicBezTo>
                    <a:pt x="11474" y="34113"/>
                    <a:pt x="10976" y="34559"/>
                    <a:pt x="11045" y="34868"/>
                  </a:cubicBezTo>
                  <a:cubicBezTo>
                    <a:pt x="11045" y="34611"/>
                    <a:pt x="11233" y="34628"/>
                    <a:pt x="11148" y="34868"/>
                  </a:cubicBezTo>
                  <a:cubicBezTo>
                    <a:pt x="11148" y="34868"/>
                    <a:pt x="11268" y="34559"/>
                    <a:pt x="11337" y="34731"/>
                  </a:cubicBezTo>
                  <a:cubicBezTo>
                    <a:pt x="11405" y="34903"/>
                    <a:pt x="11337" y="34731"/>
                    <a:pt x="11337" y="34731"/>
                  </a:cubicBezTo>
                  <a:cubicBezTo>
                    <a:pt x="11337" y="34216"/>
                    <a:pt x="12401" y="35143"/>
                    <a:pt x="11337" y="35092"/>
                  </a:cubicBezTo>
                  <a:cubicBezTo>
                    <a:pt x="11749" y="35092"/>
                    <a:pt x="11543" y="35315"/>
                    <a:pt x="11680" y="35624"/>
                  </a:cubicBezTo>
                  <a:cubicBezTo>
                    <a:pt x="11543" y="35074"/>
                    <a:pt x="12075" y="34576"/>
                    <a:pt x="12419" y="35074"/>
                  </a:cubicBezTo>
                  <a:cubicBezTo>
                    <a:pt x="12419" y="35074"/>
                    <a:pt x="12608" y="35177"/>
                    <a:pt x="12642" y="35263"/>
                  </a:cubicBezTo>
                  <a:cubicBezTo>
                    <a:pt x="12676" y="35349"/>
                    <a:pt x="12986" y="35366"/>
                    <a:pt x="12882" y="35469"/>
                  </a:cubicBezTo>
                  <a:cubicBezTo>
                    <a:pt x="12779" y="35573"/>
                    <a:pt x="12882" y="35727"/>
                    <a:pt x="12968" y="35830"/>
                  </a:cubicBezTo>
                  <a:cubicBezTo>
                    <a:pt x="13054" y="35933"/>
                    <a:pt x="12968" y="35487"/>
                    <a:pt x="12968" y="35710"/>
                  </a:cubicBezTo>
                  <a:cubicBezTo>
                    <a:pt x="12968" y="35555"/>
                    <a:pt x="13106" y="35607"/>
                    <a:pt x="12968" y="35504"/>
                  </a:cubicBezTo>
                  <a:cubicBezTo>
                    <a:pt x="12831" y="35401"/>
                    <a:pt x="13363" y="35761"/>
                    <a:pt x="13363" y="35641"/>
                  </a:cubicBezTo>
                  <a:cubicBezTo>
                    <a:pt x="13363" y="35521"/>
                    <a:pt x="13363" y="35641"/>
                    <a:pt x="13466" y="35744"/>
                  </a:cubicBezTo>
                  <a:cubicBezTo>
                    <a:pt x="13569" y="35847"/>
                    <a:pt x="13466" y="35744"/>
                    <a:pt x="13466" y="35744"/>
                  </a:cubicBezTo>
                  <a:lnTo>
                    <a:pt x="13466" y="35744"/>
                  </a:lnTo>
                  <a:lnTo>
                    <a:pt x="13466" y="35744"/>
                  </a:lnTo>
                  <a:cubicBezTo>
                    <a:pt x="14841" y="36157"/>
                    <a:pt x="16438" y="37462"/>
                    <a:pt x="14926" y="38922"/>
                  </a:cubicBezTo>
                  <a:cubicBezTo>
                    <a:pt x="14926" y="38836"/>
                    <a:pt x="14926" y="38682"/>
                    <a:pt x="14926" y="38819"/>
                  </a:cubicBezTo>
                  <a:cubicBezTo>
                    <a:pt x="14926" y="38956"/>
                    <a:pt x="14823" y="38819"/>
                    <a:pt x="14806" y="38819"/>
                  </a:cubicBezTo>
                  <a:lnTo>
                    <a:pt x="14806" y="38819"/>
                  </a:lnTo>
                  <a:cubicBezTo>
                    <a:pt x="15133" y="39386"/>
                    <a:pt x="15717" y="41619"/>
                    <a:pt x="14806" y="41447"/>
                  </a:cubicBezTo>
                  <a:cubicBezTo>
                    <a:pt x="14806" y="41447"/>
                    <a:pt x="14514" y="41447"/>
                    <a:pt x="14806" y="41447"/>
                  </a:cubicBezTo>
                  <a:cubicBezTo>
                    <a:pt x="15098" y="41447"/>
                    <a:pt x="14652" y="41447"/>
                    <a:pt x="14600" y="41447"/>
                  </a:cubicBezTo>
                  <a:cubicBezTo>
                    <a:pt x="14549" y="41447"/>
                    <a:pt x="14600" y="41533"/>
                    <a:pt x="14600" y="41687"/>
                  </a:cubicBezTo>
                  <a:cubicBezTo>
                    <a:pt x="14360" y="41498"/>
                    <a:pt x="14257" y="41997"/>
                    <a:pt x="14154" y="41962"/>
                  </a:cubicBezTo>
                  <a:cubicBezTo>
                    <a:pt x="14050" y="41928"/>
                    <a:pt x="14154" y="41962"/>
                    <a:pt x="14154" y="41962"/>
                  </a:cubicBezTo>
                  <a:cubicBezTo>
                    <a:pt x="14154" y="41962"/>
                    <a:pt x="14291" y="42048"/>
                    <a:pt x="14154" y="42048"/>
                  </a:cubicBezTo>
                  <a:cubicBezTo>
                    <a:pt x="14016" y="42048"/>
                    <a:pt x="14154" y="42048"/>
                    <a:pt x="14154" y="42048"/>
                  </a:cubicBezTo>
                  <a:cubicBezTo>
                    <a:pt x="14154" y="42048"/>
                    <a:pt x="14446" y="42426"/>
                    <a:pt x="14411" y="42529"/>
                  </a:cubicBezTo>
                  <a:cubicBezTo>
                    <a:pt x="14377" y="42632"/>
                    <a:pt x="14411" y="43697"/>
                    <a:pt x="14411" y="43336"/>
                  </a:cubicBezTo>
                  <a:cubicBezTo>
                    <a:pt x="14411" y="43336"/>
                    <a:pt x="14411" y="43336"/>
                    <a:pt x="14411" y="43250"/>
                  </a:cubicBezTo>
                  <a:cubicBezTo>
                    <a:pt x="14411" y="43165"/>
                    <a:pt x="14411" y="43113"/>
                    <a:pt x="14411" y="43113"/>
                  </a:cubicBezTo>
                  <a:cubicBezTo>
                    <a:pt x="14338" y="43042"/>
                    <a:pt x="14257" y="42979"/>
                    <a:pt x="14171" y="42924"/>
                  </a:cubicBezTo>
                  <a:cubicBezTo>
                    <a:pt x="14231" y="42979"/>
                    <a:pt x="14283" y="43043"/>
                    <a:pt x="14325" y="43113"/>
                  </a:cubicBezTo>
                  <a:cubicBezTo>
                    <a:pt x="14325" y="43113"/>
                    <a:pt x="14446" y="43354"/>
                    <a:pt x="14325" y="43250"/>
                  </a:cubicBezTo>
                  <a:cubicBezTo>
                    <a:pt x="14858" y="44041"/>
                    <a:pt x="14325" y="44264"/>
                    <a:pt x="13844" y="43817"/>
                  </a:cubicBezTo>
                  <a:lnTo>
                    <a:pt x="14549" y="44418"/>
                  </a:lnTo>
                  <a:lnTo>
                    <a:pt x="14549" y="44418"/>
                  </a:lnTo>
                  <a:cubicBezTo>
                    <a:pt x="14637" y="44494"/>
                    <a:pt x="14707" y="44587"/>
                    <a:pt x="14755" y="44693"/>
                  </a:cubicBezTo>
                  <a:lnTo>
                    <a:pt x="14755" y="44693"/>
                  </a:lnTo>
                  <a:cubicBezTo>
                    <a:pt x="14755" y="44693"/>
                    <a:pt x="14944" y="44951"/>
                    <a:pt x="14755" y="44882"/>
                  </a:cubicBezTo>
                  <a:cubicBezTo>
                    <a:pt x="14566" y="44814"/>
                    <a:pt x="14394" y="44882"/>
                    <a:pt x="14291" y="44882"/>
                  </a:cubicBezTo>
                  <a:cubicBezTo>
                    <a:pt x="14188" y="44882"/>
                    <a:pt x="14480" y="45037"/>
                    <a:pt x="14566" y="45123"/>
                  </a:cubicBezTo>
                  <a:lnTo>
                    <a:pt x="14566" y="45123"/>
                  </a:lnTo>
                  <a:cubicBezTo>
                    <a:pt x="14909" y="45466"/>
                    <a:pt x="14995" y="45569"/>
                    <a:pt x="14463" y="45294"/>
                  </a:cubicBezTo>
                  <a:cubicBezTo>
                    <a:pt x="14621" y="45462"/>
                    <a:pt x="14807" y="45602"/>
                    <a:pt x="15012" y="45707"/>
                  </a:cubicBezTo>
                  <a:cubicBezTo>
                    <a:pt x="15012" y="45707"/>
                    <a:pt x="15012" y="45707"/>
                    <a:pt x="15012" y="45707"/>
                  </a:cubicBezTo>
                  <a:lnTo>
                    <a:pt x="15012" y="45707"/>
                  </a:lnTo>
                  <a:cubicBezTo>
                    <a:pt x="15304" y="45930"/>
                    <a:pt x="15133" y="45947"/>
                    <a:pt x="15717" y="46359"/>
                  </a:cubicBezTo>
                  <a:lnTo>
                    <a:pt x="15717" y="46359"/>
                  </a:lnTo>
                  <a:lnTo>
                    <a:pt x="15717" y="46359"/>
                  </a:lnTo>
                  <a:lnTo>
                    <a:pt x="15717" y="46359"/>
                  </a:lnTo>
                  <a:cubicBezTo>
                    <a:pt x="15991" y="46669"/>
                    <a:pt x="16438" y="46737"/>
                    <a:pt x="16730" y="47012"/>
                  </a:cubicBezTo>
                  <a:lnTo>
                    <a:pt x="16730" y="47012"/>
                  </a:lnTo>
                  <a:lnTo>
                    <a:pt x="16730" y="47012"/>
                  </a:lnTo>
                  <a:lnTo>
                    <a:pt x="16730" y="47012"/>
                  </a:lnTo>
                  <a:lnTo>
                    <a:pt x="16885" y="47132"/>
                  </a:lnTo>
                  <a:lnTo>
                    <a:pt x="16885" y="47132"/>
                  </a:lnTo>
                  <a:lnTo>
                    <a:pt x="17091" y="47270"/>
                  </a:lnTo>
                  <a:cubicBezTo>
                    <a:pt x="17091" y="47270"/>
                    <a:pt x="17091" y="47270"/>
                    <a:pt x="16988" y="47270"/>
                  </a:cubicBezTo>
                  <a:cubicBezTo>
                    <a:pt x="17278" y="47454"/>
                    <a:pt x="17582" y="47614"/>
                    <a:pt x="17898" y="47751"/>
                  </a:cubicBezTo>
                  <a:lnTo>
                    <a:pt x="17898" y="47751"/>
                  </a:lnTo>
                  <a:cubicBezTo>
                    <a:pt x="17795" y="47751"/>
                    <a:pt x="17898" y="47751"/>
                    <a:pt x="17898" y="47751"/>
                  </a:cubicBezTo>
                  <a:lnTo>
                    <a:pt x="17898" y="47751"/>
                  </a:lnTo>
                  <a:cubicBezTo>
                    <a:pt x="18059" y="47847"/>
                    <a:pt x="18225" y="47933"/>
                    <a:pt x="18396" y="48008"/>
                  </a:cubicBezTo>
                  <a:lnTo>
                    <a:pt x="18173" y="48008"/>
                  </a:lnTo>
                  <a:close/>
                  <a:moveTo>
                    <a:pt x="20560" y="10117"/>
                  </a:moveTo>
                  <a:cubicBezTo>
                    <a:pt x="20286" y="10409"/>
                    <a:pt x="20560" y="10014"/>
                    <a:pt x="20560" y="9980"/>
                  </a:cubicBezTo>
                  <a:cubicBezTo>
                    <a:pt x="20560" y="9945"/>
                    <a:pt x="20423" y="10134"/>
                    <a:pt x="20286" y="10323"/>
                  </a:cubicBezTo>
                  <a:cubicBezTo>
                    <a:pt x="19822" y="10083"/>
                    <a:pt x="19581" y="10976"/>
                    <a:pt x="19289" y="10907"/>
                  </a:cubicBezTo>
                  <a:cubicBezTo>
                    <a:pt x="19530" y="11165"/>
                    <a:pt x="19100" y="10907"/>
                    <a:pt x="19152" y="11165"/>
                  </a:cubicBezTo>
                  <a:cubicBezTo>
                    <a:pt x="19014" y="10959"/>
                    <a:pt x="19152" y="11165"/>
                    <a:pt x="19152" y="11165"/>
                  </a:cubicBezTo>
                  <a:cubicBezTo>
                    <a:pt x="19152" y="10907"/>
                    <a:pt x="19152" y="11457"/>
                    <a:pt x="18997" y="11165"/>
                  </a:cubicBezTo>
                  <a:cubicBezTo>
                    <a:pt x="18688" y="11165"/>
                    <a:pt x="18997" y="11577"/>
                    <a:pt x="18585" y="11577"/>
                  </a:cubicBezTo>
                  <a:cubicBezTo>
                    <a:pt x="18585" y="11577"/>
                    <a:pt x="18327" y="12024"/>
                    <a:pt x="18259" y="11903"/>
                  </a:cubicBezTo>
                  <a:cubicBezTo>
                    <a:pt x="18190" y="11783"/>
                    <a:pt x="17846" y="12453"/>
                    <a:pt x="18001" y="12109"/>
                  </a:cubicBezTo>
                  <a:cubicBezTo>
                    <a:pt x="17537" y="12401"/>
                    <a:pt x="18104" y="11938"/>
                    <a:pt x="17743" y="12006"/>
                  </a:cubicBezTo>
                  <a:cubicBezTo>
                    <a:pt x="18173" y="11680"/>
                    <a:pt x="18070" y="11749"/>
                    <a:pt x="17503" y="11783"/>
                  </a:cubicBezTo>
                  <a:cubicBezTo>
                    <a:pt x="17588" y="11313"/>
                    <a:pt x="17763" y="10864"/>
                    <a:pt x="18018" y="10461"/>
                  </a:cubicBezTo>
                  <a:cubicBezTo>
                    <a:pt x="18018" y="10220"/>
                    <a:pt x="18224" y="10461"/>
                    <a:pt x="18448" y="10134"/>
                  </a:cubicBezTo>
                  <a:cubicBezTo>
                    <a:pt x="17984" y="10306"/>
                    <a:pt x="17984" y="10134"/>
                    <a:pt x="18448" y="9739"/>
                  </a:cubicBezTo>
                  <a:cubicBezTo>
                    <a:pt x="18345" y="9739"/>
                    <a:pt x="18207" y="9739"/>
                    <a:pt x="18345" y="9739"/>
                  </a:cubicBezTo>
                  <a:cubicBezTo>
                    <a:pt x="18482" y="9739"/>
                    <a:pt x="18345" y="9636"/>
                    <a:pt x="18963" y="9344"/>
                  </a:cubicBezTo>
                  <a:cubicBezTo>
                    <a:pt x="17709" y="9808"/>
                    <a:pt x="19392" y="8966"/>
                    <a:pt x="18774" y="9104"/>
                  </a:cubicBezTo>
                  <a:cubicBezTo>
                    <a:pt x="19272" y="8657"/>
                    <a:pt x="19152" y="9293"/>
                    <a:pt x="19324" y="9104"/>
                  </a:cubicBezTo>
                  <a:cubicBezTo>
                    <a:pt x="18997" y="9104"/>
                    <a:pt x="19667" y="8863"/>
                    <a:pt x="19324" y="8966"/>
                  </a:cubicBezTo>
                  <a:cubicBezTo>
                    <a:pt x="19444" y="8846"/>
                    <a:pt x="19169" y="8966"/>
                    <a:pt x="18946" y="8966"/>
                  </a:cubicBezTo>
                  <a:cubicBezTo>
                    <a:pt x="19427" y="8537"/>
                    <a:pt x="19238" y="9086"/>
                    <a:pt x="19598" y="8674"/>
                  </a:cubicBezTo>
                  <a:cubicBezTo>
                    <a:pt x="19289" y="8846"/>
                    <a:pt x="19341" y="8554"/>
                    <a:pt x="19598" y="8674"/>
                  </a:cubicBezTo>
                  <a:cubicBezTo>
                    <a:pt x="19808" y="8533"/>
                    <a:pt x="20004" y="8372"/>
                    <a:pt x="20182" y="8193"/>
                  </a:cubicBezTo>
                  <a:cubicBezTo>
                    <a:pt x="19994" y="8193"/>
                    <a:pt x="20182" y="7266"/>
                    <a:pt x="20354" y="7953"/>
                  </a:cubicBezTo>
                  <a:cubicBezTo>
                    <a:pt x="20354" y="7953"/>
                    <a:pt x="20509" y="7712"/>
                    <a:pt x="20560" y="7764"/>
                  </a:cubicBezTo>
                  <a:cubicBezTo>
                    <a:pt x="20612" y="7815"/>
                    <a:pt x="21144" y="6991"/>
                    <a:pt x="20681" y="7386"/>
                  </a:cubicBezTo>
                  <a:cubicBezTo>
                    <a:pt x="20217" y="7781"/>
                    <a:pt x="21162" y="6922"/>
                    <a:pt x="21746" y="6338"/>
                  </a:cubicBezTo>
                  <a:cubicBezTo>
                    <a:pt x="23154" y="5256"/>
                    <a:pt x="21746" y="5497"/>
                    <a:pt x="22914" y="4981"/>
                  </a:cubicBezTo>
                  <a:cubicBezTo>
                    <a:pt x="23085" y="4981"/>
                    <a:pt x="23206" y="5067"/>
                    <a:pt x="23326" y="4844"/>
                  </a:cubicBezTo>
                  <a:cubicBezTo>
                    <a:pt x="26332" y="3556"/>
                    <a:pt x="25576" y="4260"/>
                    <a:pt x="26761" y="3693"/>
                  </a:cubicBezTo>
                  <a:cubicBezTo>
                    <a:pt x="26418" y="3882"/>
                    <a:pt x="26761" y="3693"/>
                    <a:pt x="26881" y="3693"/>
                  </a:cubicBezTo>
                  <a:cubicBezTo>
                    <a:pt x="26503" y="3951"/>
                    <a:pt x="26710" y="3693"/>
                    <a:pt x="26607" y="3951"/>
                  </a:cubicBezTo>
                  <a:cubicBezTo>
                    <a:pt x="26761" y="4140"/>
                    <a:pt x="25765" y="4243"/>
                    <a:pt x="26211" y="4208"/>
                  </a:cubicBezTo>
                  <a:cubicBezTo>
                    <a:pt x="26658" y="4174"/>
                    <a:pt x="26057" y="4346"/>
                    <a:pt x="26211" y="4329"/>
                  </a:cubicBezTo>
                  <a:cubicBezTo>
                    <a:pt x="26555" y="4054"/>
                    <a:pt x="26211" y="4483"/>
                    <a:pt x="26074" y="4500"/>
                  </a:cubicBezTo>
                  <a:cubicBezTo>
                    <a:pt x="25284" y="5119"/>
                    <a:pt x="27036" y="3744"/>
                    <a:pt x="26383" y="4621"/>
                  </a:cubicBezTo>
                  <a:cubicBezTo>
                    <a:pt x="26108" y="4844"/>
                    <a:pt x="25816" y="4861"/>
                    <a:pt x="26057" y="4947"/>
                  </a:cubicBezTo>
                  <a:cubicBezTo>
                    <a:pt x="25672" y="5283"/>
                    <a:pt x="25406" y="5735"/>
                    <a:pt x="25301" y="6235"/>
                  </a:cubicBezTo>
                  <a:cubicBezTo>
                    <a:pt x="25198" y="5874"/>
                    <a:pt x="24751" y="6424"/>
                    <a:pt x="25112" y="6373"/>
                  </a:cubicBezTo>
                  <a:cubicBezTo>
                    <a:pt x="24837" y="6596"/>
                    <a:pt x="25112" y="6373"/>
                    <a:pt x="25009" y="6596"/>
                  </a:cubicBezTo>
                  <a:cubicBezTo>
                    <a:pt x="24906" y="6819"/>
                    <a:pt x="24837" y="6596"/>
                    <a:pt x="24751" y="6596"/>
                  </a:cubicBezTo>
                  <a:cubicBezTo>
                    <a:pt x="24666" y="6596"/>
                    <a:pt x="24751" y="6957"/>
                    <a:pt x="24751" y="6768"/>
                  </a:cubicBezTo>
                  <a:cubicBezTo>
                    <a:pt x="24751" y="6871"/>
                    <a:pt x="25061" y="7128"/>
                    <a:pt x="24751" y="7180"/>
                  </a:cubicBezTo>
                  <a:cubicBezTo>
                    <a:pt x="24271" y="6750"/>
                    <a:pt x="24751" y="7575"/>
                    <a:pt x="24442" y="7489"/>
                  </a:cubicBezTo>
                  <a:cubicBezTo>
                    <a:pt x="23961" y="7729"/>
                    <a:pt x="24442" y="7060"/>
                    <a:pt x="24133" y="7489"/>
                  </a:cubicBezTo>
                  <a:cubicBezTo>
                    <a:pt x="24133" y="7283"/>
                    <a:pt x="23807" y="7609"/>
                    <a:pt x="23738" y="7626"/>
                  </a:cubicBezTo>
                  <a:cubicBezTo>
                    <a:pt x="24150" y="7626"/>
                    <a:pt x="23738" y="7764"/>
                    <a:pt x="23738" y="7781"/>
                  </a:cubicBezTo>
                  <a:cubicBezTo>
                    <a:pt x="24236" y="7781"/>
                    <a:pt x="23738" y="7918"/>
                    <a:pt x="23824" y="7987"/>
                  </a:cubicBezTo>
                  <a:cubicBezTo>
                    <a:pt x="24442" y="8090"/>
                    <a:pt x="23515" y="9705"/>
                    <a:pt x="23583" y="8262"/>
                  </a:cubicBezTo>
                  <a:cubicBezTo>
                    <a:pt x="23034" y="7901"/>
                    <a:pt x="23978" y="8657"/>
                    <a:pt x="23137" y="8520"/>
                  </a:cubicBezTo>
                  <a:cubicBezTo>
                    <a:pt x="23291" y="8640"/>
                    <a:pt x="22673" y="8777"/>
                    <a:pt x="22931" y="8726"/>
                  </a:cubicBezTo>
                  <a:cubicBezTo>
                    <a:pt x="23188" y="8674"/>
                    <a:pt x="23326" y="8915"/>
                    <a:pt x="22931" y="8846"/>
                  </a:cubicBezTo>
                  <a:cubicBezTo>
                    <a:pt x="22536" y="8777"/>
                    <a:pt x="24082" y="8846"/>
                    <a:pt x="23446" y="9121"/>
                  </a:cubicBezTo>
                  <a:cubicBezTo>
                    <a:pt x="23446" y="9121"/>
                    <a:pt x="23171" y="9327"/>
                    <a:pt x="23137" y="9275"/>
                  </a:cubicBezTo>
                  <a:cubicBezTo>
                    <a:pt x="23103" y="9224"/>
                    <a:pt x="21866" y="9859"/>
                    <a:pt x="21952" y="9396"/>
                  </a:cubicBezTo>
                  <a:cubicBezTo>
                    <a:pt x="22038" y="8932"/>
                    <a:pt x="21952" y="9636"/>
                    <a:pt x="21831" y="9653"/>
                  </a:cubicBezTo>
                  <a:cubicBezTo>
                    <a:pt x="21385" y="9688"/>
                    <a:pt x="20612" y="10529"/>
                    <a:pt x="20560" y="10117"/>
                  </a:cubicBezTo>
                  <a:close/>
                  <a:moveTo>
                    <a:pt x="23669" y="11440"/>
                  </a:moveTo>
                  <a:cubicBezTo>
                    <a:pt x="23669" y="11577"/>
                    <a:pt x="23463" y="11543"/>
                    <a:pt x="23412" y="11440"/>
                  </a:cubicBezTo>
                  <a:cubicBezTo>
                    <a:pt x="23360" y="11337"/>
                    <a:pt x="23223" y="11440"/>
                    <a:pt x="23274" y="11319"/>
                  </a:cubicBezTo>
                  <a:cubicBezTo>
                    <a:pt x="23326" y="11199"/>
                    <a:pt x="23188" y="11319"/>
                    <a:pt x="23274" y="11319"/>
                  </a:cubicBezTo>
                  <a:cubicBezTo>
                    <a:pt x="23173" y="11345"/>
                    <a:pt x="23067" y="11345"/>
                    <a:pt x="22965" y="11319"/>
                  </a:cubicBezTo>
                  <a:cubicBezTo>
                    <a:pt x="22965" y="11319"/>
                    <a:pt x="22965" y="11319"/>
                    <a:pt x="22965" y="11319"/>
                  </a:cubicBezTo>
                  <a:cubicBezTo>
                    <a:pt x="22965" y="11319"/>
                    <a:pt x="22965" y="11319"/>
                    <a:pt x="22965" y="11233"/>
                  </a:cubicBezTo>
                  <a:cubicBezTo>
                    <a:pt x="22965" y="11148"/>
                    <a:pt x="22965" y="11233"/>
                    <a:pt x="22965" y="11233"/>
                  </a:cubicBezTo>
                  <a:cubicBezTo>
                    <a:pt x="22965" y="11233"/>
                    <a:pt x="23120" y="11096"/>
                    <a:pt x="23206" y="11148"/>
                  </a:cubicBezTo>
                  <a:cubicBezTo>
                    <a:pt x="23291" y="11199"/>
                    <a:pt x="22948" y="11251"/>
                    <a:pt x="23206" y="11027"/>
                  </a:cubicBezTo>
                  <a:cubicBezTo>
                    <a:pt x="23206" y="11113"/>
                    <a:pt x="23051" y="11027"/>
                    <a:pt x="23206" y="10941"/>
                  </a:cubicBezTo>
                  <a:cubicBezTo>
                    <a:pt x="23360" y="10856"/>
                    <a:pt x="22948" y="10941"/>
                    <a:pt x="22948" y="10821"/>
                  </a:cubicBezTo>
                  <a:cubicBezTo>
                    <a:pt x="22948" y="10701"/>
                    <a:pt x="23206" y="10735"/>
                    <a:pt x="23223" y="10821"/>
                  </a:cubicBezTo>
                  <a:cubicBezTo>
                    <a:pt x="23240" y="10907"/>
                    <a:pt x="23395" y="10821"/>
                    <a:pt x="23412" y="10718"/>
                  </a:cubicBezTo>
                  <a:cubicBezTo>
                    <a:pt x="23429" y="10615"/>
                    <a:pt x="23291" y="10718"/>
                    <a:pt x="23412" y="10718"/>
                  </a:cubicBezTo>
                  <a:cubicBezTo>
                    <a:pt x="23532" y="10718"/>
                    <a:pt x="23291" y="10718"/>
                    <a:pt x="23412" y="10632"/>
                  </a:cubicBezTo>
                  <a:cubicBezTo>
                    <a:pt x="23532" y="10546"/>
                    <a:pt x="23412" y="10632"/>
                    <a:pt x="23412" y="10632"/>
                  </a:cubicBezTo>
                  <a:cubicBezTo>
                    <a:pt x="23412" y="10632"/>
                    <a:pt x="23412" y="10718"/>
                    <a:pt x="23412" y="10632"/>
                  </a:cubicBezTo>
                  <a:cubicBezTo>
                    <a:pt x="23412" y="10546"/>
                    <a:pt x="23412" y="10632"/>
                    <a:pt x="23412" y="10632"/>
                  </a:cubicBezTo>
                  <a:cubicBezTo>
                    <a:pt x="23223" y="10873"/>
                    <a:pt x="23120" y="10478"/>
                    <a:pt x="23291" y="10632"/>
                  </a:cubicBezTo>
                  <a:cubicBezTo>
                    <a:pt x="23463" y="10787"/>
                    <a:pt x="23291" y="10478"/>
                    <a:pt x="23291" y="10632"/>
                  </a:cubicBezTo>
                  <a:cubicBezTo>
                    <a:pt x="23291" y="10787"/>
                    <a:pt x="23291" y="10632"/>
                    <a:pt x="23291" y="10632"/>
                  </a:cubicBezTo>
                  <a:cubicBezTo>
                    <a:pt x="23291" y="10632"/>
                    <a:pt x="23291" y="10529"/>
                    <a:pt x="23291" y="10632"/>
                  </a:cubicBezTo>
                  <a:cubicBezTo>
                    <a:pt x="23291" y="10735"/>
                    <a:pt x="23291" y="10478"/>
                    <a:pt x="23291" y="10632"/>
                  </a:cubicBezTo>
                  <a:cubicBezTo>
                    <a:pt x="23291" y="10787"/>
                    <a:pt x="23412" y="10632"/>
                    <a:pt x="23291" y="10632"/>
                  </a:cubicBezTo>
                  <a:cubicBezTo>
                    <a:pt x="23171" y="10632"/>
                    <a:pt x="23395" y="10632"/>
                    <a:pt x="23291" y="10632"/>
                  </a:cubicBezTo>
                  <a:cubicBezTo>
                    <a:pt x="23188" y="10632"/>
                    <a:pt x="23120" y="10478"/>
                    <a:pt x="23291" y="10478"/>
                  </a:cubicBezTo>
                  <a:cubicBezTo>
                    <a:pt x="22999" y="10375"/>
                    <a:pt x="23395" y="10375"/>
                    <a:pt x="23291" y="10581"/>
                  </a:cubicBezTo>
                  <a:cubicBezTo>
                    <a:pt x="23291" y="10581"/>
                    <a:pt x="23291" y="10581"/>
                    <a:pt x="23291" y="10581"/>
                  </a:cubicBezTo>
                  <a:cubicBezTo>
                    <a:pt x="23291" y="10581"/>
                    <a:pt x="23291" y="10701"/>
                    <a:pt x="23291" y="10581"/>
                  </a:cubicBezTo>
                  <a:cubicBezTo>
                    <a:pt x="23302" y="10608"/>
                    <a:pt x="23302" y="10639"/>
                    <a:pt x="23291" y="10667"/>
                  </a:cubicBezTo>
                  <a:cubicBezTo>
                    <a:pt x="23291" y="10667"/>
                    <a:pt x="23291" y="10753"/>
                    <a:pt x="23291" y="10787"/>
                  </a:cubicBezTo>
                  <a:cubicBezTo>
                    <a:pt x="23291" y="10821"/>
                    <a:pt x="23291" y="10787"/>
                    <a:pt x="23291" y="10873"/>
                  </a:cubicBezTo>
                  <a:cubicBezTo>
                    <a:pt x="23311" y="10799"/>
                    <a:pt x="23361" y="10737"/>
                    <a:pt x="23429" y="10701"/>
                  </a:cubicBezTo>
                  <a:cubicBezTo>
                    <a:pt x="23429" y="10907"/>
                    <a:pt x="23429" y="10478"/>
                    <a:pt x="23601" y="10461"/>
                  </a:cubicBezTo>
                  <a:cubicBezTo>
                    <a:pt x="23772" y="10443"/>
                    <a:pt x="23601" y="10581"/>
                    <a:pt x="23601" y="10598"/>
                  </a:cubicBezTo>
                  <a:cubicBezTo>
                    <a:pt x="23601" y="10615"/>
                    <a:pt x="23687" y="10461"/>
                    <a:pt x="23790" y="10478"/>
                  </a:cubicBezTo>
                  <a:cubicBezTo>
                    <a:pt x="23832" y="10576"/>
                    <a:pt x="23832" y="10688"/>
                    <a:pt x="23790" y="10787"/>
                  </a:cubicBezTo>
                  <a:cubicBezTo>
                    <a:pt x="23893" y="10701"/>
                    <a:pt x="23790" y="10461"/>
                    <a:pt x="23961" y="10512"/>
                  </a:cubicBezTo>
                  <a:cubicBezTo>
                    <a:pt x="24133" y="10564"/>
                    <a:pt x="24116" y="10375"/>
                    <a:pt x="24099" y="10512"/>
                  </a:cubicBezTo>
                  <a:cubicBezTo>
                    <a:pt x="24082" y="10649"/>
                    <a:pt x="24356" y="10220"/>
                    <a:pt x="24322" y="10512"/>
                  </a:cubicBezTo>
                  <a:cubicBezTo>
                    <a:pt x="24288" y="10804"/>
                    <a:pt x="24442" y="10357"/>
                    <a:pt x="24528" y="10512"/>
                  </a:cubicBezTo>
                  <a:cubicBezTo>
                    <a:pt x="24614" y="10667"/>
                    <a:pt x="24356" y="10667"/>
                    <a:pt x="24528" y="10632"/>
                  </a:cubicBezTo>
                  <a:cubicBezTo>
                    <a:pt x="24700" y="10598"/>
                    <a:pt x="24425" y="10632"/>
                    <a:pt x="24528" y="10804"/>
                  </a:cubicBezTo>
                  <a:cubicBezTo>
                    <a:pt x="24631" y="10976"/>
                    <a:pt x="24528" y="10804"/>
                    <a:pt x="24528" y="10804"/>
                  </a:cubicBezTo>
                  <a:cubicBezTo>
                    <a:pt x="24751" y="10804"/>
                    <a:pt x="24614" y="10804"/>
                    <a:pt x="24528" y="10924"/>
                  </a:cubicBezTo>
                  <a:cubicBezTo>
                    <a:pt x="24442" y="11045"/>
                    <a:pt x="24528" y="11079"/>
                    <a:pt x="24528" y="11148"/>
                  </a:cubicBezTo>
                  <a:cubicBezTo>
                    <a:pt x="24374" y="10924"/>
                    <a:pt x="24528" y="11440"/>
                    <a:pt x="24288" y="11148"/>
                  </a:cubicBezTo>
                  <a:cubicBezTo>
                    <a:pt x="24288" y="11268"/>
                    <a:pt x="24064" y="11268"/>
                    <a:pt x="23978" y="11388"/>
                  </a:cubicBezTo>
                  <a:lnTo>
                    <a:pt x="23978" y="11388"/>
                  </a:lnTo>
                  <a:cubicBezTo>
                    <a:pt x="23978" y="11388"/>
                    <a:pt x="23841" y="11388"/>
                    <a:pt x="23790" y="11388"/>
                  </a:cubicBezTo>
                  <a:cubicBezTo>
                    <a:pt x="23738" y="11388"/>
                    <a:pt x="23790" y="11388"/>
                    <a:pt x="23790" y="11388"/>
                  </a:cubicBezTo>
                  <a:cubicBezTo>
                    <a:pt x="23790" y="11388"/>
                    <a:pt x="23738" y="11594"/>
                    <a:pt x="23669" y="11440"/>
                  </a:cubicBezTo>
                  <a:close/>
                  <a:moveTo>
                    <a:pt x="38184" y="41533"/>
                  </a:moveTo>
                  <a:cubicBezTo>
                    <a:pt x="38063" y="41224"/>
                    <a:pt x="38579" y="40880"/>
                    <a:pt x="38802" y="40640"/>
                  </a:cubicBezTo>
                  <a:cubicBezTo>
                    <a:pt x="39025" y="40399"/>
                    <a:pt x="39025" y="39729"/>
                    <a:pt x="39540" y="39523"/>
                  </a:cubicBezTo>
                  <a:lnTo>
                    <a:pt x="39540" y="39523"/>
                  </a:lnTo>
                  <a:cubicBezTo>
                    <a:pt x="39540" y="39523"/>
                    <a:pt x="39540" y="39523"/>
                    <a:pt x="39540" y="39523"/>
                  </a:cubicBezTo>
                  <a:cubicBezTo>
                    <a:pt x="39540" y="39523"/>
                    <a:pt x="39644" y="39523"/>
                    <a:pt x="39781" y="39386"/>
                  </a:cubicBezTo>
                  <a:cubicBezTo>
                    <a:pt x="39661" y="39678"/>
                    <a:pt x="40073" y="39077"/>
                    <a:pt x="39953" y="39386"/>
                  </a:cubicBezTo>
                  <a:cubicBezTo>
                    <a:pt x="39832" y="39695"/>
                    <a:pt x="39953" y="39386"/>
                    <a:pt x="39953" y="39386"/>
                  </a:cubicBezTo>
                  <a:cubicBezTo>
                    <a:pt x="39953" y="39386"/>
                    <a:pt x="39953" y="39386"/>
                    <a:pt x="39953" y="39248"/>
                  </a:cubicBezTo>
                  <a:cubicBezTo>
                    <a:pt x="39953" y="39111"/>
                    <a:pt x="40073" y="39248"/>
                    <a:pt x="39953" y="39248"/>
                  </a:cubicBezTo>
                  <a:lnTo>
                    <a:pt x="39953" y="39248"/>
                  </a:lnTo>
                  <a:cubicBezTo>
                    <a:pt x="39953" y="39248"/>
                    <a:pt x="39953" y="39248"/>
                    <a:pt x="39953" y="39369"/>
                  </a:cubicBezTo>
                  <a:cubicBezTo>
                    <a:pt x="39953" y="39489"/>
                    <a:pt x="40090" y="39197"/>
                    <a:pt x="40107" y="39266"/>
                  </a:cubicBezTo>
                  <a:cubicBezTo>
                    <a:pt x="40124" y="39334"/>
                    <a:pt x="40107" y="39266"/>
                    <a:pt x="40107" y="39145"/>
                  </a:cubicBezTo>
                  <a:cubicBezTo>
                    <a:pt x="40107" y="39025"/>
                    <a:pt x="40262" y="39145"/>
                    <a:pt x="40107" y="39042"/>
                  </a:cubicBezTo>
                  <a:cubicBezTo>
                    <a:pt x="39953" y="38939"/>
                    <a:pt x="40107" y="39145"/>
                    <a:pt x="40262" y="38939"/>
                  </a:cubicBezTo>
                  <a:cubicBezTo>
                    <a:pt x="40416" y="38733"/>
                    <a:pt x="40537" y="38733"/>
                    <a:pt x="40485" y="38561"/>
                  </a:cubicBezTo>
                  <a:cubicBezTo>
                    <a:pt x="40434" y="38389"/>
                    <a:pt x="40588" y="38561"/>
                    <a:pt x="40674" y="38441"/>
                  </a:cubicBezTo>
                  <a:cubicBezTo>
                    <a:pt x="40760" y="38321"/>
                    <a:pt x="40674" y="38664"/>
                    <a:pt x="40674" y="38664"/>
                  </a:cubicBezTo>
                  <a:cubicBezTo>
                    <a:pt x="41344" y="38922"/>
                    <a:pt x="37514" y="43560"/>
                    <a:pt x="38184" y="41533"/>
                  </a:cubicBezTo>
                  <a:close/>
                  <a:moveTo>
                    <a:pt x="49159" y="26589"/>
                  </a:moveTo>
                  <a:cubicBezTo>
                    <a:pt x="49159" y="26589"/>
                    <a:pt x="49159" y="26589"/>
                    <a:pt x="49159" y="26589"/>
                  </a:cubicBezTo>
                  <a:cubicBezTo>
                    <a:pt x="48810" y="27921"/>
                    <a:pt x="48552" y="29276"/>
                    <a:pt x="48386" y="30643"/>
                  </a:cubicBezTo>
                  <a:cubicBezTo>
                    <a:pt x="48386" y="30540"/>
                    <a:pt x="48215" y="30780"/>
                    <a:pt x="48215" y="30849"/>
                  </a:cubicBezTo>
                  <a:cubicBezTo>
                    <a:pt x="48026" y="31570"/>
                    <a:pt x="47579" y="26864"/>
                    <a:pt x="47613" y="26452"/>
                  </a:cubicBezTo>
                  <a:cubicBezTo>
                    <a:pt x="47459" y="26452"/>
                    <a:pt x="47613" y="26263"/>
                    <a:pt x="47613" y="26160"/>
                  </a:cubicBezTo>
                  <a:cubicBezTo>
                    <a:pt x="47613" y="26057"/>
                    <a:pt x="47528" y="26160"/>
                    <a:pt x="47528" y="26160"/>
                  </a:cubicBezTo>
                  <a:cubicBezTo>
                    <a:pt x="47528" y="26555"/>
                    <a:pt x="47373" y="27362"/>
                    <a:pt x="47098" y="26606"/>
                  </a:cubicBezTo>
                  <a:cubicBezTo>
                    <a:pt x="47098" y="26606"/>
                    <a:pt x="46909" y="26332"/>
                    <a:pt x="46995" y="26383"/>
                  </a:cubicBezTo>
                  <a:lnTo>
                    <a:pt x="46995" y="26383"/>
                  </a:lnTo>
                  <a:cubicBezTo>
                    <a:pt x="46995" y="26538"/>
                    <a:pt x="46995" y="26383"/>
                    <a:pt x="46995" y="26383"/>
                  </a:cubicBezTo>
                  <a:cubicBezTo>
                    <a:pt x="46995" y="26383"/>
                    <a:pt x="47201" y="26074"/>
                    <a:pt x="47081" y="26040"/>
                  </a:cubicBezTo>
                  <a:cubicBezTo>
                    <a:pt x="47081" y="26383"/>
                    <a:pt x="46583" y="26040"/>
                    <a:pt x="46806" y="25833"/>
                  </a:cubicBezTo>
                  <a:cubicBezTo>
                    <a:pt x="46806" y="25833"/>
                    <a:pt x="46806" y="25937"/>
                    <a:pt x="46686" y="25971"/>
                  </a:cubicBezTo>
                  <a:cubicBezTo>
                    <a:pt x="46566" y="26005"/>
                    <a:pt x="46686" y="25885"/>
                    <a:pt x="46549" y="25971"/>
                  </a:cubicBezTo>
                  <a:cubicBezTo>
                    <a:pt x="46411" y="26057"/>
                    <a:pt x="46549" y="25696"/>
                    <a:pt x="46428" y="25559"/>
                  </a:cubicBezTo>
                  <a:cubicBezTo>
                    <a:pt x="46239" y="25730"/>
                    <a:pt x="46428" y="25318"/>
                    <a:pt x="46119" y="25438"/>
                  </a:cubicBezTo>
                  <a:cubicBezTo>
                    <a:pt x="46119" y="25438"/>
                    <a:pt x="45965" y="25524"/>
                    <a:pt x="45913" y="25610"/>
                  </a:cubicBezTo>
                  <a:cubicBezTo>
                    <a:pt x="45861" y="25696"/>
                    <a:pt x="45810" y="25610"/>
                    <a:pt x="45741" y="25610"/>
                  </a:cubicBezTo>
                  <a:cubicBezTo>
                    <a:pt x="45673" y="25610"/>
                    <a:pt x="45604" y="25610"/>
                    <a:pt x="45552" y="25765"/>
                  </a:cubicBezTo>
                  <a:cubicBezTo>
                    <a:pt x="45501" y="25919"/>
                    <a:pt x="45552" y="25765"/>
                    <a:pt x="45432" y="25765"/>
                  </a:cubicBezTo>
                  <a:cubicBezTo>
                    <a:pt x="45312" y="25765"/>
                    <a:pt x="45260" y="25885"/>
                    <a:pt x="45209" y="25679"/>
                  </a:cubicBezTo>
                  <a:cubicBezTo>
                    <a:pt x="45209" y="25782"/>
                    <a:pt x="44814" y="25679"/>
                    <a:pt x="44728" y="25679"/>
                  </a:cubicBezTo>
                  <a:cubicBezTo>
                    <a:pt x="44642" y="25679"/>
                    <a:pt x="44573" y="25679"/>
                    <a:pt x="44453" y="25679"/>
                  </a:cubicBezTo>
                  <a:cubicBezTo>
                    <a:pt x="44178" y="24683"/>
                    <a:pt x="44144" y="25541"/>
                    <a:pt x="43663" y="25404"/>
                  </a:cubicBezTo>
                  <a:cubicBezTo>
                    <a:pt x="43560" y="25404"/>
                    <a:pt x="43251" y="25284"/>
                    <a:pt x="43285" y="25146"/>
                  </a:cubicBezTo>
                  <a:cubicBezTo>
                    <a:pt x="43319" y="25009"/>
                    <a:pt x="42838" y="25146"/>
                    <a:pt x="42804" y="24803"/>
                  </a:cubicBezTo>
                  <a:cubicBezTo>
                    <a:pt x="42804" y="24803"/>
                    <a:pt x="42684" y="24803"/>
                    <a:pt x="42804" y="24803"/>
                  </a:cubicBezTo>
                  <a:cubicBezTo>
                    <a:pt x="42632" y="24803"/>
                    <a:pt x="42564" y="24185"/>
                    <a:pt x="42375" y="24425"/>
                  </a:cubicBezTo>
                  <a:cubicBezTo>
                    <a:pt x="42375" y="24339"/>
                    <a:pt x="42220" y="24425"/>
                    <a:pt x="42272" y="24270"/>
                  </a:cubicBezTo>
                  <a:cubicBezTo>
                    <a:pt x="42323" y="24116"/>
                    <a:pt x="42272" y="24270"/>
                    <a:pt x="42272" y="24270"/>
                  </a:cubicBezTo>
                  <a:cubicBezTo>
                    <a:pt x="42272" y="24270"/>
                    <a:pt x="42272" y="24494"/>
                    <a:pt x="42272" y="24270"/>
                  </a:cubicBezTo>
                  <a:cubicBezTo>
                    <a:pt x="42272" y="24047"/>
                    <a:pt x="42272" y="24580"/>
                    <a:pt x="42100" y="24597"/>
                  </a:cubicBezTo>
                  <a:lnTo>
                    <a:pt x="42220" y="24597"/>
                  </a:lnTo>
                  <a:lnTo>
                    <a:pt x="42220" y="24597"/>
                  </a:lnTo>
                  <a:cubicBezTo>
                    <a:pt x="42220" y="24597"/>
                    <a:pt x="42220" y="24700"/>
                    <a:pt x="42220" y="24734"/>
                  </a:cubicBezTo>
                  <a:cubicBezTo>
                    <a:pt x="42220" y="24769"/>
                    <a:pt x="42220" y="24837"/>
                    <a:pt x="42220" y="24734"/>
                  </a:cubicBezTo>
                  <a:cubicBezTo>
                    <a:pt x="42259" y="24896"/>
                    <a:pt x="42365" y="25033"/>
                    <a:pt x="42512" y="25112"/>
                  </a:cubicBezTo>
                  <a:cubicBezTo>
                    <a:pt x="42512" y="25112"/>
                    <a:pt x="42821" y="25438"/>
                    <a:pt x="42770" y="25610"/>
                  </a:cubicBezTo>
                  <a:lnTo>
                    <a:pt x="42770" y="25610"/>
                  </a:lnTo>
                  <a:cubicBezTo>
                    <a:pt x="42993" y="25851"/>
                    <a:pt x="43027" y="26314"/>
                    <a:pt x="43045" y="25782"/>
                  </a:cubicBezTo>
                  <a:cubicBezTo>
                    <a:pt x="43045" y="25645"/>
                    <a:pt x="43045" y="25438"/>
                    <a:pt x="43165" y="25627"/>
                  </a:cubicBezTo>
                  <a:cubicBezTo>
                    <a:pt x="43133" y="25786"/>
                    <a:pt x="43133" y="25950"/>
                    <a:pt x="43165" y="26108"/>
                  </a:cubicBezTo>
                  <a:cubicBezTo>
                    <a:pt x="43165" y="26108"/>
                    <a:pt x="43165" y="26297"/>
                    <a:pt x="43165" y="26211"/>
                  </a:cubicBezTo>
                  <a:lnTo>
                    <a:pt x="43165" y="26366"/>
                  </a:lnTo>
                  <a:cubicBezTo>
                    <a:pt x="43371" y="26177"/>
                    <a:pt x="43646" y="26366"/>
                    <a:pt x="43766" y="26091"/>
                  </a:cubicBezTo>
                  <a:lnTo>
                    <a:pt x="43766" y="26091"/>
                  </a:lnTo>
                  <a:cubicBezTo>
                    <a:pt x="43766" y="25833"/>
                    <a:pt x="44024" y="25593"/>
                    <a:pt x="44058" y="25318"/>
                  </a:cubicBezTo>
                  <a:lnTo>
                    <a:pt x="44058" y="25318"/>
                  </a:lnTo>
                  <a:cubicBezTo>
                    <a:pt x="44058" y="25318"/>
                    <a:pt x="44058" y="25146"/>
                    <a:pt x="44058" y="25215"/>
                  </a:cubicBezTo>
                  <a:cubicBezTo>
                    <a:pt x="44058" y="25284"/>
                    <a:pt x="44058" y="25559"/>
                    <a:pt x="44058" y="25507"/>
                  </a:cubicBezTo>
                  <a:cubicBezTo>
                    <a:pt x="44058" y="25851"/>
                    <a:pt x="44247" y="26280"/>
                    <a:pt x="44642" y="26091"/>
                  </a:cubicBezTo>
                  <a:cubicBezTo>
                    <a:pt x="44947" y="26440"/>
                    <a:pt x="44947" y="26961"/>
                    <a:pt x="44642" y="27311"/>
                  </a:cubicBezTo>
                  <a:cubicBezTo>
                    <a:pt x="44642" y="27105"/>
                    <a:pt x="44487" y="27757"/>
                    <a:pt x="44642" y="27877"/>
                  </a:cubicBezTo>
                  <a:cubicBezTo>
                    <a:pt x="44230" y="27877"/>
                    <a:pt x="44505" y="28290"/>
                    <a:pt x="44109" y="28376"/>
                  </a:cubicBezTo>
                  <a:cubicBezTo>
                    <a:pt x="44109" y="28496"/>
                    <a:pt x="44109" y="28599"/>
                    <a:pt x="44109" y="28719"/>
                  </a:cubicBezTo>
                  <a:cubicBezTo>
                    <a:pt x="43847" y="28757"/>
                    <a:pt x="43612" y="28900"/>
                    <a:pt x="43457" y="29114"/>
                  </a:cubicBezTo>
                  <a:cubicBezTo>
                    <a:pt x="43457" y="29475"/>
                    <a:pt x="42924" y="29595"/>
                    <a:pt x="42684" y="29767"/>
                  </a:cubicBezTo>
                  <a:cubicBezTo>
                    <a:pt x="42443" y="29939"/>
                    <a:pt x="42495" y="30042"/>
                    <a:pt x="42357" y="29990"/>
                  </a:cubicBezTo>
                  <a:cubicBezTo>
                    <a:pt x="42248" y="30193"/>
                    <a:pt x="42016" y="30299"/>
                    <a:pt x="41791" y="30248"/>
                  </a:cubicBezTo>
                  <a:cubicBezTo>
                    <a:pt x="41649" y="30457"/>
                    <a:pt x="41423" y="30595"/>
                    <a:pt x="41172" y="30626"/>
                  </a:cubicBezTo>
                  <a:cubicBezTo>
                    <a:pt x="41035" y="30317"/>
                    <a:pt x="41172" y="29904"/>
                    <a:pt x="40897" y="29629"/>
                  </a:cubicBezTo>
                  <a:cubicBezTo>
                    <a:pt x="41155" y="29011"/>
                    <a:pt x="40262" y="28204"/>
                    <a:pt x="39850" y="27706"/>
                  </a:cubicBezTo>
                  <a:cubicBezTo>
                    <a:pt x="39850" y="27293"/>
                    <a:pt x="39747" y="26589"/>
                    <a:pt x="39283" y="26606"/>
                  </a:cubicBezTo>
                  <a:cubicBezTo>
                    <a:pt x="39111" y="25799"/>
                    <a:pt x="38166" y="25370"/>
                    <a:pt x="38338" y="24751"/>
                  </a:cubicBezTo>
                  <a:cubicBezTo>
                    <a:pt x="38218" y="24975"/>
                    <a:pt x="38338" y="25249"/>
                    <a:pt x="38201" y="25438"/>
                  </a:cubicBezTo>
                  <a:cubicBezTo>
                    <a:pt x="37948" y="25233"/>
                    <a:pt x="37727" y="24989"/>
                    <a:pt x="37548" y="24717"/>
                  </a:cubicBezTo>
                  <a:cubicBezTo>
                    <a:pt x="37840" y="25370"/>
                    <a:pt x="38304" y="26022"/>
                    <a:pt x="38682" y="26692"/>
                  </a:cubicBezTo>
                  <a:lnTo>
                    <a:pt x="38682" y="26692"/>
                  </a:lnTo>
                  <a:cubicBezTo>
                    <a:pt x="38718" y="26746"/>
                    <a:pt x="38765" y="26793"/>
                    <a:pt x="38819" y="26830"/>
                  </a:cubicBezTo>
                  <a:cubicBezTo>
                    <a:pt x="38819" y="26830"/>
                    <a:pt x="38716" y="26830"/>
                    <a:pt x="38699" y="26830"/>
                  </a:cubicBezTo>
                  <a:cubicBezTo>
                    <a:pt x="38699" y="27328"/>
                    <a:pt x="39231" y="27311"/>
                    <a:pt x="39317" y="27826"/>
                  </a:cubicBezTo>
                  <a:cubicBezTo>
                    <a:pt x="39180" y="27826"/>
                    <a:pt x="39420" y="28187"/>
                    <a:pt x="39317" y="28376"/>
                  </a:cubicBezTo>
                  <a:cubicBezTo>
                    <a:pt x="39214" y="28565"/>
                    <a:pt x="39644" y="28719"/>
                    <a:pt x="39712" y="28891"/>
                  </a:cubicBezTo>
                  <a:cubicBezTo>
                    <a:pt x="39781" y="29063"/>
                    <a:pt x="39884" y="29561"/>
                    <a:pt x="40021" y="29715"/>
                  </a:cubicBezTo>
                  <a:cubicBezTo>
                    <a:pt x="40159" y="29870"/>
                    <a:pt x="40142" y="30007"/>
                    <a:pt x="40021" y="29801"/>
                  </a:cubicBezTo>
                  <a:cubicBezTo>
                    <a:pt x="39901" y="29595"/>
                    <a:pt x="40021" y="30042"/>
                    <a:pt x="40193" y="29939"/>
                  </a:cubicBezTo>
                  <a:cubicBezTo>
                    <a:pt x="40571" y="29939"/>
                    <a:pt x="40708" y="30591"/>
                    <a:pt x="40932" y="30626"/>
                  </a:cubicBezTo>
                  <a:cubicBezTo>
                    <a:pt x="41155" y="30660"/>
                    <a:pt x="40932" y="30746"/>
                    <a:pt x="41035" y="30746"/>
                  </a:cubicBezTo>
                  <a:cubicBezTo>
                    <a:pt x="41037" y="30889"/>
                    <a:pt x="40935" y="31013"/>
                    <a:pt x="40794" y="31038"/>
                  </a:cubicBezTo>
                  <a:cubicBezTo>
                    <a:pt x="41035" y="31038"/>
                    <a:pt x="41086" y="31364"/>
                    <a:pt x="41327" y="31450"/>
                  </a:cubicBezTo>
                  <a:cubicBezTo>
                    <a:pt x="41782" y="31205"/>
                    <a:pt x="42267" y="31020"/>
                    <a:pt x="42770" y="30901"/>
                  </a:cubicBezTo>
                  <a:cubicBezTo>
                    <a:pt x="42857" y="30834"/>
                    <a:pt x="42933" y="30752"/>
                    <a:pt x="42993" y="30660"/>
                  </a:cubicBezTo>
                  <a:cubicBezTo>
                    <a:pt x="43165" y="30660"/>
                    <a:pt x="42993" y="31021"/>
                    <a:pt x="42993" y="31210"/>
                  </a:cubicBezTo>
                  <a:cubicBezTo>
                    <a:pt x="42993" y="31399"/>
                    <a:pt x="42993" y="31210"/>
                    <a:pt x="42993" y="31210"/>
                  </a:cubicBezTo>
                  <a:cubicBezTo>
                    <a:pt x="42684" y="33580"/>
                    <a:pt x="39163" y="34989"/>
                    <a:pt x="38922" y="37033"/>
                  </a:cubicBezTo>
                  <a:cubicBezTo>
                    <a:pt x="38922" y="37033"/>
                    <a:pt x="38716" y="37204"/>
                    <a:pt x="38802" y="37307"/>
                  </a:cubicBezTo>
                  <a:cubicBezTo>
                    <a:pt x="38888" y="37410"/>
                    <a:pt x="38596" y="37874"/>
                    <a:pt x="38802" y="38012"/>
                  </a:cubicBezTo>
                  <a:cubicBezTo>
                    <a:pt x="38630" y="38407"/>
                    <a:pt x="38493" y="38991"/>
                    <a:pt x="38355" y="39248"/>
                  </a:cubicBezTo>
                  <a:cubicBezTo>
                    <a:pt x="38218" y="39506"/>
                    <a:pt x="38149" y="39369"/>
                    <a:pt x="38355" y="39351"/>
                  </a:cubicBezTo>
                  <a:cubicBezTo>
                    <a:pt x="38063" y="39781"/>
                    <a:pt x="37514" y="39901"/>
                    <a:pt x="37119" y="40193"/>
                  </a:cubicBezTo>
                  <a:lnTo>
                    <a:pt x="37119" y="40193"/>
                  </a:lnTo>
                  <a:cubicBezTo>
                    <a:pt x="36902" y="40432"/>
                    <a:pt x="36622" y="40604"/>
                    <a:pt x="36311" y="40691"/>
                  </a:cubicBezTo>
                  <a:cubicBezTo>
                    <a:pt x="36339" y="40751"/>
                    <a:pt x="36339" y="40820"/>
                    <a:pt x="36311" y="40880"/>
                  </a:cubicBezTo>
                  <a:cubicBezTo>
                    <a:pt x="36311" y="40880"/>
                    <a:pt x="36311" y="41000"/>
                    <a:pt x="36311" y="41035"/>
                  </a:cubicBezTo>
                  <a:cubicBezTo>
                    <a:pt x="36311" y="41069"/>
                    <a:pt x="36311" y="41292"/>
                    <a:pt x="36311" y="41395"/>
                  </a:cubicBezTo>
                  <a:cubicBezTo>
                    <a:pt x="36311" y="41498"/>
                    <a:pt x="36311" y="41310"/>
                    <a:pt x="36311" y="41292"/>
                  </a:cubicBezTo>
                  <a:lnTo>
                    <a:pt x="36311" y="41292"/>
                  </a:lnTo>
                  <a:lnTo>
                    <a:pt x="36311" y="41292"/>
                  </a:lnTo>
                  <a:cubicBezTo>
                    <a:pt x="36311" y="41447"/>
                    <a:pt x="36122" y="41567"/>
                    <a:pt x="36054" y="41705"/>
                  </a:cubicBezTo>
                  <a:lnTo>
                    <a:pt x="36054" y="41705"/>
                  </a:lnTo>
                  <a:cubicBezTo>
                    <a:pt x="35865" y="42117"/>
                    <a:pt x="35126" y="41997"/>
                    <a:pt x="35006" y="42392"/>
                  </a:cubicBezTo>
                  <a:lnTo>
                    <a:pt x="35126" y="42392"/>
                  </a:lnTo>
                  <a:cubicBezTo>
                    <a:pt x="35084" y="42471"/>
                    <a:pt x="35025" y="42542"/>
                    <a:pt x="34954" y="42598"/>
                  </a:cubicBezTo>
                  <a:lnTo>
                    <a:pt x="34954" y="42598"/>
                  </a:lnTo>
                  <a:cubicBezTo>
                    <a:pt x="34162" y="43425"/>
                    <a:pt x="33158" y="44019"/>
                    <a:pt x="32051" y="44315"/>
                  </a:cubicBezTo>
                  <a:cubicBezTo>
                    <a:pt x="31588" y="44161"/>
                    <a:pt x="31124" y="44453"/>
                    <a:pt x="30660" y="44418"/>
                  </a:cubicBezTo>
                  <a:cubicBezTo>
                    <a:pt x="30660" y="44333"/>
                    <a:pt x="30660" y="44418"/>
                    <a:pt x="30660" y="44418"/>
                  </a:cubicBezTo>
                  <a:cubicBezTo>
                    <a:pt x="30660" y="44418"/>
                    <a:pt x="30557" y="44333"/>
                    <a:pt x="30660" y="44418"/>
                  </a:cubicBezTo>
                  <a:cubicBezTo>
                    <a:pt x="30763" y="44504"/>
                    <a:pt x="30798" y="44230"/>
                    <a:pt x="30660" y="44092"/>
                  </a:cubicBezTo>
                  <a:cubicBezTo>
                    <a:pt x="30987" y="43938"/>
                    <a:pt x="30660" y="43508"/>
                    <a:pt x="30660" y="43199"/>
                  </a:cubicBezTo>
                  <a:cubicBezTo>
                    <a:pt x="30128" y="42392"/>
                    <a:pt x="30437" y="41189"/>
                    <a:pt x="29836" y="40296"/>
                  </a:cubicBezTo>
                  <a:cubicBezTo>
                    <a:pt x="29836" y="39369"/>
                    <a:pt x="31210" y="38956"/>
                    <a:pt x="30591" y="38046"/>
                  </a:cubicBezTo>
                  <a:cubicBezTo>
                    <a:pt x="30866" y="37840"/>
                    <a:pt x="30591" y="37428"/>
                    <a:pt x="30471" y="37204"/>
                  </a:cubicBezTo>
                  <a:lnTo>
                    <a:pt x="30574" y="37204"/>
                  </a:lnTo>
                  <a:cubicBezTo>
                    <a:pt x="30574" y="37204"/>
                    <a:pt x="30334" y="37204"/>
                    <a:pt x="30454" y="37050"/>
                  </a:cubicBezTo>
                  <a:cubicBezTo>
                    <a:pt x="30248" y="36449"/>
                    <a:pt x="29561" y="36242"/>
                    <a:pt x="29423" y="35607"/>
                  </a:cubicBezTo>
                  <a:cubicBezTo>
                    <a:pt x="29578" y="35607"/>
                    <a:pt x="29612" y="35487"/>
                    <a:pt x="29630" y="35298"/>
                  </a:cubicBezTo>
                  <a:cubicBezTo>
                    <a:pt x="29647" y="35109"/>
                    <a:pt x="29767" y="35298"/>
                    <a:pt x="29819" y="35298"/>
                  </a:cubicBezTo>
                  <a:cubicBezTo>
                    <a:pt x="29741" y="35301"/>
                    <a:pt x="29670" y="35252"/>
                    <a:pt x="29647" y="35177"/>
                  </a:cubicBezTo>
                  <a:cubicBezTo>
                    <a:pt x="29767" y="35177"/>
                    <a:pt x="29750" y="35057"/>
                    <a:pt x="29647" y="35040"/>
                  </a:cubicBezTo>
                  <a:cubicBezTo>
                    <a:pt x="29897" y="34793"/>
                    <a:pt x="29972" y="34419"/>
                    <a:pt x="29836" y="34095"/>
                  </a:cubicBezTo>
                  <a:cubicBezTo>
                    <a:pt x="29681" y="34198"/>
                    <a:pt x="29612" y="34095"/>
                    <a:pt x="29612" y="33906"/>
                  </a:cubicBezTo>
                  <a:cubicBezTo>
                    <a:pt x="29559" y="33957"/>
                    <a:pt x="29477" y="33957"/>
                    <a:pt x="29423" y="33906"/>
                  </a:cubicBezTo>
                  <a:cubicBezTo>
                    <a:pt x="29269" y="34095"/>
                    <a:pt x="28771" y="34078"/>
                    <a:pt x="28496" y="34044"/>
                  </a:cubicBezTo>
                  <a:cubicBezTo>
                    <a:pt x="28118" y="32807"/>
                    <a:pt x="26778" y="33529"/>
                    <a:pt x="25937" y="33821"/>
                  </a:cubicBezTo>
                  <a:cubicBezTo>
                    <a:pt x="24219" y="33305"/>
                    <a:pt x="23961" y="34490"/>
                    <a:pt x="22501" y="32687"/>
                  </a:cubicBezTo>
                  <a:cubicBezTo>
                    <a:pt x="22330" y="32687"/>
                    <a:pt x="22364" y="32429"/>
                    <a:pt x="22226" y="32361"/>
                  </a:cubicBezTo>
                  <a:cubicBezTo>
                    <a:pt x="22089" y="32292"/>
                    <a:pt x="22226" y="32240"/>
                    <a:pt x="22226" y="32137"/>
                  </a:cubicBezTo>
                  <a:cubicBezTo>
                    <a:pt x="22226" y="32034"/>
                    <a:pt x="21883" y="31897"/>
                    <a:pt x="21986" y="31828"/>
                  </a:cubicBezTo>
                  <a:cubicBezTo>
                    <a:pt x="21608" y="31828"/>
                    <a:pt x="21814" y="31485"/>
                    <a:pt x="21591" y="31536"/>
                  </a:cubicBezTo>
                  <a:cubicBezTo>
                    <a:pt x="21368" y="31588"/>
                    <a:pt x="21591" y="31450"/>
                    <a:pt x="21436" y="31450"/>
                  </a:cubicBezTo>
                  <a:lnTo>
                    <a:pt x="21436" y="31450"/>
                  </a:lnTo>
                  <a:lnTo>
                    <a:pt x="21436" y="31450"/>
                  </a:lnTo>
                  <a:cubicBezTo>
                    <a:pt x="21436" y="31450"/>
                    <a:pt x="21436" y="31450"/>
                    <a:pt x="21436" y="31347"/>
                  </a:cubicBezTo>
                  <a:cubicBezTo>
                    <a:pt x="21436" y="31244"/>
                    <a:pt x="21625" y="31347"/>
                    <a:pt x="21642" y="31347"/>
                  </a:cubicBezTo>
                  <a:cubicBezTo>
                    <a:pt x="21660" y="31347"/>
                    <a:pt x="21076" y="31347"/>
                    <a:pt x="21247" y="31158"/>
                  </a:cubicBezTo>
                  <a:cubicBezTo>
                    <a:pt x="21110" y="31158"/>
                    <a:pt x="21076" y="31158"/>
                    <a:pt x="21041" y="30986"/>
                  </a:cubicBezTo>
                  <a:cubicBezTo>
                    <a:pt x="21007" y="30815"/>
                    <a:pt x="21162" y="30986"/>
                    <a:pt x="21213" y="30986"/>
                  </a:cubicBezTo>
                  <a:cubicBezTo>
                    <a:pt x="21265" y="30986"/>
                    <a:pt x="21076" y="30986"/>
                    <a:pt x="21024" y="30986"/>
                  </a:cubicBezTo>
                  <a:cubicBezTo>
                    <a:pt x="20973" y="30986"/>
                    <a:pt x="21024" y="30849"/>
                    <a:pt x="21024" y="30780"/>
                  </a:cubicBezTo>
                  <a:cubicBezTo>
                    <a:pt x="21024" y="30712"/>
                    <a:pt x="21179" y="30935"/>
                    <a:pt x="21299" y="30780"/>
                  </a:cubicBezTo>
                  <a:cubicBezTo>
                    <a:pt x="21419" y="30626"/>
                    <a:pt x="21024" y="30694"/>
                    <a:pt x="21144" y="30626"/>
                  </a:cubicBezTo>
                  <a:lnTo>
                    <a:pt x="21144" y="30626"/>
                  </a:lnTo>
                  <a:cubicBezTo>
                    <a:pt x="21144" y="30626"/>
                    <a:pt x="20990" y="30368"/>
                    <a:pt x="20921" y="30299"/>
                  </a:cubicBezTo>
                  <a:cubicBezTo>
                    <a:pt x="21365" y="29847"/>
                    <a:pt x="21523" y="29187"/>
                    <a:pt x="21333" y="28582"/>
                  </a:cubicBezTo>
                  <a:cubicBezTo>
                    <a:pt x="21471" y="28582"/>
                    <a:pt x="21333" y="28393"/>
                    <a:pt x="21436" y="28358"/>
                  </a:cubicBezTo>
                  <a:cubicBezTo>
                    <a:pt x="21539" y="28324"/>
                    <a:pt x="21265" y="28255"/>
                    <a:pt x="21247" y="28135"/>
                  </a:cubicBezTo>
                  <a:lnTo>
                    <a:pt x="21247" y="28221"/>
                  </a:lnTo>
                  <a:cubicBezTo>
                    <a:pt x="21228" y="27927"/>
                    <a:pt x="21357" y="27644"/>
                    <a:pt x="21591" y="27465"/>
                  </a:cubicBezTo>
                  <a:cubicBezTo>
                    <a:pt x="21952" y="26297"/>
                    <a:pt x="23103" y="25833"/>
                    <a:pt x="23927" y="25043"/>
                  </a:cubicBezTo>
                  <a:cubicBezTo>
                    <a:pt x="23935" y="24883"/>
                    <a:pt x="23935" y="24723"/>
                    <a:pt x="23927" y="24562"/>
                  </a:cubicBezTo>
                  <a:cubicBezTo>
                    <a:pt x="23927" y="24373"/>
                    <a:pt x="24288" y="24288"/>
                    <a:pt x="24133" y="24081"/>
                  </a:cubicBezTo>
                  <a:cubicBezTo>
                    <a:pt x="24677" y="23812"/>
                    <a:pt x="25139" y="23403"/>
                    <a:pt x="25473" y="22896"/>
                  </a:cubicBezTo>
                  <a:cubicBezTo>
                    <a:pt x="25473" y="23240"/>
                    <a:pt x="26005" y="23223"/>
                    <a:pt x="26194" y="23102"/>
                  </a:cubicBezTo>
                  <a:cubicBezTo>
                    <a:pt x="26521" y="23497"/>
                    <a:pt x="27225" y="22828"/>
                    <a:pt x="27586" y="22725"/>
                  </a:cubicBezTo>
                  <a:cubicBezTo>
                    <a:pt x="27946" y="22621"/>
                    <a:pt x="28771" y="22725"/>
                    <a:pt x="29063" y="22587"/>
                  </a:cubicBezTo>
                  <a:cubicBezTo>
                    <a:pt x="29355" y="22450"/>
                    <a:pt x="29286" y="22828"/>
                    <a:pt x="29372" y="22587"/>
                  </a:cubicBezTo>
                  <a:cubicBezTo>
                    <a:pt x="29647" y="22828"/>
                    <a:pt x="29939" y="22450"/>
                    <a:pt x="30162" y="22587"/>
                  </a:cubicBezTo>
                  <a:cubicBezTo>
                    <a:pt x="30162" y="22398"/>
                    <a:pt x="30299" y="22725"/>
                    <a:pt x="30385" y="22776"/>
                  </a:cubicBezTo>
                  <a:cubicBezTo>
                    <a:pt x="30746" y="22415"/>
                    <a:pt x="30488" y="22862"/>
                    <a:pt x="30385" y="23017"/>
                  </a:cubicBezTo>
                  <a:cubicBezTo>
                    <a:pt x="31021" y="23446"/>
                    <a:pt x="29956" y="23618"/>
                    <a:pt x="30385" y="23910"/>
                  </a:cubicBezTo>
                  <a:cubicBezTo>
                    <a:pt x="30385" y="23910"/>
                    <a:pt x="30385" y="23910"/>
                    <a:pt x="30506" y="23910"/>
                  </a:cubicBezTo>
                  <a:cubicBezTo>
                    <a:pt x="30626" y="23910"/>
                    <a:pt x="30506" y="23824"/>
                    <a:pt x="30506" y="23910"/>
                  </a:cubicBezTo>
                  <a:cubicBezTo>
                    <a:pt x="30677" y="24322"/>
                    <a:pt x="31313" y="24013"/>
                    <a:pt x="31622" y="24236"/>
                  </a:cubicBezTo>
                  <a:cubicBezTo>
                    <a:pt x="34851" y="26469"/>
                    <a:pt x="32343" y="23566"/>
                    <a:pt x="34473" y="24236"/>
                  </a:cubicBezTo>
                  <a:cubicBezTo>
                    <a:pt x="34834" y="24580"/>
                    <a:pt x="35641" y="24477"/>
                    <a:pt x="36191" y="24700"/>
                  </a:cubicBezTo>
                  <a:cubicBezTo>
                    <a:pt x="36741" y="24923"/>
                    <a:pt x="36724" y="24597"/>
                    <a:pt x="37084" y="24494"/>
                  </a:cubicBezTo>
                  <a:cubicBezTo>
                    <a:pt x="36844" y="24580"/>
                    <a:pt x="37084" y="24494"/>
                    <a:pt x="37187" y="24494"/>
                  </a:cubicBezTo>
                  <a:cubicBezTo>
                    <a:pt x="37290" y="24494"/>
                    <a:pt x="37187" y="24494"/>
                    <a:pt x="37187" y="24494"/>
                  </a:cubicBezTo>
                  <a:cubicBezTo>
                    <a:pt x="37187" y="24494"/>
                    <a:pt x="37411" y="24494"/>
                    <a:pt x="37462" y="24494"/>
                  </a:cubicBezTo>
                  <a:cubicBezTo>
                    <a:pt x="37514" y="24494"/>
                    <a:pt x="37565" y="24614"/>
                    <a:pt x="37565" y="24665"/>
                  </a:cubicBezTo>
                  <a:cubicBezTo>
                    <a:pt x="37565" y="24717"/>
                    <a:pt x="37565" y="24562"/>
                    <a:pt x="37565" y="24494"/>
                  </a:cubicBezTo>
                  <a:cubicBezTo>
                    <a:pt x="38733" y="24889"/>
                    <a:pt x="38338" y="22776"/>
                    <a:pt x="38407" y="22381"/>
                  </a:cubicBezTo>
                  <a:cubicBezTo>
                    <a:pt x="38218" y="22536"/>
                    <a:pt x="37892" y="22381"/>
                    <a:pt x="37840" y="22656"/>
                  </a:cubicBezTo>
                  <a:cubicBezTo>
                    <a:pt x="37496" y="23051"/>
                    <a:pt x="36775" y="22106"/>
                    <a:pt x="36775" y="22656"/>
                  </a:cubicBezTo>
                  <a:cubicBezTo>
                    <a:pt x="36620" y="22656"/>
                    <a:pt x="36225" y="22828"/>
                    <a:pt x="36277" y="22536"/>
                  </a:cubicBezTo>
                  <a:cubicBezTo>
                    <a:pt x="36277" y="22536"/>
                    <a:pt x="36277" y="22536"/>
                    <a:pt x="36140" y="22536"/>
                  </a:cubicBezTo>
                  <a:cubicBezTo>
                    <a:pt x="36002" y="22536"/>
                    <a:pt x="35951" y="22690"/>
                    <a:pt x="35933" y="22536"/>
                  </a:cubicBezTo>
                  <a:lnTo>
                    <a:pt x="35727" y="22536"/>
                  </a:lnTo>
                  <a:cubicBezTo>
                    <a:pt x="35727" y="22450"/>
                    <a:pt x="35951" y="22536"/>
                    <a:pt x="35951" y="22398"/>
                  </a:cubicBezTo>
                  <a:cubicBezTo>
                    <a:pt x="35951" y="22261"/>
                    <a:pt x="35556" y="22501"/>
                    <a:pt x="35762" y="22398"/>
                  </a:cubicBezTo>
                  <a:cubicBezTo>
                    <a:pt x="35521" y="22244"/>
                    <a:pt x="35762" y="22106"/>
                    <a:pt x="35401" y="22020"/>
                  </a:cubicBezTo>
                  <a:cubicBezTo>
                    <a:pt x="35040" y="21934"/>
                    <a:pt x="35401" y="21883"/>
                    <a:pt x="35401" y="21831"/>
                  </a:cubicBezTo>
                  <a:cubicBezTo>
                    <a:pt x="35401" y="21780"/>
                    <a:pt x="35401" y="21952"/>
                    <a:pt x="35573" y="21831"/>
                  </a:cubicBezTo>
                  <a:lnTo>
                    <a:pt x="35573" y="21831"/>
                  </a:lnTo>
                  <a:cubicBezTo>
                    <a:pt x="35573" y="21831"/>
                    <a:pt x="35710" y="21831"/>
                    <a:pt x="35676" y="21694"/>
                  </a:cubicBezTo>
                  <a:cubicBezTo>
                    <a:pt x="35641" y="21557"/>
                    <a:pt x="35504" y="21522"/>
                    <a:pt x="35676" y="21488"/>
                  </a:cubicBezTo>
                  <a:cubicBezTo>
                    <a:pt x="35195" y="21660"/>
                    <a:pt x="35435" y="20938"/>
                    <a:pt x="35779" y="21179"/>
                  </a:cubicBezTo>
                  <a:cubicBezTo>
                    <a:pt x="35779" y="21041"/>
                    <a:pt x="36071" y="21179"/>
                    <a:pt x="36225" y="21179"/>
                  </a:cubicBezTo>
                  <a:cubicBezTo>
                    <a:pt x="35916" y="21058"/>
                    <a:pt x="36363" y="21076"/>
                    <a:pt x="36397" y="20990"/>
                  </a:cubicBezTo>
                  <a:cubicBezTo>
                    <a:pt x="35676" y="20766"/>
                    <a:pt x="36775" y="20869"/>
                    <a:pt x="36827" y="20784"/>
                  </a:cubicBezTo>
                  <a:cubicBezTo>
                    <a:pt x="36964" y="20406"/>
                    <a:pt x="37479" y="20457"/>
                    <a:pt x="37788" y="20371"/>
                  </a:cubicBezTo>
                  <a:cubicBezTo>
                    <a:pt x="37788" y="20543"/>
                    <a:pt x="37960" y="20560"/>
                    <a:pt x="38063" y="20371"/>
                  </a:cubicBezTo>
                  <a:cubicBezTo>
                    <a:pt x="38166" y="20182"/>
                    <a:pt x="38201" y="20663"/>
                    <a:pt x="38287" y="20526"/>
                  </a:cubicBezTo>
                  <a:cubicBezTo>
                    <a:pt x="40760" y="21024"/>
                    <a:pt x="38991" y="19324"/>
                    <a:pt x="37857" y="19049"/>
                  </a:cubicBezTo>
                  <a:cubicBezTo>
                    <a:pt x="37857" y="19049"/>
                    <a:pt x="37857" y="19049"/>
                    <a:pt x="37857" y="18911"/>
                  </a:cubicBezTo>
                  <a:cubicBezTo>
                    <a:pt x="37857" y="18774"/>
                    <a:pt x="38063" y="18911"/>
                    <a:pt x="37977" y="18791"/>
                  </a:cubicBezTo>
                  <a:cubicBezTo>
                    <a:pt x="37892" y="18671"/>
                    <a:pt x="38201" y="18637"/>
                    <a:pt x="37977" y="18551"/>
                  </a:cubicBezTo>
                  <a:cubicBezTo>
                    <a:pt x="37754" y="18465"/>
                    <a:pt x="37874" y="18551"/>
                    <a:pt x="37857" y="18448"/>
                  </a:cubicBezTo>
                  <a:cubicBezTo>
                    <a:pt x="37840" y="18345"/>
                    <a:pt x="38029" y="18448"/>
                    <a:pt x="38029" y="18448"/>
                  </a:cubicBezTo>
                  <a:cubicBezTo>
                    <a:pt x="38029" y="18448"/>
                    <a:pt x="38166" y="18310"/>
                    <a:pt x="38132" y="18224"/>
                  </a:cubicBezTo>
                  <a:cubicBezTo>
                    <a:pt x="38098" y="18138"/>
                    <a:pt x="37651" y="18224"/>
                    <a:pt x="37548" y="18499"/>
                  </a:cubicBezTo>
                  <a:cubicBezTo>
                    <a:pt x="37548" y="18499"/>
                    <a:pt x="37445" y="18585"/>
                    <a:pt x="37359" y="18499"/>
                  </a:cubicBezTo>
                  <a:cubicBezTo>
                    <a:pt x="37273" y="18413"/>
                    <a:pt x="37256" y="18499"/>
                    <a:pt x="37204" y="18499"/>
                  </a:cubicBezTo>
                  <a:cubicBezTo>
                    <a:pt x="37153" y="18499"/>
                    <a:pt x="37204" y="18774"/>
                    <a:pt x="37204" y="18705"/>
                  </a:cubicBezTo>
                  <a:cubicBezTo>
                    <a:pt x="37204" y="18637"/>
                    <a:pt x="37204" y="18585"/>
                    <a:pt x="37204" y="18568"/>
                  </a:cubicBezTo>
                  <a:cubicBezTo>
                    <a:pt x="37204" y="18551"/>
                    <a:pt x="36964" y="18722"/>
                    <a:pt x="36878" y="18791"/>
                  </a:cubicBezTo>
                  <a:cubicBezTo>
                    <a:pt x="36792" y="18860"/>
                    <a:pt x="37170" y="18791"/>
                    <a:pt x="37136" y="18946"/>
                  </a:cubicBezTo>
                  <a:cubicBezTo>
                    <a:pt x="37101" y="19100"/>
                    <a:pt x="37136" y="18946"/>
                    <a:pt x="37136" y="18946"/>
                  </a:cubicBezTo>
                  <a:cubicBezTo>
                    <a:pt x="37136" y="18946"/>
                    <a:pt x="37136" y="19066"/>
                    <a:pt x="37325" y="19049"/>
                  </a:cubicBezTo>
                  <a:cubicBezTo>
                    <a:pt x="37514" y="19032"/>
                    <a:pt x="37016" y="18825"/>
                    <a:pt x="37084" y="18705"/>
                  </a:cubicBezTo>
                  <a:cubicBezTo>
                    <a:pt x="37153" y="18585"/>
                    <a:pt x="37273" y="18980"/>
                    <a:pt x="37393" y="19014"/>
                  </a:cubicBezTo>
                  <a:cubicBezTo>
                    <a:pt x="37514" y="19049"/>
                    <a:pt x="37393" y="19014"/>
                    <a:pt x="37514" y="19014"/>
                  </a:cubicBezTo>
                  <a:cubicBezTo>
                    <a:pt x="37634" y="19014"/>
                    <a:pt x="37617" y="18929"/>
                    <a:pt x="37685" y="18929"/>
                  </a:cubicBezTo>
                  <a:cubicBezTo>
                    <a:pt x="37754" y="18929"/>
                    <a:pt x="37685" y="19152"/>
                    <a:pt x="37462" y="19100"/>
                  </a:cubicBezTo>
                  <a:cubicBezTo>
                    <a:pt x="37239" y="19049"/>
                    <a:pt x="36861" y="19650"/>
                    <a:pt x="36912" y="19100"/>
                  </a:cubicBezTo>
                  <a:cubicBezTo>
                    <a:pt x="36775" y="18980"/>
                    <a:pt x="36466" y="19100"/>
                    <a:pt x="36758" y="18860"/>
                  </a:cubicBezTo>
                  <a:cubicBezTo>
                    <a:pt x="37050" y="18619"/>
                    <a:pt x="36620" y="18602"/>
                    <a:pt x="36500" y="18740"/>
                  </a:cubicBezTo>
                  <a:cubicBezTo>
                    <a:pt x="36380" y="18877"/>
                    <a:pt x="36311" y="18740"/>
                    <a:pt x="36380" y="18619"/>
                  </a:cubicBezTo>
                  <a:cubicBezTo>
                    <a:pt x="36449" y="18499"/>
                    <a:pt x="36191" y="18619"/>
                    <a:pt x="36157" y="18619"/>
                  </a:cubicBezTo>
                  <a:cubicBezTo>
                    <a:pt x="36122" y="18619"/>
                    <a:pt x="36380" y="18619"/>
                    <a:pt x="36449" y="18619"/>
                  </a:cubicBezTo>
                  <a:cubicBezTo>
                    <a:pt x="36396" y="18670"/>
                    <a:pt x="36313" y="18670"/>
                    <a:pt x="36260" y="18619"/>
                  </a:cubicBezTo>
                  <a:cubicBezTo>
                    <a:pt x="36260" y="18791"/>
                    <a:pt x="36122" y="18619"/>
                    <a:pt x="36088" y="18740"/>
                  </a:cubicBezTo>
                  <a:cubicBezTo>
                    <a:pt x="36054" y="18860"/>
                    <a:pt x="36088" y="18929"/>
                    <a:pt x="35916" y="18946"/>
                  </a:cubicBezTo>
                  <a:cubicBezTo>
                    <a:pt x="35744" y="18963"/>
                    <a:pt x="35916" y="19221"/>
                    <a:pt x="35796" y="19083"/>
                  </a:cubicBezTo>
                  <a:cubicBezTo>
                    <a:pt x="35916" y="19392"/>
                    <a:pt x="35796" y="19409"/>
                    <a:pt x="35607" y="19598"/>
                  </a:cubicBezTo>
                  <a:cubicBezTo>
                    <a:pt x="35418" y="19787"/>
                    <a:pt x="35607" y="19856"/>
                    <a:pt x="35607" y="19993"/>
                  </a:cubicBezTo>
                  <a:cubicBezTo>
                    <a:pt x="35607" y="20131"/>
                    <a:pt x="35401" y="20097"/>
                    <a:pt x="35470" y="20251"/>
                  </a:cubicBezTo>
                  <a:cubicBezTo>
                    <a:pt x="35538" y="20406"/>
                    <a:pt x="35607" y="20440"/>
                    <a:pt x="35607" y="20698"/>
                  </a:cubicBezTo>
                  <a:cubicBezTo>
                    <a:pt x="35607" y="20955"/>
                    <a:pt x="36054" y="20835"/>
                    <a:pt x="35899" y="20990"/>
                  </a:cubicBezTo>
                  <a:cubicBezTo>
                    <a:pt x="35744" y="21144"/>
                    <a:pt x="35435" y="21144"/>
                    <a:pt x="35212" y="21333"/>
                  </a:cubicBezTo>
                  <a:cubicBezTo>
                    <a:pt x="35212" y="21230"/>
                    <a:pt x="35212" y="21179"/>
                    <a:pt x="35315" y="21144"/>
                  </a:cubicBezTo>
                  <a:cubicBezTo>
                    <a:pt x="35109" y="21144"/>
                    <a:pt x="34851" y="20887"/>
                    <a:pt x="34731" y="21144"/>
                  </a:cubicBezTo>
                  <a:cubicBezTo>
                    <a:pt x="34559" y="21144"/>
                    <a:pt x="34611" y="21144"/>
                    <a:pt x="34491" y="21230"/>
                  </a:cubicBezTo>
                  <a:cubicBezTo>
                    <a:pt x="34370" y="21316"/>
                    <a:pt x="34491" y="21333"/>
                    <a:pt x="34611" y="21385"/>
                  </a:cubicBezTo>
                  <a:cubicBezTo>
                    <a:pt x="34731" y="21436"/>
                    <a:pt x="34422" y="21299"/>
                    <a:pt x="34439" y="21385"/>
                  </a:cubicBezTo>
                  <a:cubicBezTo>
                    <a:pt x="34456" y="21471"/>
                    <a:pt x="34559" y="21385"/>
                    <a:pt x="34439" y="21471"/>
                  </a:cubicBezTo>
                  <a:cubicBezTo>
                    <a:pt x="34319" y="21557"/>
                    <a:pt x="34164" y="21350"/>
                    <a:pt x="34439" y="21471"/>
                  </a:cubicBezTo>
                  <a:cubicBezTo>
                    <a:pt x="34302" y="21471"/>
                    <a:pt x="34250" y="21333"/>
                    <a:pt x="34164" y="21282"/>
                  </a:cubicBezTo>
                  <a:cubicBezTo>
                    <a:pt x="34078" y="21230"/>
                    <a:pt x="33924" y="21402"/>
                    <a:pt x="34164" y="21522"/>
                  </a:cubicBezTo>
                  <a:cubicBezTo>
                    <a:pt x="34405" y="21642"/>
                    <a:pt x="34542" y="21986"/>
                    <a:pt x="34164" y="21728"/>
                  </a:cubicBezTo>
                  <a:cubicBezTo>
                    <a:pt x="34164" y="21728"/>
                    <a:pt x="34164" y="21728"/>
                    <a:pt x="34164" y="21728"/>
                  </a:cubicBezTo>
                  <a:cubicBezTo>
                    <a:pt x="34164" y="21728"/>
                    <a:pt x="34164" y="21849"/>
                    <a:pt x="34164" y="21831"/>
                  </a:cubicBezTo>
                  <a:cubicBezTo>
                    <a:pt x="34353" y="21969"/>
                    <a:pt x="34680" y="22020"/>
                    <a:pt x="34662" y="22295"/>
                  </a:cubicBezTo>
                  <a:cubicBezTo>
                    <a:pt x="34542" y="22295"/>
                    <a:pt x="34473" y="22175"/>
                    <a:pt x="34336" y="22295"/>
                  </a:cubicBezTo>
                  <a:cubicBezTo>
                    <a:pt x="34199" y="22415"/>
                    <a:pt x="34645" y="22536"/>
                    <a:pt x="34456" y="22467"/>
                  </a:cubicBezTo>
                  <a:cubicBezTo>
                    <a:pt x="34267" y="22398"/>
                    <a:pt x="34456" y="22467"/>
                    <a:pt x="34456" y="22467"/>
                  </a:cubicBezTo>
                  <a:cubicBezTo>
                    <a:pt x="34456" y="22467"/>
                    <a:pt x="34456" y="22707"/>
                    <a:pt x="34456" y="22776"/>
                  </a:cubicBezTo>
                  <a:cubicBezTo>
                    <a:pt x="34456" y="22845"/>
                    <a:pt x="34216" y="22587"/>
                    <a:pt x="34250" y="22776"/>
                  </a:cubicBezTo>
                  <a:cubicBezTo>
                    <a:pt x="34250" y="22621"/>
                    <a:pt x="34147" y="22639"/>
                    <a:pt x="34078" y="22518"/>
                  </a:cubicBezTo>
                  <a:cubicBezTo>
                    <a:pt x="34010" y="22398"/>
                    <a:pt x="34078" y="22604"/>
                    <a:pt x="34078" y="22656"/>
                  </a:cubicBezTo>
                  <a:cubicBezTo>
                    <a:pt x="33988" y="22604"/>
                    <a:pt x="33946" y="22498"/>
                    <a:pt x="33975" y="22398"/>
                  </a:cubicBezTo>
                  <a:cubicBezTo>
                    <a:pt x="33855" y="22295"/>
                    <a:pt x="33666" y="22226"/>
                    <a:pt x="33855" y="22089"/>
                  </a:cubicBezTo>
                  <a:cubicBezTo>
                    <a:pt x="34044" y="21952"/>
                    <a:pt x="34199" y="22261"/>
                    <a:pt x="34353" y="22089"/>
                  </a:cubicBezTo>
                  <a:cubicBezTo>
                    <a:pt x="34216" y="22089"/>
                    <a:pt x="34061" y="21917"/>
                    <a:pt x="33958" y="22089"/>
                  </a:cubicBezTo>
                  <a:cubicBezTo>
                    <a:pt x="33855" y="22261"/>
                    <a:pt x="33838" y="21969"/>
                    <a:pt x="33786" y="22089"/>
                  </a:cubicBezTo>
                  <a:cubicBezTo>
                    <a:pt x="33546" y="21849"/>
                    <a:pt x="33374" y="21471"/>
                    <a:pt x="33065" y="21316"/>
                  </a:cubicBezTo>
                  <a:cubicBezTo>
                    <a:pt x="33065" y="21127"/>
                    <a:pt x="33065" y="20921"/>
                    <a:pt x="33065" y="20732"/>
                  </a:cubicBezTo>
                  <a:cubicBezTo>
                    <a:pt x="32859" y="20732"/>
                    <a:pt x="32739" y="20457"/>
                    <a:pt x="32584" y="20320"/>
                  </a:cubicBezTo>
                  <a:cubicBezTo>
                    <a:pt x="32429" y="20182"/>
                    <a:pt x="32326" y="20320"/>
                    <a:pt x="32275" y="20320"/>
                  </a:cubicBezTo>
                  <a:cubicBezTo>
                    <a:pt x="32223" y="20320"/>
                    <a:pt x="32275" y="20320"/>
                    <a:pt x="32395" y="20320"/>
                  </a:cubicBezTo>
                  <a:cubicBezTo>
                    <a:pt x="32515" y="20320"/>
                    <a:pt x="32103" y="20062"/>
                    <a:pt x="31931" y="20131"/>
                  </a:cubicBezTo>
                  <a:cubicBezTo>
                    <a:pt x="31759" y="20200"/>
                    <a:pt x="31416" y="19839"/>
                    <a:pt x="31742" y="19856"/>
                  </a:cubicBezTo>
                  <a:cubicBezTo>
                    <a:pt x="31347" y="19616"/>
                    <a:pt x="31536" y="19135"/>
                    <a:pt x="31175" y="19633"/>
                  </a:cubicBezTo>
                  <a:cubicBezTo>
                    <a:pt x="31175" y="19530"/>
                    <a:pt x="31038" y="19409"/>
                    <a:pt x="31175" y="19306"/>
                  </a:cubicBezTo>
                  <a:cubicBezTo>
                    <a:pt x="31313" y="19203"/>
                    <a:pt x="30832" y="19306"/>
                    <a:pt x="30746" y="19427"/>
                  </a:cubicBezTo>
                  <a:cubicBezTo>
                    <a:pt x="30746" y="19942"/>
                    <a:pt x="31347" y="20268"/>
                    <a:pt x="31656" y="20681"/>
                  </a:cubicBezTo>
                  <a:cubicBezTo>
                    <a:pt x="31811" y="20681"/>
                    <a:pt x="32223" y="20681"/>
                    <a:pt x="31983" y="20887"/>
                  </a:cubicBezTo>
                  <a:cubicBezTo>
                    <a:pt x="32223" y="21024"/>
                    <a:pt x="32979" y="21161"/>
                    <a:pt x="32807" y="21539"/>
                  </a:cubicBezTo>
                  <a:cubicBezTo>
                    <a:pt x="32653" y="21539"/>
                    <a:pt x="32807" y="21282"/>
                    <a:pt x="32532" y="21333"/>
                  </a:cubicBezTo>
                  <a:cubicBezTo>
                    <a:pt x="32258" y="21385"/>
                    <a:pt x="32258" y="21539"/>
                    <a:pt x="32309" y="21625"/>
                  </a:cubicBezTo>
                  <a:cubicBezTo>
                    <a:pt x="32670" y="21728"/>
                    <a:pt x="32309" y="21934"/>
                    <a:pt x="32309" y="22141"/>
                  </a:cubicBezTo>
                  <a:cubicBezTo>
                    <a:pt x="32309" y="22347"/>
                    <a:pt x="31845" y="22415"/>
                    <a:pt x="32086" y="22141"/>
                  </a:cubicBezTo>
                  <a:cubicBezTo>
                    <a:pt x="32197" y="21856"/>
                    <a:pt x="32069" y="21534"/>
                    <a:pt x="31794" y="21402"/>
                  </a:cubicBezTo>
                  <a:cubicBezTo>
                    <a:pt x="31639" y="21402"/>
                    <a:pt x="31794" y="21282"/>
                    <a:pt x="31656" y="21230"/>
                  </a:cubicBezTo>
                  <a:cubicBezTo>
                    <a:pt x="31518" y="21226"/>
                    <a:pt x="31393" y="21147"/>
                    <a:pt x="31330" y="21024"/>
                  </a:cubicBezTo>
                  <a:cubicBezTo>
                    <a:pt x="30317" y="21024"/>
                    <a:pt x="30145" y="18980"/>
                    <a:pt x="29080" y="20217"/>
                  </a:cubicBezTo>
                  <a:cubicBezTo>
                    <a:pt x="29080" y="20423"/>
                    <a:pt x="28736" y="20217"/>
                    <a:pt x="28633" y="20114"/>
                  </a:cubicBezTo>
                  <a:cubicBezTo>
                    <a:pt x="27568" y="19993"/>
                    <a:pt x="28633" y="20921"/>
                    <a:pt x="27448" y="21093"/>
                  </a:cubicBezTo>
                  <a:cubicBezTo>
                    <a:pt x="27534" y="21093"/>
                    <a:pt x="27448" y="21265"/>
                    <a:pt x="27448" y="21213"/>
                  </a:cubicBezTo>
                  <a:cubicBezTo>
                    <a:pt x="26744" y="21763"/>
                    <a:pt x="27448" y="21728"/>
                    <a:pt x="27191" y="22003"/>
                  </a:cubicBezTo>
                  <a:cubicBezTo>
                    <a:pt x="26950" y="22003"/>
                    <a:pt x="27070" y="22450"/>
                    <a:pt x="26847" y="22398"/>
                  </a:cubicBezTo>
                  <a:cubicBezTo>
                    <a:pt x="26418" y="22862"/>
                    <a:pt x="25919" y="22398"/>
                    <a:pt x="25421" y="22896"/>
                  </a:cubicBezTo>
                  <a:cubicBezTo>
                    <a:pt x="25095" y="22896"/>
                    <a:pt x="25147" y="22192"/>
                    <a:pt x="24700" y="22501"/>
                  </a:cubicBezTo>
                  <a:cubicBezTo>
                    <a:pt x="24700" y="22501"/>
                    <a:pt x="24494" y="22364"/>
                    <a:pt x="24408" y="22501"/>
                  </a:cubicBezTo>
                  <a:cubicBezTo>
                    <a:pt x="24426" y="22310"/>
                    <a:pt x="24460" y="22120"/>
                    <a:pt x="24511" y="21934"/>
                  </a:cubicBezTo>
                  <a:cubicBezTo>
                    <a:pt x="24185" y="21934"/>
                    <a:pt x="24511" y="21934"/>
                    <a:pt x="24511" y="21763"/>
                  </a:cubicBezTo>
                  <a:cubicBezTo>
                    <a:pt x="24099" y="22020"/>
                    <a:pt x="24614" y="21299"/>
                    <a:pt x="24631" y="21144"/>
                  </a:cubicBezTo>
                  <a:cubicBezTo>
                    <a:pt x="24648" y="20990"/>
                    <a:pt x="24631" y="20595"/>
                    <a:pt x="24734" y="20457"/>
                  </a:cubicBezTo>
                  <a:lnTo>
                    <a:pt x="24734" y="20457"/>
                  </a:lnTo>
                  <a:cubicBezTo>
                    <a:pt x="24734" y="20457"/>
                    <a:pt x="24734" y="20457"/>
                    <a:pt x="24734" y="20337"/>
                  </a:cubicBezTo>
                  <a:cubicBezTo>
                    <a:pt x="24734" y="20217"/>
                    <a:pt x="24734" y="20337"/>
                    <a:pt x="24734" y="20234"/>
                  </a:cubicBezTo>
                  <a:cubicBezTo>
                    <a:pt x="24734" y="20131"/>
                    <a:pt x="24940" y="20097"/>
                    <a:pt x="25026" y="20045"/>
                  </a:cubicBezTo>
                  <a:cubicBezTo>
                    <a:pt x="25112" y="19993"/>
                    <a:pt x="25404" y="20045"/>
                    <a:pt x="25490" y="20045"/>
                  </a:cubicBezTo>
                  <a:cubicBezTo>
                    <a:pt x="25851" y="20045"/>
                    <a:pt x="26246" y="20217"/>
                    <a:pt x="26607" y="20131"/>
                  </a:cubicBezTo>
                  <a:cubicBezTo>
                    <a:pt x="27242" y="20629"/>
                    <a:pt x="26847" y="18911"/>
                    <a:pt x="27276" y="19564"/>
                  </a:cubicBezTo>
                  <a:cubicBezTo>
                    <a:pt x="27276" y="19461"/>
                    <a:pt x="27173" y="19306"/>
                    <a:pt x="27053" y="19289"/>
                  </a:cubicBezTo>
                  <a:cubicBezTo>
                    <a:pt x="27225" y="19066"/>
                    <a:pt x="26899" y="19014"/>
                    <a:pt x="26813" y="18860"/>
                  </a:cubicBezTo>
                  <a:cubicBezTo>
                    <a:pt x="26727" y="18705"/>
                    <a:pt x="26813" y="18619"/>
                    <a:pt x="26950" y="18722"/>
                  </a:cubicBezTo>
                  <a:cubicBezTo>
                    <a:pt x="26847" y="18568"/>
                    <a:pt x="26727" y="18825"/>
                    <a:pt x="26727" y="18551"/>
                  </a:cubicBezTo>
                  <a:cubicBezTo>
                    <a:pt x="26607" y="18551"/>
                    <a:pt x="26400" y="18345"/>
                    <a:pt x="26229" y="18465"/>
                  </a:cubicBezTo>
                  <a:cubicBezTo>
                    <a:pt x="26057" y="18585"/>
                    <a:pt x="26229" y="18465"/>
                    <a:pt x="26229" y="18345"/>
                  </a:cubicBezTo>
                  <a:cubicBezTo>
                    <a:pt x="26229" y="18224"/>
                    <a:pt x="26332" y="18190"/>
                    <a:pt x="26229" y="18345"/>
                  </a:cubicBezTo>
                  <a:cubicBezTo>
                    <a:pt x="26126" y="18499"/>
                    <a:pt x="26229" y="18345"/>
                    <a:pt x="26229" y="18345"/>
                  </a:cubicBezTo>
                  <a:cubicBezTo>
                    <a:pt x="25851" y="18224"/>
                    <a:pt x="26435" y="18207"/>
                    <a:pt x="26555" y="18121"/>
                  </a:cubicBezTo>
                  <a:cubicBezTo>
                    <a:pt x="26692" y="18293"/>
                    <a:pt x="26795" y="18121"/>
                    <a:pt x="27019" y="18241"/>
                  </a:cubicBezTo>
                  <a:cubicBezTo>
                    <a:pt x="26989" y="18096"/>
                    <a:pt x="26949" y="17952"/>
                    <a:pt x="26899" y="17812"/>
                  </a:cubicBezTo>
                  <a:cubicBezTo>
                    <a:pt x="26899" y="17812"/>
                    <a:pt x="27053" y="17812"/>
                    <a:pt x="27105" y="17812"/>
                  </a:cubicBezTo>
                  <a:cubicBezTo>
                    <a:pt x="27156" y="17812"/>
                    <a:pt x="27397" y="18001"/>
                    <a:pt x="27500" y="17812"/>
                  </a:cubicBezTo>
                  <a:cubicBezTo>
                    <a:pt x="27259" y="17623"/>
                    <a:pt x="27775" y="17709"/>
                    <a:pt x="27775" y="17606"/>
                  </a:cubicBezTo>
                  <a:cubicBezTo>
                    <a:pt x="27775" y="17503"/>
                    <a:pt x="27860" y="17383"/>
                    <a:pt x="27895" y="17280"/>
                  </a:cubicBezTo>
                  <a:cubicBezTo>
                    <a:pt x="27929" y="17177"/>
                    <a:pt x="28204" y="16988"/>
                    <a:pt x="28444" y="17125"/>
                  </a:cubicBezTo>
                  <a:cubicBezTo>
                    <a:pt x="28273" y="17125"/>
                    <a:pt x="28221" y="16919"/>
                    <a:pt x="28444" y="17125"/>
                  </a:cubicBezTo>
                  <a:cubicBezTo>
                    <a:pt x="28668" y="17331"/>
                    <a:pt x="28324" y="17005"/>
                    <a:pt x="28547" y="17022"/>
                  </a:cubicBezTo>
                  <a:cubicBezTo>
                    <a:pt x="28187" y="16764"/>
                    <a:pt x="28925" y="16112"/>
                    <a:pt x="29286" y="16438"/>
                  </a:cubicBezTo>
                  <a:cubicBezTo>
                    <a:pt x="29028" y="16249"/>
                    <a:pt x="29389" y="16112"/>
                    <a:pt x="29458" y="16438"/>
                  </a:cubicBezTo>
                  <a:cubicBezTo>
                    <a:pt x="29458" y="16197"/>
                    <a:pt x="29458" y="16438"/>
                    <a:pt x="29595" y="16438"/>
                  </a:cubicBezTo>
                  <a:cubicBezTo>
                    <a:pt x="29441" y="16026"/>
                    <a:pt x="29750" y="16232"/>
                    <a:pt x="29956" y="16301"/>
                  </a:cubicBezTo>
                  <a:cubicBezTo>
                    <a:pt x="29389" y="16043"/>
                    <a:pt x="29544" y="15493"/>
                    <a:pt x="29389" y="15115"/>
                  </a:cubicBezTo>
                  <a:cubicBezTo>
                    <a:pt x="29630" y="15115"/>
                    <a:pt x="29527" y="14961"/>
                    <a:pt x="29664" y="15115"/>
                  </a:cubicBezTo>
                  <a:cubicBezTo>
                    <a:pt x="29664" y="14634"/>
                    <a:pt x="29836" y="15115"/>
                    <a:pt x="30025" y="15115"/>
                  </a:cubicBezTo>
                  <a:cubicBezTo>
                    <a:pt x="30025" y="15373"/>
                    <a:pt x="29527" y="15528"/>
                    <a:pt x="29922" y="16009"/>
                  </a:cubicBezTo>
                  <a:cubicBezTo>
                    <a:pt x="29922" y="15888"/>
                    <a:pt x="30334" y="16009"/>
                    <a:pt x="30059" y="16094"/>
                  </a:cubicBezTo>
                  <a:cubicBezTo>
                    <a:pt x="30591" y="16094"/>
                    <a:pt x="30385" y="15768"/>
                    <a:pt x="30883" y="16094"/>
                  </a:cubicBezTo>
                  <a:cubicBezTo>
                    <a:pt x="31124" y="16472"/>
                    <a:pt x="31656" y="15356"/>
                    <a:pt x="32103" y="15768"/>
                  </a:cubicBezTo>
                  <a:cubicBezTo>
                    <a:pt x="31828" y="15768"/>
                    <a:pt x="32103" y="16043"/>
                    <a:pt x="32326" y="15768"/>
                  </a:cubicBezTo>
                  <a:cubicBezTo>
                    <a:pt x="32299" y="15829"/>
                    <a:pt x="32250" y="15878"/>
                    <a:pt x="32189" y="15905"/>
                  </a:cubicBezTo>
                  <a:cubicBezTo>
                    <a:pt x="34078" y="15820"/>
                    <a:pt x="31656" y="15270"/>
                    <a:pt x="32704" y="14497"/>
                  </a:cubicBezTo>
                  <a:cubicBezTo>
                    <a:pt x="33082" y="15081"/>
                    <a:pt x="33202" y="14686"/>
                    <a:pt x="33031" y="14222"/>
                  </a:cubicBezTo>
                  <a:cubicBezTo>
                    <a:pt x="33031" y="14428"/>
                    <a:pt x="32739" y="14222"/>
                    <a:pt x="32842" y="14068"/>
                  </a:cubicBezTo>
                  <a:cubicBezTo>
                    <a:pt x="32532" y="14068"/>
                    <a:pt x="32842" y="13758"/>
                    <a:pt x="32842" y="13690"/>
                  </a:cubicBezTo>
                  <a:cubicBezTo>
                    <a:pt x="32842" y="13621"/>
                    <a:pt x="33082" y="13690"/>
                    <a:pt x="32979" y="13690"/>
                  </a:cubicBezTo>
                  <a:lnTo>
                    <a:pt x="33615" y="13793"/>
                  </a:lnTo>
                  <a:cubicBezTo>
                    <a:pt x="33426" y="13501"/>
                    <a:pt x="33615" y="13690"/>
                    <a:pt x="33752" y="13466"/>
                  </a:cubicBezTo>
                  <a:cubicBezTo>
                    <a:pt x="33889" y="13243"/>
                    <a:pt x="33305" y="13363"/>
                    <a:pt x="33546" y="13192"/>
                  </a:cubicBezTo>
                  <a:cubicBezTo>
                    <a:pt x="33546" y="13192"/>
                    <a:pt x="33426" y="13295"/>
                    <a:pt x="33408" y="13192"/>
                  </a:cubicBezTo>
                  <a:cubicBezTo>
                    <a:pt x="33408" y="13346"/>
                    <a:pt x="33099" y="13363"/>
                    <a:pt x="33031" y="13312"/>
                  </a:cubicBezTo>
                  <a:cubicBezTo>
                    <a:pt x="32962" y="13260"/>
                    <a:pt x="33031" y="13312"/>
                    <a:pt x="33031" y="13312"/>
                  </a:cubicBezTo>
                  <a:cubicBezTo>
                    <a:pt x="33031" y="13312"/>
                    <a:pt x="33031" y="13552"/>
                    <a:pt x="33031" y="13312"/>
                  </a:cubicBezTo>
                  <a:cubicBezTo>
                    <a:pt x="33031" y="13449"/>
                    <a:pt x="32601" y="13466"/>
                    <a:pt x="32567" y="13621"/>
                  </a:cubicBezTo>
                  <a:cubicBezTo>
                    <a:pt x="32567" y="13312"/>
                    <a:pt x="32412" y="13415"/>
                    <a:pt x="32172" y="13260"/>
                  </a:cubicBezTo>
                  <a:cubicBezTo>
                    <a:pt x="31931" y="13106"/>
                    <a:pt x="31691" y="12144"/>
                    <a:pt x="31914" y="12058"/>
                  </a:cubicBezTo>
                  <a:cubicBezTo>
                    <a:pt x="32137" y="11972"/>
                    <a:pt x="31914" y="11972"/>
                    <a:pt x="32017" y="12058"/>
                  </a:cubicBezTo>
                  <a:cubicBezTo>
                    <a:pt x="32120" y="12144"/>
                    <a:pt x="32017" y="11921"/>
                    <a:pt x="32017" y="11817"/>
                  </a:cubicBezTo>
                  <a:cubicBezTo>
                    <a:pt x="32017" y="11714"/>
                    <a:pt x="32240" y="11354"/>
                    <a:pt x="32309" y="11457"/>
                  </a:cubicBezTo>
                  <a:cubicBezTo>
                    <a:pt x="32103" y="11010"/>
                    <a:pt x="31708" y="11148"/>
                    <a:pt x="31502" y="11182"/>
                  </a:cubicBezTo>
                  <a:cubicBezTo>
                    <a:pt x="31622" y="11354"/>
                    <a:pt x="31502" y="11577"/>
                    <a:pt x="31656" y="11714"/>
                  </a:cubicBezTo>
                  <a:cubicBezTo>
                    <a:pt x="31532" y="12056"/>
                    <a:pt x="31318" y="12359"/>
                    <a:pt x="31038" y="12590"/>
                  </a:cubicBezTo>
                  <a:cubicBezTo>
                    <a:pt x="31158" y="12676"/>
                    <a:pt x="31038" y="12848"/>
                    <a:pt x="31175" y="12968"/>
                  </a:cubicBezTo>
                  <a:cubicBezTo>
                    <a:pt x="30883" y="13123"/>
                    <a:pt x="32189" y="13999"/>
                    <a:pt x="31382" y="13793"/>
                  </a:cubicBezTo>
                  <a:cubicBezTo>
                    <a:pt x="31382" y="13793"/>
                    <a:pt x="30901" y="13793"/>
                    <a:pt x="31210" y="13913"/>
                  </a:cubicBezTo>
                  <a:cubicBezTo>
                    <a:pt x="31519" y="14033"/>
                    <a:pt x="31811" y="14119"/>
                    <a:pt x="31485" y="14050"/>
                  </a:cubicBezTo>
                  <a:cubicBezTo>
                    <a:pt x="31485" y="14050"/>
                    <a:pt x="31485" y="14257"/>
                    <a:pt x="31364" y="14188"/>
                  </a:cubicBezTo>
                  <a:cubicBezTo>
                    <a:pt x="31244" y="14119"/>
                    <a:pt x="31467" y="14325"/>
                    <a:pt x="31364" y="14342"/>
                  </a:cubicBezTo>
                  <a:cubicBezTo>
                    <a:pt x="31485" y="14342"/>
                    <a:pt x="31519" y="14600"/>
                    <a:pt x="31364" y="14514"/>
                  </a:cubicBezTo>
                  <a:cubicBezTo>
                    <a:pt x="31502" y="14789"/>
                    <a:pt x="31519" y="15510"/>
                    <a:pt x="31090" y="15236"/>
                  </a:cubicBezTo>
                  <a:cubicBezTo>
                    <a:pt x="30815" y="16301"/>
                    <a:pt x="30059" y="14153"/>
                    <a:pt x="30162" y="14050"/>
                  </a:cubicBezTo>
                  <a:cubicBezTo>
                    <a:pt x="29990" y="13947"/>
                    <a:pt x="29939" y="13844"/>
                    <a:pt x="29939" y="13810"/>
                  </a:cubicBezTo>
                  <a:cubicBezTo>
                    <a:pt x="29958" y="13906"/>
                    <a:pt x="29958" y="14006"/>
                    <a:pt x="29939" y="14102"/>
                  </a:cubicBezTo>
                  <a:cubicBezTo>
                    <a:pt x="29939" y="14102"/>
                    <a:pt x="29939" y="14102"/>
                    <a:pt x="29733" y="13965"/>
                  </a:cubicBezTo>
                  <a:cubicBezTo>
                    <a:pt x="29733" y="14119"/>
                    <a:pt x="29733" y="14360"/>
                    <a:pt x="29595" y="14291"/>
                  </a:cubicBezTo>
                  <a:cubicBezTo>
                    <a:pt x="29733" y="14463"/>
                    <a:pt x="29286" y="14583"/>
                    <a:pt x="29183" y="14428"/>
                  </a:cubicBezTo>
                  <a:cubicBezTo>
                    <a:pt x="29080" y="14549"/>
                    <a:pt x="28651" y="14050"/>
                    <a:pt x="29183" y="14102"/>
                  </a:cubicBezTo>
                  <a:cubicBezTo>
                    <a:pt x="28960" y="14102"/>
                    <a:pt x="29183" y="13999"/>
                    <a:pt x="29011" y="13879"/>
                  </a:cubicBezTo>
                  <a:cubicBezTo>
                    <a:pt x="29011" y="14188"/>
                    <a:pt x="28771" y="13690"/>
                    <a:pt x="29011" y="13879"/>
                  </a:cubicBezTo>
                  <a:cubicBezTo>
                    <a:pt x="29252" y="14068"/>
                    <a:pt x="29011" y="13879"/>
                    <a:pt x="29166" y="13776"/>
                  </a:cubicBezTo>
                  <a:cubicBezTo>
                    <a:pt x="28960" y="13776"/>
                    <a:pt x="29166" y="13449"/>
                    <a:pt x="29166" y="13655"/>
                  </a:cubicBezTo>
                  <a:cubicBezTo>
                    <a:pt x="29118" y="13609"/>
                    <a:pt x="29118" y="13533"/>
                    <a:pt x="29164" y="13485"/>
                  </a:cubicBezTo>
                  <a:cubicBezTo>
                    <a:pt x="29165" y="13485"/>
                    <a:pt x="29165" y="13484"/>
                    <a:pt x="29166" y="13484"/>
                  </a:cubicBezTo>
                  <a:cubicBezTo>
                    <a:pt x="28943" y="13569"/>
                    <a:pt x="28822" y="13724"/>
                    <a:pt x="28943" y="13484"/>
                  </a:cubicBezTo>
                  <a:cubicBezTo>
                    <a:pt x="28788" y="13484"/>
                    <a:pt x="28736" y="13569"/>
                    <a:pt x="28943" y="13381"/>
                  </a:cubicBezTo>
                  <a:cubicBezTo>
                    <a:pt x="28599" y="13243"/>
                    <a:pt x="29544" y="13484"/>
                    <a:pt x="29355" y="13157"/>
                  </a:cubicBezTo>
                  <a:cubicBezTo>
                    <a:pt x="29355" y="13329"/>
                    <a:pt x="28582" y="13295"/>
                    <a:pt x="28994" y="13157"/>
                  </a:cubicBezTo>
                  <a:cubicBezTo>
                    <a:pt x="28651" y="13157"/>
                    <a:pt x="28994" y="13037"/>
                    <a:pt x="29183" y="13020"/>
                  </a:cubicBezTo>
                  <a:cubicBezTo>
                    <a:pt x="28822" y="13020"/>
                    <a:pt x="28754" y="12831"/>
                    <a:pt x="29046" y="12917"/>
                  </a:cubicBezTo>
                  <a:cubicBezTo>
                    <a:pt x="28960" y="12917"/>
                    <a:pt x="29046" y="12779"/>
                    <a:pt x="29183" y="12917"/>
                  </a:cubicBezTo>
                  <a:lnTo>
                    <a:pt x="29183" y="12797"/>
                  </a:lnTo>
                  <a:cubicBezTo>
                    <a:pt x="29183" y="12797"/>
                    <a:pt x="29183" y="12797"/>
                    <a:pt x="29441" y="12797"/>
                  </a:cubicBezTo>
                  <a:cubicBezTo>
                    <a:pt x="29114" y="12797"/>
                    <a:pt x="29303" y="12590"/>
                    <a:pt x="29578" y="12797"/>
                  </a:cubicBezTo>
                  <a:cubicBezTo>
                    <a:pt x="29217" y="12505"/>
                    <a:pt x="29578" y="12797"/>
                    <a:pt x="29578" y="12676"/>
                  </a:cubicBezTo>
                  <a:cubicBezTo>
                    <a:pt x="29578" y="12556"/>
                    <a:pt x="29922" y="12213"/>
                    <a:pt x="29767" y="12676"/>
                  </a:cubicBezTo>
                  <a:cubicBezTo>
                    <a:pt x="30007" y="12539"/>
                    <a:pt x="29973" y="12539"/>
                    <a:pt x="30059" y="12298"/>
                  </a:cubicBezTo>
                  <a:cubicBezTo>
                    <a:pt x="30145" y="12058"/>
                    <a:pt x="29784" y="12814"/>
                    <a:pt x="29801" y="12419"/>
                  </a:cubicBezTo>
                  <a:cubicBezTo>
                    <a:pt x="29664" y="12522"/>
                    <a:pt x="29801" y="12161"/>
                    <a:pt x="29801" y="12195"/>
                  </a:cubicBezTo>
                  <a:cubicBezTo>
                    <a:pt x="29801" y="12230"/>
                    <a:pt x="29990" y="12006"/>
                    <a:pt x="30145" y="11766"/>
                  </a:cubicBezTo>
                  <a:cubicBezTo>
                    <a:pt x="29990" y="11886"/>
                    <a:pt x="30059" y="11525"/>
                    <a:pt x="30145" y="11611"/>
                  </a:cubicBezTo>
                  <a:cubicBezTo>
                    <a:pt x="30231" y="11697"/>
                    <a:pt x="30145" y="11440"/>
                    <a:pt x="30145" y="11525"/>
                  </a:cubicBezTo>
                  <a:cubicBezTo>
                    <a:pt x="30042" y="11319"/>
                    <a:pt x="30145" y="11440"/>
                    <a:pt x="30145" y="11337"/>
                  </a:cubicBezTo>
                  <a:cubicBezTo>
                    <a:pt x="29939" y="11337"/>
                    <a:pt x="30145" y="11233"/>
                    <a:pt x="30025" y="11148"/>
                  </a:cubicBezTo>
                  <a:cubicBezTo>
                    <a:pt x="29904" y="11062"/>
                    <a:pt x="30025" y="10821"/>
                    <a:pt x="30334" y="10976"/>
                  </a:cubicBezTo>
                  <a:cubicBezTo>
                    <a:pt x="30179" y="10890"/>
                    <a:pt x="30111" y="10735"/>
                    <a:pt x="30334" y="10838"/>
                  </a:cubicBezTo>
                  <a:cubicBezTo>
                    <a:pt x="30557" y="10941"/>
                    <a:pt x="30162" y="10701"/>
                    <a:pt x="30334" y="10684"/>
                  </a:cubicBezTo>
                  <a:cubicBezTo>
                    <a:pt x="30042" y="10684"/>
                    <a:pt x="30334" y="10684"/>
                    <a:pt x="30334" y="10478"/>
                  </a:cubicBezTo>
                  <a:cubicBezTo>
                    <a:pt x="30523" y="10478"/>
                    <a:pt x="30488" y="10478"/>
                    <a:pt x="30506" y="10478"/>
                  </a:cubicBezTo>
                  <a:cubicBezTo>
                    <a:pt x="30918" y="10564"/>
                    <a:pt x="30214" y="10323"/>
                    <a:pt x="30506" y="10323"/>
                  </a:cubicBezTo>
                  <a:cubicBezTo>
                    <a:pt x="30506" y="10323"/>
                    <a:pt x="30506" y="10220"/>
                    <a:pt x="30506" y="10220"/>
                  </a:cubicBezTo>
                  <a:cubicBezTo>
                    <a:pt x="30506" y="10220"/>
                    <a:pt x="30506" y="9911"/>
                    <a:pt x="30609" y="10117"/>
                  </a:cubicBezTo>
                  <a:cubicBezTo>
                    <a:pt x="30712" y="10323"/>
                    <a:pt x="30609" y="10117"/>
                    <a:pt x="30609" y="10117"/>
                  </a:cubicBezTo>
                  <a:cubicBezTo>
                    <a:pt x="30385" y="9980"/>
                    <a:pt x="30609" y="10014"/>
                    <a:pt x="30609" y="10117"/>
                  </a:cubicBezTo>
                  <a:cubicBezTo>
                    <a:pt x="30609" y="10220"/>
                    <a:pt x="30609" y="9773"/>
                    <a:pt x="30609" y="10117"/>
                  </a:cubicBezTo>
                  <a:cubicBezTo>
                    <a:pt x="30609" y="9670"/>
                    <a:pt x="30609" y="10237"/>
                    <a:pt x="30798" y="10117"/>
                  </a:cubicBezTo>
                  <a:cubicBezTo>
                    <a:pt x="30609" y="9773"/>
                    <a:pt x="31021" y="10117"/>
                    <a:pt x="30798" y="9739"/>
                  </a:cubicBezTo>
                  <a:cubicBezTo>
                    <a:pt x="30901" y="9739"/>
                    <a:pt x="31038" y="9911"/>
                    <a:pt x="31124" y="9894"/>
                  </a:cubicBezTo>
                  <a:cubicBezTo>
                    <a:pt x="31210" y="9877"/>
                    <a:pt x="31124" y="9602"/>
                    <a:pt x="31124" y="9619"/>
                  </a:cubicBezTo>
                  <a:cubicBezTo>
                    <a:pt x="31124" y="9636"/>
                    <a:pt x="30969" y="9464"/>
                    <a:pt x="31124" y="9619"/>
                  </a:cubicBezTo>
                  <a:cubicBezTo>
                    <a:pt x="31279" y="9773"/>
                    <a:pt x="31124" y="9499"/>
                    <a:pt x="31124" y="9619"/>
                  </a:cubicBezTo>
                  <a:cubicBezTo>
                    <a:pt x="31244" y="9447"/>
                    <a:pt x="31279" y="10426"/>
                    <a:pt x="31261" y="9619"/>
                  </a:cubicBezTo>
                  <a:cubicBezTo>
                    <a:pt x="31536" y="10134"/>
                    <a:pt x="31261" y="9516"/>
                    <a:pt x="31450" y="9499"/>
                  </a:cubicBezTo>
                  <a:cubicBezTo>
                    <a:pt x="31639" y="9481"/>
                    <a:pt x="31450" y="9653"/>
                    <a:pt x="31553" y="9842"/>
                  </a:cubicBezTo>
                  <a:cubicBezTo>
                    <a:pt x="31656" y="10031"/>
                    <a:pt x="31639" y="9842"/>
                    <a:pt x="31674" y="9842"/>
                  </a:cubicBezTo>
                  <a:cubicBezTo>
                    <a:pt x="31502" y="9499"/>
                    <a:pt x="31863" y="9688"/>
                    <a:pt x="31845" y="9842"/>
                  </a:cubicBezTo>
                  <a:cubicBezTo>
                    <a:pt x="32172" y="9842"/>
                    <a:pt x="32051" y="10134"/>
                    <a:pt x="31742" y="10031"/>
                  </a:cubicBezTo>
                  <a:cubicBezTo>
                    <a:pt x="31845" y="10031"/>
                    <a:pt x="31948" y="10031"/>
                    <a:pt x="32000" y="10220"/>
                  </a:cubicBezTo>
                  <a:cubicBezTo>
                    <a:pt x="32051" y="10409"/>
                    <a:pt x="32120" y="10083"/>
                    <a:pt x="32275" y="10220"/>
                  </a:cubicBezTo>
                  <a:cubicBezTo>
                    <a:pt x="32275" y="10100"/>
                    <a:pt x="32275" y="10117"/>
                    <a:pt x="32275" y="10048"/>
                  </a:cubicBezTo>
                  <a:cubicBezTo>
                    <a:pt x="32275" y="9980"/>
                    <a:pt x="32653" y="10306"/>
                    <a:pt x="32378" y="10048"/>
                  </a:cubicBezTo>
                  <a:cubicBezTo>
                    <a:pt x="32378" y="10237"/>
                    <a:pt x="32567" y="10048"/>
                    <a:pt x="32584" y="10220"/>
                  </a:cubicBezTo>
                  <a:cubicBezTo>
                    <a:pt x="32601" y="10392"/>
                    <a:pt x="33220" y="10220"/>
                    <a:pt x="33683" y="10529"/>
                  </a:cubicBezTo>
                  <a:cubicBezTo>
                    <a:pt x="33563" y="10392"/>
                    <a:pt x="34044" y="10735"/>
                    <a:pt x="33804" y="10529"/>
                  </a:cubicBezTo>
                  <a:cubicBezTo>
                    <a:pt x="34697" y="10838"/>
                    <a:pt x="34611" y="11852"/>
                    <a:pt x="33597" y="11354"/>
                  </a:cubicBezTo>
                  <a:cubicBezTo>
                    <a:pt x="33477" y="11354"/>
                    <a:pt x="33477" y="11354"/>
                    <a:pt x="33426" y="11354"/>
                  </a:cubicBezTo>
                  <a:cubicBezTo>
                    <a:pt x="33374" y="11354"/>
                    <a:pt x="32910" y="11096"/>
                    <a:pt x="33065" y="11354"/>
                  </a:cubicBezTo>
                  <a:cubicBezTo>
                    <a:pt x="33220" y="11611"/>
                    <a:pt x="33460" y="11491"/>
                    <a:pt x="33357" y="11663"/>
                  </a:cubicBezTo>
                  <a:cubicBezTo>
                    <a:pt x="33632" y="11663"/>
                    <a:pt x="34834" y="13277"/>
                    <a:pt x="34576" y="12333"/>
                  </a:cubicBezTo>
                  <a:cubicBezTo>
                    <a:pt x="34388" y="12505"/>
                    <a:pt x="34113" y="12058"/>
                    <a:pt x="34250" y="12006"/>
                  </a:cubicBezTo>
                  <a:cubicBezTo>
                    <a:pt x="35693" y="12917"/>
                    <a:pt x="33975" y="11148"/>
                    <a:pt x="34972" y="11474"/>
                  </a:cubicBezTo>
                  <a:cubicBezTo>
                    <a:pt x="34972" y="11337"/>
                    <a:pt x="35092" y="11474"/>
                    <a:pt x="35143" y="11474"/>
                  </a:cubicBezTo>
                  <a:cubicBezTo>
                    <a:pt x="34895" y="11040"/>
                    <a:pt x="34569" y="10656"/>
                    <a:pt x="34181" y="10340"/>
                  </a:cubicBezTo>
                  <a:cubicBezTo>
                    <a:pt x="34491" y="10340"/>
                    <a:pt x="34972" y="10443"/>
                    <a:pt x="34800" y="10753"/>
                  </a:cubicBezTo>
                  <a:cubicBezTo>
                    <a:pt x="35195" y="11354"/>
                    <a:pt x="35349" y="10753"/>
                    <a:pt x="35143" y="10529"/>
                  </a:cubicBezTo>
                  <a:cubicBezTo>
                    <a:pt x="35315" y="10529"/>
                    <a:pt x="35143" y="9945"/>
                    <a:pt x="35401" y="10289"/>
                  </a:cubicBezTo>
                  <a:cubicBezTo>
                    <a:pt x="35401" y="10186"/>
                    <a:pt x="35178" y="9980"/>
                    <a:pt x="35401" y="10151"/>
                  </a:cubicBezTo>
                  <a:cubicBezTo>
                    <a:pt x="35229" y="9705"/>
                    <a:pt x="35521" y="10151"/>
                    <a:pt x="35727" y="10306"/>
                  </a:cubicBezTo>
                  <a:cubicBezTo>
                    <a:pt x="35727" y="10203"/>
                    <a:pt x="35727" y="10169"/>
                    <a:pt x="35727" y="10306"/>
                  </a:cubicBezTo>
                  <a:cubicBezTo>
                    <a:pt x="35504" y="10048"/>
                    <a:pt x="35882" y="10134"/>
                    <a:pt x="35830" y="9842"/>
                  </a:cubicBezTo>
                  <a:cubicBezTo>
                    <a:pt x="35951" y="9997"/>
                    <a:pt x="36311" y="10272"/>
                    <a:pt x="36019" y="9945"/>
                  </a:cubicBezTo>
                  <a:cubicBezTo>
                    <a:pt x="36191" y="9945"/>
                    <a:pt x="35916" y="9791"/>
                    <a:pt x="36122" y="9945"/>
                  </a:cubicBezTo>
                  <a:cubicBezTo>
                    <a:pt x="36035" y="9882"/>
                    <a:pt x="35943" y="9824"/>
                    <a:pt x="35848" y="9773"/>
                  </a:cubicBezTo>
                  <a:lnTo>
                    <a:pt x="35848" y="9773"/>
                  </a:lnTo>
                  <a:cubicBezTo>
                    <a:pt x="35057" y="9155"/>
                    <a:pt x="36586" y="9619"/>
                    <a:pt x="36981" y="9894"/>
                  </a:cubicBezTo>
                  <a:cubicBezTo>
                    <a:pt x="36792" y="9619"/>
                    <a:pt x="36517" y="9567"/>
                    <a:pt x="36260" y="9361"/>
                  </a:cubicBezTo>
                  <a:lnTo>
                    <a:pt x="36260" y="9361"/>
                  </a:lnTo>
                  <a:cubicBezTo>
                    <a:pt x="36260" y="9361"/>
                    <a:pt x="36260" y="9361"/>
                    <a:pt x="36140" y="9361"/>
                  </a:cubicBezTo>
                  <a:lnTo>
                    <a:pt x="36140" y="9361"/>
                  </a:lnTo>
                  <a:lnTo>
                    <a:pt x="35882" y="9155"/>
                  </a:lnTo>
                  <a:cubicBezTo>
                    <a:pt x="36019" y="9155"/>
                    <a:pt x="35624" y="8983"/>
                    <a:pt x="35727" y="8983"/>
                  </a:cubicBezTo>
                  <a:cubicBezTo>
                    <a:pt x="35504" y="8880"/>
                    <a:pt x="34353" y="7918"/>
                    <a:pt x="34594" y="7884"/>
                  </a:cubicBezTo>
                  <a:cubicBezTo>
                    <a:pt x="35435" y="8193"/>
                    <a:pt x="36311" y="9086"/>
                    <a:pt x="37136" y="9602"/>
                  </a:cubicBezTo>
                  <a:lnTo>
                    <a:pt x="37136" y="9602"/>
                  </a:lnTo>
                  <a:cubicBezTo>
                    <a:pt x="37389" y="9800"/>
                    <a:pt x="37614" y="10031"/>
                    <a:pt x="37806" y="10289"/>
                  </a:cubicBezTo>
                  <a:lnTo>
                    <a:pt x="37806" y="10289"/>
                  </a:lnTo>
                  <a:cubicBezTo>
                    <a:pt x="37995" y="10409"/>
                    <a:pt x="37977" y="10581"/>
                    <a:pt x="37806" y="10289"/>
                  </a:cubicBezTo>
                  <a:cubicBezTo>
                    <a:pt x="37806" y="10289"/>
                    <a:pt x="37479" y="10289"/>
                    <a:pt x="37703" y="10426"/>
                  </a:cubicBezTo>
                  <a:cubicBezTo>
                    <a:pt x="38939" y="10701"/>
                    <a:pt x="37256" y="9619"/>
                    <a:pt x="37101" y="9275"/>
                  </a:cubicBezTo>
                  <a:cubicBezTo>
                    <a:pt x="37101" y="9275"/>
                    <a:pt x="37101" y="9275"/>
                    <a:pt x="37101" y="9275"/>
                  </a:cubicBezTo>
                  <a:cubicBezTo>
                    <a:pt x="36284" y="8916"/>
                    <a:pt x="35525" y="8435"/>
                    <a:pt x="34851" y="7850"/>
                  </a:cubicBezTo>
                  <a:cubicBezTo>
                    <a:pt x="35229" y="8021"/>
                    <a:pt x="35573" y="8399"/>
                    <a:pt x="35933" y="8451"/>
                  </a:cubicBezTo>
                  <a:cubicBezTo>
                    <a:pt x="35796" y="8262"/>
                    <a:pt x="36208" y="8571"/>
                    <a:pt x="36105" y="8451"/>
                  </a:cubicBezTo>
                  <a:cubicBezTo>
                    <a:pt x="35827" y="8436"/>
                    <a:pt x="35564" y="8320"/>
                    <a:pt x="35367" y="8125"/>
                  </a:cubicBezTo>
                  <a:cubicBezTo>
                    <a:pt x="35727" y="8279"/>
                    <a:pt x="35367" y="8125"/>
                    <a:pt x="35367" y="8039"/>
                  </a:cubicBezTo>
                  <a:lnTo>
                    <a:pt x="35367" y="8039"/>
                  </a:lnTo>
                  <a:cubicBezTo>
                    <a:pt x="34886" y="7455"/>
                    <a:pt x="37084" y="8880"/>
                    <a:pt x="36363" y="8331"/>
                  </a:cubicBezTo>
                  <a:cubicBezTo>
                    <a:pt x="36637" y="8531"/>
                    <a:pt x="36938" y="8693"/>
                    <a:pt x="37256" y="8812"/>
                  </a:cubicBezTo>
                  <a:cubicBezTo>
                    <a:pt x="36947" y="8605"/>
                    <a:pt x="37256" y="8691"/>
                    <a:pt x="37428" y="8812"/>
                  </a:cubicBezTo>
                  <a:cubicBezTo>
                    <a:pt x="37325" y="8709"/>
                    <a:pt x="37033" y="8588"/>
                    <a:pt x="37101" y="8709"/>
                  </a:cubicBezTo>
                  <a:cubicBezTo>
                    <a:pt x="36569" y="8468"/>
                    <a:pt x="36019" y="8056"/>
                    <a:pt x="35384" y="7798"/>
                  </a:cubicBezTo>
                  <a:cubicBezTo>
                    <a:pt x="35212" y="7798"/>
                    <a:pt x="34405" y="7403"/>
                    <a:pt x="34525" y="7231"/>
                  </a:cubicBezTo>
                  <a:cubicBezTo>
                    <a:pt x="34284" y="6922"/>
                    <a:pt x="34697" y="7334"/>
                    <a:pt x="34851" y="7317"/>
                  </a:cubicBezTo>
                  <a:cubicBezTo>
                    <a:pt x="34628" y="7317"/>
                    <a:pt x="34491" y="7042"/>
                    <a:pt x="34267" y="7008"/>
                  </a:cubicBezTo>
                  <a:cubicBezTo>
                    <a:pt x="34044" y="6974"/>
                    <a:pt x="34061" y="7008"/>
                    <a:pt x="34027" y="6922"/>
                  </a:cubicBezTo>
                  <a:cubicBezTo>
                    <a:pt x="33992" y="6836"/>
                    <a:pt x="34130" y="6922"/>
                    <a:pt x="34027" y="6922"/>
                  </a:cubicBezTo>
                  <a:cubicBezTo>
                    <a:pt x="33924" y="6922"/>
                    <a:pt x="33838" y="6836"/>
                    <a:pt x="33872" y="6922"/>
                  </a:cubicBezTo>
                  <a:cubicBezTo>
                    <a:pt x="33907" y="7008"/>
                    <a:pt x="33683" y="6802"/>
                    <a:pt x="33872" y="6922"/>
                  </a:cubicBezTo>
                  <a:lnTo>
                    <a:pt x="33615" y="6768"/>
                  </a:lnTo>
                  <a:cubicBezTo>
                    <a:pt x="33615" y="6768"/>
                    <a:pt x="33615" y="6768"/>
                    <a:pt x="33615" y="6768"/>
                  </a:cubicBezTo>
                  <a:lnTo>
                    <a:pt x="33168" y="6458"/>
                  </a:lnTo>
                  <a:lnTo>
                    <a:pt x="33168" y="6458"/>
                  </a:lnTo>
                  <a:cubicBezTo>
                    <a:pt x="33086" y="6395"/>
                    <a:pt x="33000" y="6338"/>
                    <a:pt x="32910" y="6287"/>
                  </a:cubicBezTo>
                  <a:lnTo>
                    <a:pt x="32910" y="6287"/>
                  </a:lnTo>
                  <a:lnTo>
                    <a:pt x="32910" y="6287"/>
                  </a:lnTo>
                  <a:lnTo>
                    <a:pt x="32910" y="6287"/>
                  </a:lnTo>
                  <a:lnTo>
                    <a:pt x="32687" y="6184"/>
                  </a:lnTo>
                  <a:lnTo>
                    <a:pt x="32687" y="6184"/>
                  </a:lnTo>
                  <a:cubicBezTo>
                    <a:pt x="32687" y="6184"/>
                    <a:pt x="32515" y="6184"/>
                    <a:pt x="32687" y="6184"/>
                  </a:cubicBezTo>
                  <a:lnTo>
                    <a:pt x="32687" y="6184"/>
                  </a:lnTo>
                  <a:lnTo>
                    <a:pt x="32687" y="6184"/>
                  </a:lnTo>
                  <a:lnTo>
                    <a:pt x="32962" y="6287"/>
                  </a:lnTo>
                  <a:lnTo>
                    <a:pt x="32739" y="6184"/>
                  </a:lnTo>
                  <a:lnTo>
                    <a:pt x="32893" y="6184"/>
                  </a:lnTo>
                  <a:lnTo>
                    <a:pt x="32807" y="6184"/>
                  </a:lnTo>
                  <a:cubicBezTo>
                    <a:pt x="32762" y="6174"/>
                    <a:pt x="32715" y="6174"/>
                    <a:pt x="32670" y="6184"/>
                  </a:cubicBezTo>
                  <a:lnTo>
                    <a:pt x="32670" y="6184"/>
                  </a:lnTo>
                  <a:cubicBezTo>
                    <a:pt x="32625" y="6193"/>
                    <a:pt x="32578" y="6193"/>
                    <a:pt x="32532" y="6184"/>
                  </a:cubicBezTo>
                  <a:lnTo>
                    <a:pt x="32876" y="6304"/>
                  </a:lnTo>
                  <a:cubicBezTo>
                    <a:pt x="32750" y="6242"/>
                    <a:pt x="32618" y="6196"/>
                    <a:pt x="32481" y="6166"/>
                  </a:cubicBezTo>
                  <a:lnTo>
                    <a:pt x="32481" y="6166"/>
                  </a:lnTo>
                  <a:cubicBezTo>
                    <a:pt x="32481" y="6166"/>
                    <a:pt x="32292" y="6166"/>
                    <a:pt x="32343" y="6166"/>
                  </a:cubicBezTo>
                  <a:cubicBezTo>
                    <a:pt x="32395" y="6166"/>
                    <a:pt x="32343" y="6166"/>
                    <a:pt x="32343" y="6166"/>
                  </a:cubicBezTo>
                  <a:lnTo>
                    <a:pt x="32343" y="6166"/>
                  </a:lnTo>
                  <a:lnTo>
                    <a:pt x="32206" y="6166"/>
                  </a:lnTo>
                  <a:lnTo>
                    <a:pt x="32206" y="6166"/>
                  </a:lnTo>
                  <a:lnTo>
                    <a:pt x="31742" y="6029"/>
                  </a:lnTo>
                  <a:lnTo>
                    <a:pt x="31742" y="6029"/>
                  </a:lnTo>
                  <a:cubicBezTo>
                    <a:pt x="31571" y="6029"/>
                    <a:pt x="30763" y="5720"/>
                    <a:pt x="30952" y="5754"/>
                  </a:cubicBezTo>
                  <a:lnTo>
                    <a:pt x="30952" y="5754"/>
                  </a:lnTo>
                  <a:lnTo>
                    <a:pt x="31055" y="5754"/>
                  </a:lnTo>
                  <a:lnTo>
                    <a:pt x="31055" y="5754"/>
                  </a:lnTo>
                  <a:cubicBezTo>
                    <a:pt x="31244" y="5754"/>
                    <a:pt x="31416" y="5857"/>
                    <a:pt x="31605" y="5909"/>
                  </a:cubicBezTo>
                  <a:lnTo>
                    <a:pt x="31416" y="5909"/>
                  </a:lnTo>
                  <a:lnTo>
                    <a:pt x="31588" y="5909"/>
                  </a:lnTo>
                  <a:lnTo>
                    <a:pt x="31485" y="5909"/>
                  </a:lnTo>
                  <a:cubicBezTo>
                    <a:pt x="31588" y="5909"/>
                    <a:pt x="31364" y="5909"/>
                    <a:pt x="31485" y="5909"/>
                  </a:cubicBezTo>
                  <a:lnTo>
                    <a:pt x="31485" y="5909"/>
                  </a:lnTo>
                  <a:cubicBezTo>
                    <a:pt x="31794" y="5995"/>
                    <a:pt x="32481" y="6201"/>
                    <a:pt x="31811" y="5909"/>
                  </a:cubicBezTo>
                  <a:lnTo>
                    <a:pt x="31811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2292" y="6046"/>
                  </a:lnTo>
                  <a:lnTo>
                    <a:pt x="32051" y="6046"/>
                  </a:lnTo>
                  <a:lnTo>
                    <a:pt x="32378" y="6046"/>
                  </a:lnTo>
                  <a:lnTo>
                    <a:pt x="32635" y="6046"/>
                  </a:lnTo>
                  <a:lnTo>
                    <a:pt x="32635" y="6046"/>
                  </a:lnTo>
                  <a:cubicBezTo>
                    <a:pt x="32412" y="6046"/>
                    <a:pt x="32635" y="6046"/>
                    <a:pt x="32773" y="6046"/>
                  </a:cubicBezTo>
                  <a:lnTo>
                    <a:pt x="32773" y="6046"/>
                  </a:lnTo>
                  <a:lnTo>
                    <a:pt x="32773" y="6046"/>
                  </a:lnTo>
                  <a:cubicBezTo>
                    <a:pt x="33198" y="6156"/>
                    <a:pt x="33612" y="6306"/>
                    <a:pt x="34010" y="6493"/>
                  </a:cubicBezTo>
                  <a:cubicBezTo>
                    <a:pt x="34010" y="6493"/>
                    <a:pt x="34010" y="6493"/>
                    <a:pt x="34010" y="6493"/>
                  </a:cubicBezTo>
                  <a:cubicBezTo>
                    <a:pt x="34010" y="6493"/>
                    <a:pt x="34456" y="6665"/>
                    <a:pt x="34645" y="6768"/>
                  </a:cubicBezTo>
                  <a:lnTo>
                    <a:pt x="34645" y="6768"/>
                  </a:lnTo>
                  <a:lnTo>
                    <a:pt x="35470" y="7163"/>
                  </a:lnTo>
                  <a:cubicBezTo>
                    <a:pt x="35212" y="7025"/>
                    <a:pt x="34954" y="6871"/>
                    <a:pt x="34662" y="6733"/>
                  </a:cubicBezTo>
                  <a:lnTo>
                    <a:pt x="34662" y="6733"/>
                  </a:lnTo>
                  <a:lnTo>
                    <a:pt x="34353" y="6596"/>
                  </a:lnTo>
                  <a:lnTo>
                    <a:pt x="34491" y="6596"/>
                  </a:lnTo>
                  <a:cubicBezTo>
                    <a:pt x="34491" y="6596"/>
                    <a:pt x="34044" y="6441"/>
                    <a:pt x="34250" y="6493"/>
                  </a:cubicBezTo>
                  <a:lnTo>
                    <a:pt x="34113" y="6493"/>
                  </a:lnTo>
                  <a:lnTo>
                    <a:pt x="34422" y="6596"/>
                  </a:lnTo>
                  <a:cubicBezTo>
                    <a:pt x="34327" y="6538"/>
                    <a:pt x="34222" y="6497"/>
                    <a:pt x="34113" y="6476"/>
                  </a:cubicBezTo>
                  <a:cubicBezTo>
                    <a:pt x="34287" y="6517"/>
                    <a:pt x="34459" y="6568"/>
                    <a:pt x="34628" y="6630"/>
                  </a:cubicBezTo>
                  <a:lnTo>
                    <a:pt x="34473" y="6630"/>
                  </a:lnTo>
                  <a:lnTo>
                    <a:pt x="34473" y="6630"/>
                  </a:lnTo>
                  <a:lnTo>
                    <a:pt x="33700" y="4827"/>
                  </a:lnTo>
                  <a:cubicBezTo>
                    <a:pt x="42679" y="7791"/>
                    <a:pt x="48892" y="15993"/>
                    <a:pt x="49314" y="25438"/>
                  </a:cubicBezTo>
                  <a:cubicBezTo>
                    <a:pt x="49301" y="25780"/>
                    <a:pt x="49255" y="26119"/>
                    <a:pt x="49177" y="26452"/>
                  </a:cubicBezTo>
                  <a:cubicBezTo>
                    <a:pt x="49245" y="26349"/>
                    <a:pt x="49159" y="26538"/>
                    <a:pt x="49159" y="26589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81" name="Google Shape;281;p69"/>
            <p:cNvSpPr/>
            <p:nvPr/>
          </p:nvSpPr>
          <p:spPr>
            <a:xfrm rot="-5400000">
              <a:off x="12026199" y="6563439"/>
              <a:ext cx="13277" cy="68070"/>
            </a:xfrm>
            <a:custGeom>
              <a:avLst/>
              <a:gdLst/>
              <a:ahLst/>
              <a:cxnLst/>
              <a:rect l="l" t="t" r="r" b="b"/>
              <a:pathLst>
                <a:path w="13277" h="68070" extrusionOk="0">
                  <a:moveTo>
                    <a:pt x="13277" y="12024"/>
                  </a:moveTo>
                  <a:lnTo>
                    <a:pt x="0" y="12024"/>
                  </a:lnTo>
                  <a:lnTo>
                    <a:pt x="0" y="0"/>
                  </a:lnTo>
                  <a:lnTo>
                    <a:pt x="13277" y="0"/>
                  </a:lnTo>
                  <a:close/>
                  <a:moveTo>
                    <a:pt x="0" y="17984"/>
                  </a:moveTo>
                  <a:lnTo>
                    <a:pt x="13277" y="17984"/>
                  </a:lnTo>
                  <a:lnTo>
                    <a:pt x="13277" y="68070"/>
                  </a:lnTo>
                  <a:lnTo>
                    <a:pt x="0" y="6807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82" name="Google Shape;282;p69"/>
            <p:cNvSpPr/>
            <p:nvPr/>
          </p:nvSpPr>
          <p:spPr>
            <a:xfrm rot="-5400000">
              <a:off x="12018640" y="6529825"/>
              <a:ext cx="45208" cy="51256"/>
            </a:xfrm>
            <a:custGeom>
              <a:avLst/>
              <a:gdLst/>
              <a:ahLst/>
              <a:cxnLst/>
              <a:rect l="l" t="t" r="r" b="b"/>
              <a:pathLst>
                <a:path w="45208" h="51256" extrusionOk="0">
                  <a:moveTo>
                    <a:pt x="40279" y="4038"/>
                  </a:moveTo>
                  <a:cubicBezTo>
                    <a:pt x="43565" y="6752"/>
                    <a:pt x="45209" y="11246"/>
                    <a:pt x="45209" y="17521"/>
                  </a:cubicBezTo>
                  <a:lnTo>
                    <a:pt x="45209" y="51256"/>
                  </a:lnTo>
                  <a:lnTo>
                    <a:pt x="31794" y="51256"/>
                  </a:lnTo>
                  <a:lnTo>
                    <a:pt x="31794" y="20785"/>
                  </a:lnTo>
                  <a:cubicBezTo>
                    <a:pt x="31892" y="18712"/>
                    <a:pt x="31535" y="16642"/>
                    <a:pt x="30746" y="14722"/>
                  </a:cubicBezTo>
                  <a:cubicBezTo>
                    <a:pt x="29458" y="12162"/>
                    <a:pt x="27036" y="10874"/>
                    <a:pt x="23446" y="10874"/>
                  </a:cubicBezTo>
                  <a:cubicBezTo>
                    <a:pt x="19509" y="10574"/>
                    <a:pt x="15832" y="12861"/>
                    <a:pt x="14360" y="16525"/>
                  </a:cubicBezTo>
                  <a:cubicBezTo>
                    <a:pt x="13437" y="18959"/>
                    <a:pt x="13005" y="21550"/>
                    <a:pt x="13089" y="24152"/>
                  </a:cubicBezTo>
                  <a:lnTo>
                    <a:pt x="13089" y="51256"/>
                  </a:lnTo>
                  <a:lnTo>
                    <a:pt x="0" y="51256"/>
                  </a:lnTo>
                  <a:lnTo>
                    <a:pt x="0" y="1272"/>
                  </a:lnTo>
                  <a:lnTo>
                    <a:pt x="12676" y="1272"/>
                  </a:lnTo>
                  <a:lnTo>
                    <a:pt x="12676" y="8607"/>
                  </a:lnTo>
                  <a:cubicBezTo>
                    <a:pt x="13939" y="6498"/>
                    <a:pt x="15548" y="4617"/>
                    <a:pt x="17434" y="3042"/>
                  </a:cubicBezTo>
                  <a:cubicBezTo>
                    <a:pt x="20409" y="938"/>
                    <a:pt x="23996" y="-125"/>
                    <a:pt x="27637" y="19"/>
                  </a:cubicBezTo>
                  <a:cubicBezTo>
                    <a:pt x="32194" y="-181"/>
                    <a:pt x="36674" y="1243"/>
                    <a:pt x="40279" y="403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83" name="Google Shape;283;p69"/>
            <p:cNvSpPr/>
            <p:nvPr/>
          </p:nvSpPr>
          <p:spPr>
            <a:xfrm rot="-5400000">
              <a:off x="12018195" y="6477145"/>
              <a:ext cx="28942" cy="68414"/>
            </a:xfrm>
            <a:custGeom>
              <a:avLst/>
              <a:gdLst/>
              <a:ahLst/>
              <a:cxnLst/>
              <a:rect l="l" t="t" r="r" b="b"/>
              <a:pathLst>
                <a:path w="28942" h="68414" extrusionOk="0">
                  <a:moveTo>
                    <a:pt x="25868" y="0"/>
                  </a:moveTo>
                  <a:lnTo>
                    <a:pt x="28616" y="206"/>
                  </a:lnTo>
                  <a:lnTo>
                    <a:pt x="28616" y="10941"/>
                  </a:lnTo>
                  <a:cubicBezTo>
                    <a:pt x="27390" y="10808"/>
                    <a:pt x="26157" y="10739"/>
                    <a:pt x="24923" y="10735"/>
                  </a:cubicBezTo>
                  <a:cubicBezTo>
                    <a:pt x="23616" y="10538"/>
                    <a:pt x="22290" y="10956"/>
                    <a:pt x="21333" y="11869"/>
                  </a:cubicBezTo>
                  <a:cubicBezTo>
                    <a:pt x="20704" y="12627"/>
                    <a:pt x="20358" y="13580"/>
                    <a:pt x="20354" y="14566"/>
                  </a:cubicBezTo>
                  <a:lnTo>
                    <a:pt x="20354" y="18791"/>
                  </a:lnTo>
                  <a:lnTo>
                    <a:pt x="28943" y="18791"/>
                  </a:lnTo>
                  <a:lnTo>
                    <a:pt x="28943" y="28032"/>
                  </a:lnTo>
                  <a:lnTo>
                    <a:pt x="20354" y="28032"/>
                  </a:lnTo>
                  <a:lnTo>
                    <a:pt x="20354" y="68414"/>
                  </a:lnTo>
                  <a:lnTo>
                    <a:pt x="7352" y="68414"/>
                  </a:lnTo>
                  <a:lnTo>
                    <a:pt x="7352" y="28032"/>
                  </a:lnTo>
                  <a:lnTo>
                    <a:pt x="0" y="28032"/>
                  </a:lnTo>
                  <a:lnTo>
                    <a:pt x="0" y="18791"/>
                  </a:lnTo>
                  <a:lnTo>
                    <a:pt x="7163" y="18791"/>
                  </a:lnTo>
                  <a:lnTo>
                    <a:pt x="7163" y="15579"/>
                  </a:lnTo>
                  <a:cubicBezTo>
                    <a:pt x="7163" y="10220"/>
                    <a:pt x="8067" y="6527"/>
                    <a:pt x="9877" y="4500"/>
                  </a:cubicBezTo>
                  <a:cubicBezTo>
                    <a:pt x="11783" y="1494"/>
                    <a:pt x="16352" y="0"/>
                    <a:pt x="23618" y="0"/>
                  </a:cubicBezTo>
                  <a:cubicBezTo>
                    <a:pt x="24442" y="0"/>
                    <a:pt x="25198" y="0"/>
                    <a:pt x="25868" y="0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84" name="Google Shape;284;p69"/>
            <p:cNvSpPr/>
            <p:nvPr/>
          </p:nvSpPr>
          <p:spPr>
            <a:xfrm rot="-5400000">
              <a:off x="12016830" y="6161182"/>
              <a:ext cx="49036" cy="51048"/>
            </a:xfrm>
            <a:custGeom>
              <a:avLst/>
              <a:gdLst/>
              <a:ahLst/>
              <a:cxnLst/>
              <a:rect l="l" t="t" r="r" b="b"/>
              <a:pathLst>
                <a:path w="49036" h="51048" extrusionOk="0">
                  <a:moveTo>
                    <a:pt x="42949" y="43542"/>
                  </a:moveTo>
                  <a:cubicBezTo>
                    <a:pt x="38907" y="48535"/>
                    <a:pt x="32763" y="51037"/>
                    <a:pt x="24519" y="51049"/>
                  </a:cubicBezTo>
                  <a:cubicBezTo>
                    <a:pt x="16274" y="51060"/>
                    <a:pt x="10125" y="48558"/>
                    <a:pt x="6071" y="43542"/>
                  </a:cubicBezTo>
                  <a:cubicBezTo>
                    <a:pt x="2000" y="38452"/>
                    <a:pt x="-145" y="32091"/>
                    <a:pt x="8" y="25576"/>
                  </a:cubicBezTo>
                  <a:cubicBezTo>
                    <a:pt x="-130" y="19058"/>
                    <a:pt x="2016" y="12697"/>
                    <a:pt x="6071" y="7592"/>
                  </a:cubicBezTo>
                  <a:cubicBezTo>
                    <a:pt x="10125" y="2519"/>
                    <a:pt x="16274" y="-11"/>
                    <a:pt x="24519" y="0"/>
                  </a:cubicBezTo>
                  <a:cubicBezTo>
                    <a:pt x="32763" y="12"/>
                    <a:pt x="38907" y="2542"/>
                    <a:pt x="42949" y="7592"/>
                  </a:cubicBezTo>
                  <a:cubicBezTo>
                    <a:pt x="47010" y="12695"/>
                    <a:pt x="49160" y="19056"/>
                    <a:pt x="49030" y="25576"/>
                  </a:cubicBezTo>
                  <a:cubicBezTo>
                    <a:pt x="49177" y="32093"/>
                    <a:pt x="47023" y="38454"/>
                    <a:pt x="42949" y="43542"/>
                  </a:cubicBezTo>
                  <a:close/>
                  <a:moveTo>
                    <a:pt x="32918" y="36672"/>
                  </a:moveTo>
                  <a:cubicBezTo>
                    <a:pt x="35077" y="33390"/>
                    <a:pt x="36115" y="29497"/>
                    <a:pt x="35872" y="25576"/>
                  </a:cubicBezTo>
                  <a:cubicBezTo>
                    <a:pt x="36123" y="21654"/>
                    <a:pt x="35086" y="17758"/>
                    <a:pt x="32918" y="14480"/>
                  </a:cubicBezTo>
                  <a:cubicBezTo>
                    <a:pt x="28893" y="9808"/>
                    <a:pt x="21844" y="9283"/>
                    <a:pt x="17172" y="13307"/>
                  </a:cubicBezTo>
                  <a:cubicBezTo>
                    <a:pt x="16753" y="13668"/>
                    <a:pt x="16360" y="14060"/>
                    <a:pt x="15999" y="14480"/>
                  </a:cubicBezTo>
                  <a:cubicBezTo>
                    <a:pt x="13826" y="17756"/>
                    <a:pt x="12782" y="21652"/>
                    <a:pt x="13027" y="25576"/>
                  </a:cubicBezTo>
                  <a:cubicBezTo>
                    <a:pt x="12782" y="29510"/>
                    <a:pt x="13824" y="33418"/>
                    <a:pt x="15999" y="36706"/>
                  </a:cubicBezTo>
                  <a:cubicBezTo>
                    <a:pt x="19994" y="41378"/>
                    <a:pt x="27020" y="41927"/>
                    <a:pt x="31692" y="37932"/>
                  </a:cubicBezTo>
                  <a:cubicBezTo>
                    <a:pt x="32131" y="37556"/>
                    <a:pt x="32542" y="37146"/>
                    <a:pt x="32918" y="36706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85" name="Google Shape;285;p69"/>
            <p:cNvSpPr/>
            <p:nvPr/>
          </p:nvSpPr>
          <p:spPr>
            <a:xfrm rot="-5400000">
              <a:off x="12005374" y="6370523"/>
              <a:ext cx="71791" cy="51205"/>
            </a:xfrm>
            <a:custGeom>
              <a:avLst/>
              <a:gdLst/>
              <a:ahLst/>
              <a:cxnLst/>
              <a:rect l="l" t="t" r="r" b="b"/>
              <a:pathLst>
                <a:path w="71791" h="51205" extrusionOk="0">
                  <a:moveTo>
                    <a:pt x="62643" y="1307"/>
                  </a:moveTo>
                  <a:cubicBezTo>
                    <a:pt x="64938" y="2282"/>
                    <a:pt x="66944" y="3832"/>
                    <a:pt x="68466" y="5808"/>
                  </a:cubicBezTo>
                  <a:cubicBezTo>
                    <a:pt x="69936" y="7685"/>
                    <a:pt x="70917" y="9898"/>
                    <a:pt x="71317" y="12249"/>
                  </a:cubicBezTo>
                  <a:cubicBezTo>
                    <a:pt x="71680" y="14693"/>
                    <a:pt x="71834" y="17164"/>
                    <a:pt x="71781" y="19635"/>
                  </a:cubicBezTo>
                  <a:lnTo>
                    <a:pt x="71781" y="51205"/>
                  </a:lnTo>
                  <a:lnTo>
                    <a:pt x="58349" y="51205"/>
                  </a:lnTo>
                  <a:lnTo>
                    <a:pt x="58349" y="19308"/>
                  </a:lnTo>
                  <a:cubicBezTo>
                    <a:pt x="58414" y="17701"/>
                    <a:pt x="58101" y="16101"/>
                    <a:pt x="57438" y="14636"/>
                  </a:cubicBezTo>
                  <a:cubicBezTo>
                    <a:pt x="56188" y="12289"/>
                    <a:pt x="53642" y="10931"/>
                    <a:pt x="50997" y="11201"/>
                  </a:cubicBezTo>
                  <a:cubicBezTo>
                    <a:pt x="47802" y="10957"/>
                    <a:pt x="44803" y="12763"/>
                    <a:pt x="43525" y="15701"/>
                  </a:cubicBezTo>
                  <a:cubicBezTo>
                    <a:pt x="42766" y="17522"/>
                    <a:pt x="42404" y="19483"/>
                    <a:pt x="42460" y="21455"/>
                  </a:cubicBezTo>
                  <a:lnTo>
                    <a:pt x="42460" y="51205"/>
                  </a:lnTo>
                  <a:lnTo>
                    <a:pt x="29269" y="51205"/>
                  </a:lnTo>
                  <a:lnTo>
                    <a:pt x="29269" y="21387"/>
                  </a:lnTo>
                  <a:cubicBezTo>
                    <a:pt x="29389" y="19189"/>
                    <a:pt x="29080" y="16990"/>
                    <a:pt x="28359" y="14911"/>
                  </a:cubicBezTo>
                  <a:cubicBezTo>
                    <a:pt x="27192" y="12446"/>
                    <a:pt x="24595" y="10986"/>
                    <a:pt x="21883" y="11270"/>
                  </a:cubicBezTo>
                  <a:cubicBezTo>
                    <a:pt x="18138" y="11270"/>
                    <a:pt x="15626" y="12484"/>
                    <a:pt x="14342" y="14911"/>
                  </a:cubicBezTo>
                  <a:cubicBezTo>
                    <a:pt x="13527" y="16854"/>
                    <a:pt x="13162" y="18956"/>
                    <a:pt x="13277" y="21060"/>
                  </a:cubicBezTo>
                  <a:lnTo>
                    <a:pt x="13277" y="51205"/>
                  </a:lnTo>
                  <a:lnTo>
                    <a:pt x="0" y="51205"/>
                  </a:lnTo>
                  <a:lnTo>
                    <a:pt x="0" y="1221"/>
                  </a:lnTo>
                  <a:lnTo>
                    <a:pt x="12728" y="1221"/>
                  </a:lnTo>
                  <a:lnTo>
                    <a:pt x="12728" y="8556"/>
                  </a:lnTo>
                  <a:cubicBezTo>
                    <a:pt x="13930" y="6449"/>
                    <a:pt x="15488" y="4567"/>
                    <a:pt x="17331" y="2991"/>
                  </a:cubicBezTo>
                  <a:cubicBezTo>
                    <a:pt x="23120" y="-769"/>
                    <a:pt x="30538" y="-929"/>
                    <a:pt x="36483" y="2578"/>
                  </a:cubicBezTo>
                  <a:cubicBezTo>
                    <a:pt x="38381" y="4179"/>
                    <a:pt x="39841" y="6236"/>
                    <a:pt x="40726" y="8556"/>
                  </a:cubicBezTo>
                  <a:cubicBezTo>
                    <a:pt x="42206" y="5843"/>
                    <a:pt x="44413" y="3595"/>
                    <a:pt x="47098" y="2063"/>
                  </a:cubicBezTo>
                  <a:cubicBezTo>
                    <a:pt x="49896" y="665"/>
                    <a:pt x="52988" y="-42"/>
                    <a:pt x="56116" y="2"/>
                  </a:cubicBezTo>
                  <a:cubicBezTo>
                    <a:pt x="58356" y="15"/>
                    <a:pt x="60571" y="458"/>
                    <a:pt x="62643" y="1307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86" name="Google Shape;286;p69"/>
            <p:cNvSpPr/>
            <p:nvPr/>
          </p:nvSpPr>
          <p:spPr>
            <a:xfrm rot="-5400000">
              <a:off x="12026199" y="6307354"/>
              <a:ext cx="13277" cy="68070"/>
            </a:xfrm>
            <a:custGeom>
              <a:avLst/>
              <a:gdLst/>
              <a:ahLst/>
              <a:cxnLst/>
              <a:rect l="l" t="t" r="r" b="b"/>
              <a:pathLst>
                <a:path w="13277" h="68070" extrusionOk="0">
                  <a:moveTo>
                    <a:pt x="13278" y="12024"/>
                  </a:moveTo>
                  <a:lnTo>
                    <a:pt x="0" y="12024"/>
                  </a:lnTo>
                  <a:lnTo>
                    <a:pt x="0" y="0"/>
                  </a:lnTo>
                  <a:lnTo>
                    <a:pt x="13278" y="0"/>
                  </a:lnTo>
                  <a:close/>
                  <a:moveTo>
                    <a:pt x="0" y="17984"/>
                  </a:moveTo>
                  <a:lnTo>
                    <a:pt x="13278" y="17984"/>
                  </a:lnTo>
                  <a:lnTo>
                    <a:pt x="13278" y="68070"/>
                  </a:lnTo>
                  <a:lnTo>
                    <a:pt x="0" y="6807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87" name="Google Shape;287;p69"/>
            <p:cNvSpPr/>
            <p:nvPr/>
          </p:nvSpPr>
          <p:spPr>
            <a:xfrm rot="-5400000">
              <a:off x="12018641" y="6273739"/>
              <a:ext cx="45208" cy="51255"/>
            </a:xfrm>
            <a:custGeom>
              <a:avLst/>
              <a:gdLst/>
              <a:ahLst/>
              <a:cxnLst/>
              <a:rect l="l" t="t" r="r" b="b"/>
              <a:pathLst>
                <a:path w="45208" h="51255" extrusionOk="0">
                  <a:moveTo>
                    <a:pt x="40296" y="4038"/>
                  </a:moveTo>
                  <a:cubicBezTo>
                    <a:pt x="43560" y="6752"/>
                    <a:pt x="45209" y="11252"/>
                    <a:pt x="45209" y="17521"/>
                  </a:cubicBezTo>
                  <a:lnTo>
                    <a:pt x="45209" y="51256"/>
                  </a:lnTo>
                  <a:lnTo>
                    <a:pt x="31794" y="51256"/>
                  </a:lnTo>
                  <a:lnTo>
                    <a:pt x="31794" y="20785"/>
                  </a:lnTo>
                  <a:cubicBezTo>
                    <a:pt x="31900" y="18711"/>
                    <a:pt x="31543" y="16639"/>
                    <a:pt x="30746" y="14722"/>
                  </a:cubicBezTo>
                  <a:cubicBezTo>
                    <a:pt x="29458" y="12162"/>
                    <a:pt x="27036" y="10874"/>
                    <a:pt x="23446" y="10874"/>
                  </a:cubicBezTo>
                  <a:cubicBezTo>
                    <a:pt x="19511" y="10565"/>
                    <a:pt x="15833" y="12857"/>
                    <a:pt x="14377" y="16525"/>
                  </a:cubicBezTo>
                  <a:cubicBezTo>
                    <a:pt x="13439" y="18955"/>
                    <a:pt x="13001" y="21549"/>
                    <a:pt x="13089" y="24151"/>
                  </a:cubicBezTo>
                  <a:lnTo>
                    <a:pt x="13089" y="51256"/>
                  </a:lnTo>
                  <a:lnTo>
                    <a:pt x="0" y="51256"/>
                  </a:lnTo>
                  <a:lnTo>
                    <a:pt x="0" y="1272"/>
                  </a:lnTo>
                  <a:lnTo>
                    <a:pt x="12676" y="1272"/>
                  </a:lnTo>
                  <a:lnTo>
                    <a:pt x="12676" y="8607"/>
                  </a:lnTo>
                  <a:cubicBezTo>
                    <a:pt x="13946" y="6502"/>
                    <a:pt x="15553" y="4622"/>
                    <a:pt x="17434" y="3042"/>
                  </a:cubicBezTo>
                  <a:cubicBezTo>
                    <a:pt x="20409" y="938"/>
                    <a:pt x="23996" y="-125"/>
                    <a:pt x="27637" y="18"/>
                  </a:cubicBezTo>
                  <a:cubicBezTo>
                    <a:pt x="32199" y="-181"/>
                    <a:pt x="36684" y="1243"/>
                    <a:pt x="40296" y="403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88" name="Google Shape;288;p69"/>
            <p:cNvSpPr/>
            <p:nvPr/>
          </p:nvSpPr>
          <p:spPr>
            <a:xfrm rot="-5400000">
              <a:off x="12017163" y="6218687"/>
              <a:ext cx="48082" cy="51510"/>
            </a:xfrm>
            <a:custGeom>
              <a:avLst/>
              <a:gdLst/>
              <a:ahLst/>
              <a:cxnLst/>
              <a:rect l="l" t="t" r="r" b="b"/>
              <a:pathLst>
                <a:path w="48082" h="51510" extrusionOk="0">
                  <a:moveTo>
                    <a:pt x="35384" y="2281"/>
                  </a:moveTo>
                  <a:cubicBezTo>
                    <a:pt x="38804" y="3821"/>
                    <a:pt x="41712" y="6306"/>
                    <a:pt x="43766" y="9444"/>
                  </a:cubicBezTo>
                  <a:cubicBezTo>
                    <a:pt x="45803" y="12448"/>
                    <a:pt x="47126" y="15880"/>
                    <a:pt x="47631" y="19475"/>
                  </a:cubicBezTo>
                  <a:cubicBezTo>
                    <a:pt x="48021" y="22665"/>
                    <a:pt x="48160" y="25881"/>
                    <a:pt x="48043" y="29094"/>
                  </a:cubicBezTo>
                  <a:lnTo>
                    <a:pt x="12711" y="29094"/>
                  </a:lnTo>
                  <a:cubicBezTo>
                    <a:pt x="12900" y="33955"/>
                    <a:pt x="14600" y="37373"/>
                    <a:pt x="17778" y="39400"/>
                  </a:cubicBezTo>
                  <a:cubicBezTo>
                    <a:pt x="19884" y="40669"/>
                    <a:pt x="22311" y="41306"/>
                    <a:pt x="24769" y="41237"/>
                  </a:cubicBezTo>
                  <a:cubicBezTo>
                    <a:pt x="27307" y="41354"/>
                    <a:pt x="29803" y="40563"/>
                    <a:pt x="31811" y="39004"/>
                  </a:cubicBezTo>
                  <a:cubicBezTo>
                    <a:pt x="32891" y="38080"/>
                    <a:pt x="33774" y="36947"/>
                    <a:pt x="34405" y="35672"/>
                  </a:cubicBezTo>
                  <a:lnTo>
                    <a:pt x="47407" y="35672"/>
                  </a:lnTo>
                  <a:cubicBezTo>
                    <a:pt x="46818" y="39021"/>
                    <a:pt x="45169" y="42092"/>
                    <a:pt x="42701" y="44432"/>
                  </a:cubicBezTo>
                  <a:cubicBezTo>
                    <a:pt x="38355" y="49156"/>
                    <a:pt x="32292" y="51509"/>
                    <a:pt x="24459" y="51509"/>
                  </a:cubicBezTo>
                  <a:cubicBezTo>
                    <a:pt x="18245" y="51584"/>
                    <a:pt x="12202" y="49474"/>
                    <a:pt x="7386" y="45549"/>
                  </a:cubicBezTo>
                  <a:cubicBezTo>
                    <a:pt x="2461" y="41564"/>
                    <a:pt x="0" y="35094"/>
                    <a:pt x="0" y="26139"/>
                  </a:cubicBezTo>
                  <a:cubicBezTo>
                    <a:pt x="0" y="17746"/>
                    <a:pt x="2228" y="11304"/>
                    <a:pt x="6682" y="6816"/>
                  </a:cubicBezTo>
                  <a:cubicBezTo>
                    <a:pt x="11252" y="2254"/>
                    <a:pt x="17508" y="-208"/>
                    <a:pt x="23961" y="14"/>
                  </a:cubicBezTo>
                  <a:cubicBezTo>
                    <a:pt x="27886" y="-52"/>
                    <a:pt x="31782" y="721"/>
                    <a:pt x="35384" y="2281"/>
                  </a:cubicBezTo>
                  <a:close/>
                  <a:moveTo>
                    <a:pt x="16490" y="13223"/>
                  </a:moveTo>
                  <a:cubicBezTo>
                    <a:pt x="14554" y="15309"/>
                    <a:pt x="13350" y="17967"/>
                    <a:pt x="13054" y="20797"/>
                  </a:cubicBezTo>
                  <a:lnTo>
                    <a:pt x="34886" y="20797"/>
                  </a:lnTo>
                  <a:cubicBezTo>
                    <a:pt x="34844" y="17880"/>
                    <a:pt x="33601" y="15108"/>
                    <a:pt x="31450" y="13137"/>
                  </a:cubicBezTo>
                  <a:cubicBezTo>
                    <a:pt x="29363" y="11367"/>
                    <a:pt x="26698" y="10426"/>
                    <a:pt x="23961" y="10491"/>
                  </a:cubicBezTo>
                  <a:cubicBezTo>
                    <a:pt x="21201" y="10337"/>
                    <a:pt x="18499" y="11325"/>
                    <a:pt x="16490" y="13223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289" name="Google Shape;289;p69"/>
          <p:cNvSpPr txBox="1"/>
          <p:nvPr/>
        </p:nvSpPr>
        <p:spPr>
          <a:xfrm rot="-5400000">
            <a:off x="11250971" y="5290633"/>
            <a:ext cx="1567737" cy="110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</a:pPr>
            <a:r>
              <a:rPr lang="en-US" sz="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Copyright © 2020. All rights reserved.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90" name="Google Shape;290;p69"/>
          <p:cNvSpPr txBox="1">
            <a:spLocks noGrp="1"/>
          </p:cNvSpPr>
          <p:nvPr>
            <p:ph type="sldNum" idx="12"/>
          </p:nvPr>
        </p:nvSpPr>
        <p:spPr>
          <a:xfrm>
            <a:off x="11490153" y="6465614"/>
            <a:ext cx="150682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marL="0" marR="0" lvl="0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91" name="Google Shape;291;p69"/>
          <p:cNvCxnSpPr/>
          <p:nvPr/>
        </p:nvCxnSpPr>
        <p:spPr>
          <a:xfrm>
            <a:off x="992389" y="5712304"/>
            <a:ext cx="1542466" cy="0"/>
          </a:xfrm>
          <a:prstGeom prst="straightConnector1">
            <a:avLst/>
          </a:prstGeom>
          <a:noFill/>
          <a:ln w="38100" cap="flat" cmpd="sng">
            <a:solidFill>
              <a:schemeClr val="lt1"/>
            </a:solidFill>
            <a:prstDash val="solid"/>
            <a:miter lim="800000"/>
            <a:headEnd type="none" w="sm" len="sm"/>
            <a:tailEnd type="none" w="sm" len="sm"/>
          </a:ln>
        </p:spPr>
      </p:cxnSp>
    </p:spTree>
    <p:extLst>
      <p:ext uri="{BB962C8B-B14F-4D97-AF65-F5344CB8AC3E}">
        <p14:creationId xmlns:p14="http://schemas.microsoft.com/office/powerpoint/2010/main" val="29721731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:ahyp="http://schemas.microsoft.com/office/drawing/2018/hyperlinkcolor" xmlns:p15="http://schemas.microsoft.com/office/powerpoint/2012/main" xmlns:com="http://schemas.openxmlformats.org/drawingml/2006/compatibility" xmlns:pvml="urn:schemas-microsoft-com:office:powerpoint" xmlns:v="urn:schemas-microsoft-com:vml" xmlns:o="urn:schemas-microsoft-com:office:office" xmlns:dgm="http://schemas.openxmlformats.org/drawingml/2006/diagram" xmlns:c="http://schemas.openxmlformats.org/drawingml/2006/chart" xmlns:mv="urn:schemas-microsoft-com:mac:vml" xmlns="">
      <p:transition>
        <p:fade/>
      </p:transition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Guides">
  <p:cSld name="Guides">
    <p:spTree>
      <p:nvGrpSpPr>
        <p:cNvPr id="1" name="Shape 29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3" name="Google Shape;293;p70"/>
          <p:cNvSpPr/>
          <p:nvPr/>
        </p:nvSpPr>
        <p:spPr>
          <a:xfrm>
            <a:off x="0" y="0"/>
            <a:ext cx="12193200" cy="6858000"/>
          </a:xfrm>
          <a:custGeom>
            <a:avLst/>
            <a:gdLst/>
            <a:ahLst/>
            <a:cxnLst/>
            <a:rect l="l" t="t" r="r" b="b"/>
            <a:pathLst>
              <a:path w="12193200" h="6858000" extrusionOk="0">
                <a:moveTo>
                  <a:pt x="566584" y="549276"/>
                </a:moveTo>
                <a:lnTo>
                  <a:pt x="566584" y="6308726"/>
                </a:lnTo>
                <a:lnTo>
                  <a:pt x="11641138" y="6308726"/>
                </a:lnTo>
                <a:lnTo>
                  <a:pt x="11641138" y="549276"/>
                </a:lnTo>
                <a:close/>
                <a:moveTo>
                  <a:pt x="0" y="0"/>
                </a:moveTo>
                <a:lnTo>
                  <a:pt x="12193200" y="0"/>
                </a:lnTo>
                <a:lnTo>
                  <a:pt x="12193200" y="622800"/>
                </a:lnTo>
                <a:lnTo>
                  <a:pt x="12192000" y="622800"/>
                </a:lnTo>
                <a:lnTo>
                  <a:pt x="12192000" y="6160597"/>
                </a:lnTo>
                <a:lnTo>
                  <a:pt x="12193200" y="6160597"/>
                </a:lnTo>
                <a:lnTo>
                  <a:pt x="12193200" y="6858000"/>
                </a:lnTo>
                <a:lnTo>
                  <a:pt x="12192000" y="6858000"/>
                </a:lnTo>
                <a:lnTo>
                  <a:pt x="11562000" y="6858000"/>
                </a:lnTo>
                <a:lnTo>
                  <a:pt x="630001" y="6858000"/>
                </a:lnTo>
                <a:lnTo>
                  <a:pt x="1" y="6858000"/>
                </a:lnTo>
                <a:lnTo>
                  <a:pt x="1" y="6160597"/>
                </a:lnTo>
                <a:lnTo>
                  <a:pt x="1" y="622800"/>
                </a:lnTo>
                <a:lnTo>
                  <a:pt x="0" y="622800"/>
                </a:lnTo>
                <a:close/>
              </a:path>
            </a:pathLst>
          </a:custGeom>
          <a:solidFill>
            <a:srgbClr val="FF0000">
              <a:alpha val="3137"/>
            </a:srgbClr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grpSp>
        <p:nvGrpSpPr>
          <p:cNvPr id="294" name="Google Shape;294;p70"/>
          <p:cNvGrpSpPr/>
          <p:nvPr/>
        </p:nvGrpSpPr>
        <p:grpSpPr>
          <a:xfrm>
            <a:off x="-600" y="549275"/>
            <a:ext cx="12193201" cy="5759450"/>
            <a:chOff x="-600" y="549275"/>
            <a:chExt cx="12193201" cy="5759450"/>
          </a:xfrm>
        </p:grpSpPr>
        <p:cxnSp>
          <p:nvCxnSpPr>
            <p:cNvPr id="295" name="Google Shape;295;p70"/>
            <p:cNvCxnSpPr/>
            <p:nvPr/>
          </p:nvCxnSpPr>
          <p:spPr>
            <a:xfrm>
              <a:off x="-600" y="549275"/>
              <a:ext cx="12193201" cy="0"/>
            </a:xfrm>
            <a:prstGeom prst="straightConnector1">
              <a:avLst/>
            </a:prstGeom>
            <a:noFill/>
            <a:ln w="9525" cap="flat" cmpd="sng">
              <a:solidFill>
                <a:schemeClr val="dk2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296" name="Google Shape;296;p70"/>
            <p:cNvCxnSpPr/>
            <p:nvPr/>
          </p:nvCxnSpPr>
          <p:spPr>
            <a:xfrm>
              <a:off x="-600" y="1072861"/>
              <a:ext cx="12193201" cy="0"/>
            </a:xfrm>
            <a:prstGeom prst="straightConnector1">
              <a:avLst/>
            </a:prstGeom>
            <a:noFill/>
            <a:ln w="9525" cap="flat" cmpd="sng">
              <a:solidFill>
                <a:schemeClr val="dk2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297" name="Google Shape;297;p70"/>
            <p:cNvCxnSpPr/>
            <p:nvPr/>
          </p:nvCxnSpPr>
          <p:spPr>
            <a:xfrm>
              <a:off x="-600" y="1334654"/>
              <a:ext cx="12193201" cy="0"/>
            </a:xfrm>
            <a:prstGeom prst="straightConnector1">
              <a:avLst/>
            </a:prstGeom>
            <a:noFill/>
            <a:ln w="9525" cap="flat" cmpd="sng">
              <a:solidFill>
                <a:schemeClr val="dk2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298" name="Google Shape;298;p70"/>
            <p:cNvCxnSpPr/>
            <p:nvPr/>
          </p:nvCxnSpPr>
          <p:spPr>
            <a:xfrm>
              <a:off x="-600" y="1596447"/>
              <a:ext cx="12193201" cy="0"/>
            </a:xfrm>
            <a:prstGeom prst="straightConnector1">
              <a:avLst/>
            </a:prstGeom>
            <a:noFill/>
            <a:ln w="9525" cap="flat" cmpd="sng">
              <a:solidFill>
                <a:schemeClr val="dk2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299" name="Google Shape;299;p70"/>
            <p:cNvCxnSpPr/>
            <p:nvPr/>
          </p:nvCxnSpPr>
          <p:spPr>
            <a:xfrm>
              <a:off x="-600" y="1858240"/>
              <a:ext cx="12193201" cy="0"/>
            </a:xfrm>
            <a:prstGeom prst="straightConnector1">
              <a:avLst/>
            </a:prstGeom>
            <a:noFill/>
            <a:ln w="9525" cap="flat" cmpd="sng">
              <a:solidFill>
                <a:schemeClr val="dk2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300" name="Google Shape;300;p70"/>
            <p:cNvCxnSpPr/>
            <p:nvPr/>
          </p:nvCxnSpPr>
          <p:spPr>
            <a:xfrm>
              <a:off x="-600" y="2120033"/>
              <a:ext cx="12193201" cy="0"/>
            </a:xfrm>
            <a:prstGeom prst="straightConnector1">
              <a:avLst/>
            </a:prstGeom>
            <a:noFill/>
            <a:ln w="9525" cap="flat" cmpd="sng">
              <a:solidFill>
                <a:schemeClr val="dk2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301" name="Google Shape;301;p70"/>
            <p:cNvCxnSpPr/>
            <p:nvPr/>
          </p:nvCxnSpPr>
          <p:spPr>
            <a:xfrm>
              <a:off x="-600" y="2381826"/>
              <a:ext cx="12193201" cy="0"/>
            </a:xfrm>
            <a:prstGeom prst="straightConnector1">
              <a:avLst/>
            </a:prstGeom>
            <a:noFill/>
            <a:ln w="9525" cap="flat" cmpd="sng">
              <a:solidFill>
                <a:schemeClr val="dk2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302" name="Google Shape;302;p70"/>
            <p:cNvCxnSpPr/>
            <p:nvPr/>
          </p:nvCxnSpPr>
          <p:spPr>
            <a:xfrm>
              <a:off x="-600" y="2643619"/>
              <a:ext cx="12193201" cy="0"/>
            </a:xfrm>
            <a:prstGeom prst="straightConnector1">
              <a:avLst/>
            </a:prstGeom>
            <a:noFill/>
            <a:ln w="9525" cap="flat" cmpd="sng">
              <a:solidFill>
                <a:schemeClr val="dk2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303" name="Google Shape;303;p70"/>
            <p:cNvCxnSpPr/>
            <p:nvPr/>
          </p:nvCxnSpPr>
          <p:spPr>
            <a:xfrm>
              <a:off x="-600" y="2905412"/>
              <a:ext cx="12193201" cy="0"/>
            </a:xfrm>
            <a:prstGeom prst="straightConnector1">
              <a:avLst/>
            </a:prstGeom>
            <a:noFill/>
            <a:ln w="9525" cap="flat" cmpd="sng">
              <a:solidFill>
                <a:schemeClr val="dk2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304" name="Google Shape;304;p70"/>
            <p:cNvCxnSpPr/>
            <p:nvPr/>
          </p:nvCxnSpPr>
          <p:spPr>
            <a:xfrm>
              <a:off x="-600" y="3167205"/>
              <a:ext cx="12193201" cy="0"/>
            </a:xfrm>
            <a:prstGeom prst="straightConnector1">
              <a:avLst/>
            </a:prstGeom>
            <a:noFill/>
            <a:ln w="9525" cap="flat" cmpd="sng">
              <a:solidFill>
                <a:schemeClr val="dk2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305" name="Google Shape;305;p70"/>
            <p:cNvCxnSpPr/>
            <p:nvPr/>
          </p:nvCxnSpPr>
          <p:spPr>
            <a:xfrm>
              <a:off x="-600" y="3428998"/>
              <a:ext cx="12193201" cy="0"/>
            </a:xfrm>
            <a:prstGeom prst="straightConnector1">
              <a:avLst/>
            </a:prstGeom>
            <a:noFill/>
            <a:ln w="9525" cap="flat" cmpd="sng">
              <a:solidFill>
                <a:schemeClr val="dk2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306" name="Google Shape;306;p70"/>
            <p:cNvCxnSpPr/>
            <p:nvPr/>
          </p:nvCxnSpPr>
          <p:spPr>
            <a:xfrm>
              <a:off x="-600" y="3690791"/>
              <a:ext cx="12193201" cy="0"/>
            </a:xfrm>
            <a:prstGeom prst="straightConnector1">
              <a:avLst/>
            </a:prstGeom>
            <a:noFill/>
            <a:ln w="9525" cap="flat" cmpd="sng">
              <a:solidFill>
                <a:schemeClr val="dk2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307" name="Google Shape;307;p70"/>
            <p:cNvCxnSpPr/>
            <p:nvPr/>
          </p:nvCxnSpPr>
          <p:spPr>
            <a:xfrm>
              <a:off x="-600" y="3952584"/>
              <a:ext cx="12193201" cy="0"/>
            </a:xfrm>
            <a:prstGeom prst="straightConnector1">
              <a:avLst/>
            </a:prstGeom>
            <a:noFill/>
            <a:ln w="9525" cap="flat" cmpd="sng">
              <a:solidFill>
                <a:schemeClr val="dk2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308" name="Google Shape;308;p70"/>
            <p:cNvCxnSpPr/>
            <p:nvPr/>
          </p:nvCxnSpPr>
          <p:spPr>
            <a:xfrm>
              <a:off x="-600" y="4214377"/>
              <a:ext cx="12193201" cy="0"/>
            </a:xfrm>
            <a:prstGeom prst="straightConnector1">
              <a:avLst/>
            </a:prstGeom>
            <a:noFill/>
            <a:ln w="9525" cap="flat" cmpd="sng">
              <a:solidFill>
                <a:schemeClr val="dk2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309" name="Google Shape;309;p70"/>
            <p:cNvCxnSpPr/>
            <p:nvPr/>
          </p:nvCxnSpPr>
          <p:spPr>
            <a:xfrm>
              <a:off x="-600" y="4476170"/>
              <a:ext cx="12193201" cy="0"/>
            </a:xfrm>
            <a:prstGeom prst="straightConnector1">
              <a:avLst/>
            </a:prstGeom>
            <a:noFill/>
            <a:ln w="9525" cap="flat" cmpd="sng">
              <a:solidFill>
                <a:schemeClr val="dk2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310" name="Google Shape;310;p70"/>
            <p:cNvCxnSpPr/>
            <p:nvPr/>
          </p:nvCxnSpPr>
          <p:spPr>
            <a:xfrm>
              <a:off x="-600" y="4737963"/>
              <a:ext cx="12193201" cy="0"/>
            </a:xfrm>
            <a:prstGeom prst="straightConnector1">
              <a:avLst/>
            </a:prstGeom>
            <a:noFill/>
            <a:ln w="9525" cap="flat" cmpd="sng">
              <a:solidFill>
                <a:schemeClr val="dk2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311" name="Google Shape;311;p70"/>
            <p:cNvCxnSpPr/>
            <p:nvPr/>
          </p:nvCxnSpPr>
          <p:spPr>
            <a:xfrm>
              <a:off x="-600" y="4999756"/>
              <a:ext cx="12193201" cy="0"/>
            </a:xfrm>
            <a:prstGeom prst="straightConnector1">
              <a:avLst/>
            </a:prstGeom>
            <a:noFill/>
            <a:ln w="9525" cap="flat" cmpd="sng">
              <a:solidFill>
                <a:schemeClr val="dk2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312" name="Google Shape;312;p70"/>
            <p:cNvCxnSpPr/>
            <p:nvPr/>
          </p:nvCxnSpPr>
          <p:spPr>
            <a:xfrm>
              <a:off x="-600" y="5261549"/>
              <a:ext cx="12193201" cy="0"/>
            </a:xfrm>
            <a:prstGeom prst="straightConnector1">
              <a:avLst/>
            </a:prstGeom>
            <a:noFill/>
            <a:ln w="9525" cap="flat" cmpd="sng">
              <a:solidFill>
                <a:schemeClr val="dk2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313" name="Google Shape;313;p70"/>
            <p:cNvCxnSpPr/>
            <p:nvPr/>
          </p:nvCxnSpPr>
          <p:spPr>
            <a:xfrm>
              <a:off x="-600" y="5523342"/>
              <a:ext cx="12193201" cy="0"/>
            </a:xfrm>
            <a:prstGeom prst="straightConnector1">
              <a:avLst/>
            </a:prstGeom>
            <a:noFill/>
            <a:ln w="9525" cap="flat" cmpd="sng">
              <a:solidFill>
                <a:schemeClr val="dk2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314" name="Google Shape;314;p70"/>
            <p:cNvCxnSpPr/>
            <p:nvPr/>
          </p:nvCxnSpPr>
          <p:spPr>
            <a:xfrm>
              <a:off x="-600" y="5785135"/>
              <a:ext cx="12193201" cy="0"/>
            </a:xfrm>
            <a:prstGeom prst="straightConnector1">
              <a:avLst/>
            </a:prstGeom>
            <a:noFill/>
            <a:ln w="9525" cap="flat" cmpd="sng">
              <a:solidFill>
                <a:schemeClr val="dk2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315" name="Google Shape;315;p70"/>
            <p:cNvCxnSpPr/>
            <p:nvPr/>
          </p:nvCxnSpPr>
          <p:spPr>
            <a:xfrm>
              <a:off x="-600" y="811068"/>
              <a:ext cx="12193201" cy="0"/>
            </a:xfrm>
            <a:prstGeom prst="straightConnector1">
              <a:avLst/>
            </a:prstGeom>
            <a:noFill/>
            <a:ln w="9525" cap="flat" cmpd="sng">
              <a:solidFill>
                <a:schemeClr val="dk2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316" name="Google Shape;316;p70"/>
            <p:cNvCxnSpPr/>
            <p:nvPr/>
          </p:nvCxnSpPr>
          <p:spPr>
            <a:xfrm>
              <a:off x="-600" y="6308725"/>
              <a:ext cx="12193201" cy="0"/>
            </a:xfrm>
            <a:prstGeom prst="straightConnector1">
              <a:avLst/>
            </a:prstGeom>
            <a:noFill/>
            <a:ln w="9525" cap="flat" cmpd="sng">
              <a:solidFill>
                <a:schemeClr val="dk2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317" name="Google Shape;317;p70"/>
            <p:cNvCxnSpPr/>
            <p:nvPr/>
          </p:nvCxnSpPr>
          <p:spPr>
            <a:xfrm>
              <a:off x="-600" y="6046928"/>
              <a:ext cx="12193201" cy="0"/>
            </a:xfrm>
            <a:prstGeom prst="straightConnector1">
              <a:avLst/>
            </a:prstGeom>
            <a:noFill/>
            <a:ln w="9525" cap="flat" cmpd="sng">
              <a:solidFill>
                <a:schemeClr val="dk2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</p:grpSp>
      <p:sp>
        <p:nvSpPr>
          <p:cNvPr id="318" name="Google Shape;318;p70"/>
          <p:cNvSpPr/>
          <p:nvPr/>
        </p:nvSpPr>
        <p:spPr>
          <a:xfrm>
            <a:off x="550263" y="6308721"/>
            <a:ext cx="11090873" cy="261799"/>
          </a:xfrm>
          <a:prstGeom prst="rect">
            <a:avLst/>
          </a:prstGeom>
          <a:solidFill>
            <a:srgbClr val="FF0000">
              <a:alpha val="8235"/>
            </a:srgbClr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19" name="Google Shape;319;p70"/>
          <p:cNvSpPr/>
          <p:nvPr/>
        </p:nvSpPr>
        <p:spPr>
          <a:xfrm>
            <a:off x="550864" y="1348221"/>
            <a:ext cx="11105556" cy="509202"/>
          </a:xfrm>
          <a:prstGeom prst="rect">
            <a:avLst/>
          </a:prstGeom>
          <a:solidFill>
            <a:srgbClr val="FF0000">
              <a:alpha val="3137"/>
            </a:srgbClr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20" name="Google Shape;320;p70"/>
          <p:cNvSpPr/>
          <p:nvPr/>
        </p:nvSpPr>
        <p:spPr>
          <a:xfrm>
            <a:off x="550863" y="2120033"/>
            <a:ext cx="11090275" cy="4188692"/>
          </a:xfrm>
          <a:custGeom>
            <a:avLst/>
            <a:gdLst/>
            <a:ahLst/>
            <a:cxnLst/>
            <a:rect l="l" t="t" r="r" b="b"/>
            <a:pathLst>
              <a:path w="10931999" h="5537797" extrusionOk="0">
                <a:moveTo>
                  <a:pt x="0" y="0"/>
                </a:moveTo>
                <a:lnTo>
                  <a:pt x="10931999" y="0"/>
                </a:lnTo>
                <a:lnTo>
                  <a:pt x="10931999" y="5537797"/>
                </a:lnTo>
                <a:lnTo>
                  <a:pt x="0" y="5537797"/>
                </a:lnTo>
                <a:close/>
              </a:path>
            </a:pathLst>
          </a:custGeom>
          <a:noFill/>
          <a:ln w="9525" cap="flat" cmpd="sng">
            <a:solidFill>
              <a:schemeClr val="dk2">
                <a:alpha val="33333"/>
              </a:schemeClr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endParaRPr sz="12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grpSp>
        <p:nvGrpSpPr>
          <p:cNvPr id="321" name="Google Shape;321;p70"/>
          <p:cNvGrpSpPr/>
          <p:nvPr/>
        </p:nvGrpSpPr>
        <p:grpSpPr>
          <a:xfrm>
            <a:off x="1215339" y="1857423"/>
            <a:ext cx="9763000" cy="4458091"/>
            <a:chOff x="1215339" y="549274"/>
            <a:chExt cx="9763000" cy="5759450"/>
          </a:xfrm>
        </p:grpSpPr>
        <p:sp>
          <p:nvSpPr>
            <p:cNvPr id="322" name="Google Shape;322;p70"/>
            <p:cNvSpPr/>
            <p:nvPr/>
          </p:nvSpPr>
          <p:spPr>
            <a:xfrm>
              <a:off x="6900339" y="549274"/>
              <a:ext cx="288000" cy="5759450"/>
            </a:xfrm>
            <a:prstGeom prst="rect">
              <a:avLst/>
            </a:prstGeom>
            <a:solidFill>
              <a:srgbClr val="9EB5FA">
                <a:alpha val="8235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23" name="Google Shape;323;p70"/>
            <p:cNvSpPr/>
            <p:nvPr/>
          </p:nvSpPr>
          <p:spPr>
            <a:xfrm>
              <a:off x="8795339" y="549274"/>
              <a:ext cx="288000" cy="5759450"/>
            </a:xfrm>
            <a:prstGeom prst="rect">
              <a:avLst/>
            </a:prstGeom>
            <a:solidFill>
              <a:srgbClr val="9EB5FA">
                <a:alpha val="8235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24" name="Google Shape;324;p70"/>
            <p:cNvSpPr/>
            <p:nvPr/>
          </p:nvSpPr>
          <p:spPr>
            <a:xfrm>
              <a:off x="7847839" y="549274"/>
              <a:ext cx="288000" cy="5759450"/>
            </a:xfrm>
            <a:prstGeom prst="rect">
              <a:avLst/>
            </a:prstGeom>
            <a:solidFill>
              <a:srgbClr val="9EB5FA">
                <a:alpha val="8235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25" name="Google Shape;325;p70"/>
            <p:cNvSpPr/>
            <p:nvPr/>
          </p:nvSpPr>
          <p:spPr>
            <a:xfrm>
              <a:off x="9742839" y="549274"/>
              <a:ext cx="288000" cy="5759450"/>
            </a:xfrm>
            <a:prstGeom prst="rect">
              <a:avLst/>
            </a:prstGeom>
            <a:solidFill>
              <a:srgbClr val="9EB5FA">
                <a:alpha val="8235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26" name="Google Shape;326;p70"/>
            <p:cNvSpPr/>
            <p:nvPr/>
          </p:nvSpPr>
          <p:spPr>
            <a:xfrm>
              <a:off x="10690339" y="549274"/>
              <a:ext cx="288000" cy="5759450"/>
            </a:xfrm>
            <a:prstGeom prst="rect">
              <a:avLst/>
            </a:prstGeom>
            <a:solidFill>
              <a:srgbClr val="9EB5FA">
                <a:alpha val="8235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27" name="Google Shape;327;p70"/>
            <p:cNvSpPr/>
            <p:nvPr/>
          </p:nvSpPr>
          <p:spPr>
            <a:xfrm>
              <a:off x="5952839" y="549274"/>
              <a:ext cx="288000" cy="5759450"/>
            </a:xfrm>
            <a:prstGeom prst="rect">
              <a:avLst/>
            </a:prstGeom>
            <a:solidFill>
              <a:srgbClr val="9EB5FA">
                <a:alpha val="28235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28" name="Google Shape;328;p70"/>
            <p:cNvSpPr/>
            <p:nvPr/>
          </p:nvSpPr>
          <p:spPr>
            <a:xfrm>
              <a:off x="1215339" y="549274"/>
              <a:ext cx="288000" cy="5759450"/>
            </a:xfrm>
            <a:prstGeom prst="rect">
              <a:avLst/>
            </a:prstGeom>
            <a:solidFill>
              <a:srgbClr val="9EB5FA">
                <a:alpha val="8235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29" name="Google Shape;329;p70"/>
            <p:cNvSpPr/>
            <p:nvPr/>
          </p:nvSpPr>
          <p:spPr>
            <a:xfrm>
              <a:off x="2162839" y="549274"/>
              <a:ext cx="288000" cy="5759450"/>
            </a:xfrm>
            <a:prstGeom prst="rect">
              <a:avLst/>
            </a:prstGeom>
            <a:solidFill>
              <a:srgbClr val="9EB5FA">
                <a:alpha val="8235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30" name="Google Shape;330;p70"/>
            <p:cNvSpPr/>
            <p:nvPr/>
          </p:nvSpPr>
          <p:spPr>
            <a:xfrm>
              <a:off x="3110339" y="549274"/>
              <a:ext cx="288000" cy="5759450"/>
            </a:xfrm>
            <a:prstGeom prst="rect">
              <a:avLst/>
            </a:prstGeom>
            <a:solidFill>
              <a:srgbClr val="9EB5FA">
                <a:alpha val="8235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31" name="Google Shape;331;p70"/>
            <p:cNvSpPr/>
            <p:nvPr/>
          </p:nvSpPr>
          <p:spPr>
            <a:xfrm>
              <a:off x="4057839" y="549274"/>
              <a:ext cx="288000" cy="5759450"/>
            </a:xfrm>
            <a:prstGeom prst="rect">
              <a:avLst/>
            </a:prstGeom>
            <a:solidFill>
              <a:srgbClr val="9EB5FA">
                <a:alpha val="8235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32" name="Google Shape;332;p70"/>
            <p:cNvSpPr/>
            <p:nvPr/>
          </p:nvSpPr>
          <p:spPr>
            <a:xfrm>
              <a:off x="5005339" y="549274"/>
              <a:ext cx="288000" cy="5759450"/>
            </a:xfrm>
            <a:prstGeom prst="rect">
              <a:avLst/>
            </a:prstGeom>
            <a:solidFill>
              <a:srgbClr val="9EB5FA">
                <a:alpha val="8235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333" name="Google Shape;333;p70"/>
          <p:cNvSpPr txBox="1"/>
          <p:nvPr/>
        </p:nvSpPr>
        <p:spPr>
          <a:xfrm>
            <a:off x="550862" y="6309543"/>
            <a:ext cx="9030915" cy="27770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1000"/>
              <a:buFont typeface="Calibri"/>
              <a:buNone/>
            </a:pPr>
            <a:r>
              <a:rPr lang="en-US"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rPr>
              <a:t>Footnotes/Notes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1000"/>
              <a:buFont typeface="Calibri"/>
              <a:buNone/>
            </a:pPr>
            <a:r>
              <a:rPr lang="en-US"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rPr>
              <a:t>Source: Include a source here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34" name="Google Shape;334;p70"/>
          <p:cNvSpPr txBox="1">
            <a:spLocks noGrp="1"/>
          </p:cNvSpPr>
          <p:nvPr>
            <p:ph type="sldNum" idx="12"/>
          </p:nvPr>
        </p:nvSpPr>
        <p:spPr>
          <a:xfrm>
            <a:off x="11490153" y="6450225"/>
            <a:ext cx="150682" cy="1538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marL="0" marR="0" lvl="0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335" name="Google Shape;335;p70"/>
          <p:cNvSpPr txBox="1">
            <a:spLocks noGrp="1"/>
          </p:cNvSpPr>
          <p:nvPr>
            <p:ph type="title"/>
          </p:nvPr>
        </p:nvSpPr>
        <p:spPr>
          <a:xfrm>
            <a:off x="539400" y="560588"/>
            <a:ext cx="11089972" cy="42229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200"/>
              <a:buFont typeface="Franklin Gothic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336" name="Google Shape;336;p70"/>
          <p:cNvGrpSpPr/>
          <p:nvPr/>
        </p:nvGrpSpPr>
        <p:grpSpPr>
          <a:xfrm>
            <a:off x="550864" y="6156603"/>
            <a:ext cx="11089971" cy="55199"/>
            <a:chOff x="550864" y="6156603"/>
            <a:chExt cx="11089971" cy="55199"/>
          </a:xfrm>
        </p:grpSpPr>
        <p:sp>
          <p:nvSpPr>
            <p:cNvPr id="337" name="Google Shape;337;p70"/>
            <p:cNvSpPr/>
            <p:nvPr/>
          </p:nvSpPr>
          <p:spPr>
            <a:xfrm>
              <a:off x="550864" y="6156603"/>
              <a:ext cx="1983600" cy="55199"/>
            </a:xfrm>
            <a:prstGeom prst="rect">
              <a:avLst/>
            </a:prstGeom>
            <a:solidFill>
              <a:srgbClr val="9EB5FA">
                <a:alpha val="28235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38" name="Google Shape;338;p70"/>
            <p:cNvSpPr/>
            <p:nvPr/>
          </p:nvSpPr>
          <p:spPr>
            <a:xfrm>
              <a:off x="5104050" y="6156603"/>
              <a:ext cx="1983600" cy="55199"/>
            </a:xfrm>
            <a:prstGeom prst="rect">
              <a:avLst/>
            </a:prstGeom>
            <a:solidFill>
              <a:srgbClr val="9EB5FA">
                <a:alpha val="28235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39" name="Google Shape;339;p70"/>
            <p:cNvSpPr/>
            <p:nvPr/>
          </p:nvSpPr>
          <p:spPr>
            <a:xfrm>
              <a:off x="7380643" y="6156603"/>
              <a:ext cx="1983600" cy="55199"/>
            </a:xfrm>
            <a:prstGeom prst="rect">
              <a:avLst/>
            </a:prstGeom>
            <a:solidFill>
              <a:srgbClr val="9EB5FA">
                <a:alpha val="28235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40" name="Google Shape;340;p70"/>
            <p:cNvSpPr/>
            <p:nvPr/>
          </p:nvSpPr>
          <p:spPr>
            <a:xfrm>
              <a:off x="9657235" y="6156603"/>
              <a:ext cx="1983600" cy="55199"/>
            </a:xfrm>
            <a:prstGeom prst="rect">
              <a:avLst/>
            </a:prstGeom>
            <a:solidFill>
              <a:srgbClr val="9EB5FA">
                <a:alpha val="28235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41" name="Google Shape;341;p70"/>
            <p:cNvSpPr/>
            <p:nvPr/>
          </p:nvSpPr>
          <p:spPr>
            <a:xfrm>
              <a:off x="2827457" y="6156603"/>
              <a:ext cx="1983600" cy="55199"/>
            </a:xfrm>
            <a:prstGeom prst="rect">
              <a:avLst/>
            </a:prstGeom>
            <a:solidFill>
              <a:srgbClr val="9EB5FA">
                <a:alpha val="28235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186889676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5_Full-width Page">
  <p:cSld name="5_Full-width Page">
    <p:spTree>
      <p:nvGrpSpPr>
        <p:cNvPr id="1" name="Shape 34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43" name="Google Shape;343;p7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" y="0"/>
            <a:ext cx="3492498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344" name="Google Shape;344;p71"/>
          <p:cNvSpPr/>
          <p:nvPr/>
        </p:nvSpPr>
        <p:spPr>
          <a:xfrm>
            <a:off x="0" y="-1"/>
            <a:ext cx="3492497" cy="6857999"/>
          </a:xfrm>
          <a:prstGeom prst="rect">
            <a:avLst/>
          </a:prstGeom>
          <a:gradFill>
            <a:gsLst>
              <a:gs pos="0">
                <a:schemeClr val="dk2"/>
              </a:gs>
              <a:gs pos="76000">
                <a:srgbClr val="4873F5">
                  <a:alpha val="83137"/>
                </a:srgbClr>
              </a:gs>
              <a:gs pos="100000">
                <a:srgbClr val="00B9FF">
                  <a:alpha val="80000"/>
                </a:srgbClr>
              </a:gs>
            </a:gsLst>
            <a:lin ang="300000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45" name="Google Shape;345;p71"/>
          <p:cNvSpPr txBox="1">
            <a:spLocks noGrp="1"/>
          </p:cNvSpPr>
          <p:nvPr>
            <p:ph type="title"/>
          </p:nvPr>
        </p:nvSpPr>
        <p:spPr>
          <a:xfrm>
            <a:off x="376385" y="410423"/>
            <a:ext cx="3023598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Franklin Gothic"/>
              <a:buNone/>
              <a:defRPr>
                <a:solidFill>
                  <a:schemeClr val="lt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cxnSp>
        <p:nvCxnSpPr>
          <p:cNvPr id="346" name="Google Shape;346;p71"/>
          <p:cNvCxnSpPr/>
          <p:nvPr/>
        </p:nvCxnSpPr>
        <p:spPr>
          <a:xfrm>
            <a:off x="362847" y="361101"/>
            <a:ext cx="540000" cy="0"/>
          </a:xfrm>
          <a:prstGeom prst="straightConnector1">
            <a:avLst/>
          </a:prstGeom>
          <a:noFill/>
          <a:ln w="38100" cap="flat" cmpd="sng">
            <a:solidFill>
              <a:schemeClr val="lt1"/>
            </a:solidFill>
            <a:prstDash val="solid"/>
            <a:miter lim="800000"/>
            <a:headEnd type="none" w="sm" len="sm"/>
            <a:tailEnd type="none" w="sm" len="sm"/>
          </a:ln>
        </p:spPr>
      </p:cxnSp>
    </p:spTree>
    <p:extLst>
      <p:ext uri="{BB962C8B-B14F-4D97-AF65-F5344CB8AC3E}">
        <p14:creationId xmlns:p14="http://schemas.microsoft.com/office/powerpoint/2010/main" val="1265224993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/2 Blue on Right">
  <p:cSld name="1/2 Blue on Right">
    <p:spTree>
      <p:nvGrpSpPr>
        <p:cNvPr id="1" name="Shape 6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" name="Google Shape;65;p48"/>
          <p:cNvSpPr/>
          <p:nvPr/>
        </p:nvSpPr>
        <p:spPr>
          <a:xfrm>
            <a:off x="6096000" y="-1"/>
            <a:ext cx="6098539" cy="6858001"/>
          </a:xfrm>
          <a:prstGeom prst="rect">
            <a:avLst/>
          </a:prstGeom>
          <a:gradFill>
            <a:gsLst>
              <a:gs pos="0">
                <a:srgbClr val="062379"/>
              </a:gs>
              <a:gs pos="16000">
                <a:srgbClr val="062379"/>
              </a:gs>
              <a:gs pos="45000">
                <a:srgbClr val="0934B6">
                  <a:alpha val="87843"/>
                </a:srgbClr>
              </a:gs>
              <a:gs pos="79000">
                <a:srgbClr val="036DFF">
                  <a:alpha val="80000"/>
                </a:srgbClr>
              </a:gs>
              <a:gs pos="100000">
                <a:srgbClr val="43E1D3"/>
              </a:gs>
            </a:gsLst>
            <a:lin ang="270000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6" name="Google Shape;66;p48"/>
          <p:cNvSpPr txBox="1">
            <a:spLocks noGrp="1"/>
          </p:cNvSpPr>
          <p:nvPr>
            <p:ph type="title"/>
          </p:nvPr>
        </p:nvSpPr>
        <p:spPr>
          <a:xfrm>
            <a:off x="539400" y="562841"/>
            <a:ext cx="5205071" cy="83715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200"/>
              <a:buFont typeface="Franklin Gothic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7" name="Google Shape;67;p48"/>
          <p:cNvSpPr txBox="1">
            <a:spLocks noGrp="1"/>
          </p:cNvSpPr>
          <p:nvPr>
            <p:ph type="sldNum" idx="12"/>
          </p:nvPr>
        </p:nvSpPr>
        <p:spPr>
          <a:xfrm>
            <a:off x="11490453" y="6445294"/>
            <a:ext cx="150683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marL="0" marR="0" lvl="0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8" name="Google Shape;68;p48"/>
          <p:cNvCxnSpPr/>
          <p:nvPr/>
        </p:nvCxnSpPr>
        <p:spPr>
          <a:xfrm>
            <a:off x="539400" y="484910"/>
            <a:ext cx="540000" cy="0"/>
          </a:xfrm>
          <a:prstGeom prst="straightConnector1">
            <a:avLst/>
          </a:prstGeom>
          <a:noFill/>
          <a:ln w="38100" cap="flat" cmpd="sng">
            <a:solidFill>
              <a:schemeClr val="dk2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69" name="Google Shape;69;p48"/>
          <p:cNvGrpSpPr/>
          <p:nvPr/>
        </p:nvGrpSpPr>
        <p:grpSpPr>
          <a:xfrm>
            <a:off x="11998459" y="6162188"/>
            <a:ext cx="68500" cy="441925"/>
            <a:chOff x="11998459" y="6162188"/>
            <a:chExt cx="68500" cy="441925"/>
          </a:xfrm>
        </p:grpSpPr>
        <p:sp>
          <p:nvSpPr>
            <p:cNvPr id="70" name="Google Shape;70;p48"/>
            <p:cNvSpPr/>
            <p:nvPr/>
          </p:nvSpPr>
          <p:spPr>
            <a:xfrm rot="-5400000">
              <a:off x="12063068" y="6476346"/>
              <a:ext cx="17" cy="1717"/>
            </a:xfrm>
            <a:custGeom>
              <a:avLst/>
              <a:gdLst/>
              <a:ahLst/>
              <a:cxnLst/>
              <a:rect l="l" t="t" r="r" b="b"/>
              <a:pathLst>
                <a:path w="17" h="1717" extrusionOk="0">
                  <a:moveTo>
                    <a:pt x="0" y="0"/>
                  </a:moveTo>
                  <a:lnTo>
                    <a:pt x="17" y="0"/>
                  </a:lnTo>
                  <a:lnTo>
                    <a:pt x="17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1" name="Google Shape;71;p48"/>
            <p:cNvSpPr/>
            <p:nvPr/>
          </p:nvSpPr>
          <p:spPr>
            <a:xfrm rot="-5400000">
              <a:off x="12023737" y="6455896"/>
              <a:ext cx="453" cy="271"/>
            </a:xfrm>
            <a:custGeom>
              <a:avLst/>
              <a:gdLst/>
              <a:ahLst/>
              <a:cxnLst/>
              <a:rect l="l" t="t" r="r" b="b"/>
              <a:pathLst>
                <a:path w="453" h="271" extrusionOk="0">
                  <a:moveTo>
                    <a:pt x="0" y="0"/>
                  </a:moveTo>
                  <a:cubicBezTo>
                    <a:pt x="258" y="172"/>
                    <a:pt x="498" y="344"/>
                    <a:pt x="447" y="240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2" name="Google Shape;72;p48"/>
            <p:cNvSpPr/>
            <p:nvPr/>
          </p:nvSpPr>
          <p:spPr>
            <a:xfrm rot="-5400000">
              <a:off x="12023907" y="6477766"/>
              <a:ext cx="15" cy="76"/>
            </a:xfrm>
            <a:custGeom>
              <a:avLst/>
              <a:gdLst/>
              <a:ahLst/>
              <a:cxnLst/>
              <a:rect l="l" t="t" r="r" b="b"/>
              <a:pathLst>
                <a:path w="15" h="76" extrusionOk="0">
                  <a:moveTo>
                    <a:pt x="15" y="38"/>
                  </a:moveTo>
                  <a:cubicBezTo>
                    <a:pt x="15" y="38"/>
                    <a:pt x="15" y="-48"/>
                    <a:pt x="15" y="38"/>
                  </a:cubicBezTo>
                  <a:cubicBezTo>
                    <a:pt x="15" y="124"/>
                    <a:pt x="-19" y="38"/>
                    <a:pt x="15" y="3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3" name="Google Shape;73;p48"/>
            <p:cNvSpPr/>
            <p:nvPr/>
          </p:nvSpPr>
          <p:spPr>
            <a:xfrm rot="-5400000">
              <a:off x="12021636" y="6473651"/>
              <a:ext cx="261" cy="103"/>
            </a:xfrm>
            <a:custGeom>
              <a:avLst/>
              <a:gdLst/>
              <a:ahLst/>
              <a:cxnLst/>
              <a:rect l="l" t="t" r="r" b="b"/>
              <a:pathLst>
                <a:path w="261" h="103" extrusionOk="0">
                  <a:moveTo>
                    <a:pt x="262" y="0"/>
                  </a:moveTo>
                  <a:lnTo>
                    <a:pt x="56" y="103"/>
                  </a:lnTo>
                  <a:cubicBezTo>
                    <a:pt x="176" y="103"/>
                    <a:pt x="-116" y="103"/>
                    <a:pt x="56" y="103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4" name="Google Shape;74;p48"/>
            <p:cNvSpPr/>
            <p:nvPr/>
          </p:nvSpPr>
          <p:spPr>
            <a:xfrm rot="-5400000">
              <a:off x="12015635" y="6442208"/>
              <a:ext cx="51323" cy="51323"/>
            </a:xfrm>
            <a:custGeom>
              <a:avLst/>
              <a:gdLst/>
              <a:ahLst/>
              <a:cxnLst/>
              <a:rect l="l" t="t" r="r" b="b"/>
              <a:pathLst>
                <a:path w="51323" h="51323" extrusionOk="0">
                  <a:moveTo>
                    <a:pt x="25662" y="0"/>
                  </a:moveTo>
                  <a:cubicBezTo>
                    <a:pt x="11489" y="0"/>
                    <a:pt x="0" y="11489"/>
                    <a:pt x="0" y="25662"/>
                  </a:cubicBezTo>
                  <a:cubicBezTo>
                    <a:pt x="0" y="39834"/>
                    <a:pt x="11489" y="51323"/>
                    <a:pt x="25662" y="51323"/>
                  </a:cubicBezTo>
                  <a:cubicBezTo>
                    <a:pt x="39835" y="51323"/>
                    <a:pt x="51324" y="39834"/>
                    <a:pt x="51324" y="25662"/>
                  </a:cubicBezTo>
                  <a:cubicBezTo>
                    <a:pt x="51324" y="25645"/>
                    <a:pt x="51324" y="25627"/>
                    <a:pt x="51324" y="25610"/>
                  </a:cubicBezTo>
                  <a:cubicBezTo>
                    <a:pt x="51314" y="11457"/>
                    <a:pt x="39833" y="-9"/>
                    <a:pt x="25679" y="0"/>
                  </a:cubicBezTo>
                  <a:cubicBezTo>
                    <a:pt x="25673" y="0"/>
                    <a:pt x="25667" y="0"/>
                    <a:pt x="25662" y="0"/>
                  </a:cubicBezTo>
                  <a:close/>
                  <a:moveTo>
                    <a:pt x="26967" y="15648"/>
                  </a:moveTo>
                  <a:cubicBezTo>
                    <a:pt x="26864" y="15648"/>
                    <a:pt x="26967" y="15785"/>
                    <a:pt x="26967" y="15837"/>
                  </a:cubicBezTo>
                  <a:cubicBezTo>
                    <a:pt x="26894" y="15820"/>
                    <a:pt x="26817" y="15820"/>
                    <a:pt x="26744" y="15837"/>
                  </a:cubicBezTo>
                  <a:cubicBezTo>
                    <a:pt x="26899" y="15837"/>
                    <a:pt x="27139" y="16043"/>
                    <a:pt x="26933" y="16163"/>
                  </a:cubicBezTo>
                  <a:cubicBezTo>
                    <a:pt x="26727" y="16283"/>
                    <a:pt x="27019" y="16163"/>
                    <a:pt x="27036" y="16163"/>
                  </a:cubicBezTo>
                  <a:cubicBezTo>
                    <a:pt x="27173" y="15854"/>
                    <a:pt x="27586" y="16283"/>
                    <a:pt x="27294" y="16489"/>
                  </a:cubicBezTo>
                  <a:lnTo>
                    <a:pt x="27294" y="16489"/>
                  </a:lnTo>
                  <a:cubicBezTo>
                    <a:pt x="27294" y="16489"/>
                    <a:pt x="27294" y="16489"/>
                    <a:pt x="27294" y="16489"/>
                  </a:cubicBezTo>
                  <a:lnTo>
                    <a:pt x="27294" y="16489"/>
                  </a:lnTo>
                  <a:cubicBezTo>
                    <a:pt x="27294" y="16489"/>
                    <a:pt x="27191" y="16489"/>
                    <a:pt x="27156" y="16489"/>
                  </a:cubicBezTo>
                  <a:cubicBezTo>
                    <a:pt x="27122" y="16489"/>
                    <a:pt x="27156" y="16489"/>
                    <a:pt x="27156" y="16593"/>
                  </a:cubicBezTo>
                  <a:cubicBezTo>
                    <a:pt x="27156" y="16696"/>
                    <a:pt x="27276" y="16593"/>
                    <a:pt x="27156" y="16593"/>
                  </a:cubicBezTo>
                  <a:cubicBezTo>
                    <a:pt x="27036" y="16593"/>
                    <a:pt x="27294" y="16593"/>
                    <a:pt x="27379" y="16593"/>
                  </a:cubicBezTo>
                  <a:cubicBezTo>
                    <a:pt x="27465" y="16593"/>
                    <a:pt x="27276" y="16713"/>
                    <a:pt x="27276" y="16799"/>
                  </a:cubicBezTo>
                  <a:cubicBezTo>
                    <a:pt x="27276" y="16885"/>
                    <a:pt x="26795" y="16936"/>
                    <a:pt x="26744" y="16799"/>
                  </a:cubicBezTo>
                  <a:cubicBezTo>
                    <a:pt x="26692" y="16661"/>
                    <a:pt x="26297" y="16799"/>
                    <a:pt x="26074" y="16902"/>
                  </a:cubicBezTo>
                  <a:cubicBezTo>
                    <a:pt x="25851" y="17005"/>
                    <a:pt x="26074" y="17125"/>
                    <a:pt x="25868" y="16988"/>
                  </a:cubicBezTo>
                  <a:cubicBezTo>
                    <a:pt x="25662" y="16850"/>
                    <a:pt x="25610" y="16988"/>
                    <a:pt x="25559" y="17142"/>
                  </a:cubicBezTo>
                  <a:cubicBezTo>
                    <a:pt x="25507" y="17297"/>
                    <a:pt x="25559" y="17142"/>
                    <a:pt x="25404" y="17142"/>
                  </a:cubicBezTo>
                  <a:cubicBezTo>
                    <a:pt x="25553" y="17029"/>
                    <a:pt x="25690" y="16902"/>
                    <a:pt x="25816" y="16764"/>
                  </a:cubicBezTo>
                  <a:cubicBezTo>
                    <a:pt x="25816" y="16593"/>
                    <a:pt x="26057" y="16764"/>
                    <a:pt x="26194" y="16764"/>
                  </a:cubicBezTo>
                  <a:cubicBezTo>
                    <a:pt x="26332" y="16764"/>
                    <a:pt x="26297" y="16610"/>
                    <a:pt x="26349" y="16541"/>
                  </a:cubicBezTo>
                  <a:cubicBezTo>
                    <a:pt x="26400" y="16472"/>
                    <a:pt x="26091" y="16764"/>
                    <a:pt x="26005" y="16627"/>
                  </a:cubicBezTo>
                  <a:cubicBezTo>
                    <a:pt x="25919" y="16489"/>
                    <a:pt x="25748" y="16627"/>
                    <a:pt x="25902" y="16627"/>
                  </a:cubicBezTo>
                  <a:cubicBezTo>
                    <a:pt x="26057" y="16627"/>
                    <a:pt x="25765" y="16627"/>
                    <a:pt x="25662" y="16627"/>
                  </a:cubicBezTo>
                  <a:lnTo>
                    <a:pt x="25662" y="16627"/>
                  </a:lnTo>
                  <a:cubicBezTo>
                    <a:pt x="25662" y="16627"/>
                    <a:pt x="25662" y="16627"/>
                    <a:pt x="25662" y="16627"/>
                  </a:cubicBezTo>
                  <a:cubicBezTo>
                    <a:pt x="25919" y="16541"/>
                    <a:pt x="26040" y="16472"/>
                    <a:pt x="26005" y="16215"/>
                  </a:cubicBezTo>
                  <a:lnTo>
                    <a:pt x="25834" y="16215"/>
                  </a:lnTo>
                  <a:cubicBezTo>
                    <a:pt x="25954" y="16094"/>
                    <a:pt x="26126" y="15940"/>
                    <a:pt x="26297" y="16060"/>
                  </a:cubicBezTo>
                  <a:cubicBezTo>
                    <a:pt x="26160" y="15888"/>
                    <a:pt x="26297" y="16060"/>
                    <a:pt x="26297" y="16060"/>
                  </a:cubicBezTo>
                  <a:cubicBezTo>
                    <a:pt x="26297" y="16060"/>
                    <a:pt x="26194" y="15837"/>
                    <a:pt x="26297" y="15785"/>
                  </a:cubicBezTo>
                  <a:cubicBezTo>
                    <a:pt x="26400" y="15734"/>
                    <a:pt x="26297" y="15648"/>
                    <a:pt x="26194" y="15785"/>
                  </a:cubicBezTo>
                  <a:lnTo>
                    <a:pt x="26194" y="15785"/>
                  </a:lnTo>
                  <a:cubicBezTo>
                    <a:pt x="26057" y="15785"/>
                    <a:pt x="26194" y="15476"/>
                    <a:pt x="26194" y="15493"/>
                  </a:cubicBezTo>
                  <a:cubicBezTo>
                    <a:pt x="26023" y="15493"/>
                    <a:pt x="25988" y="15613"/>
                    <a:pt x="25834" y="15493"/>
                  </a:cubicBezTo>
                  <a:cubicBezTo>
                    <a:pt x="25679" y="15373"/>
                    <a:pt x="25834" y="15493"/>
                    <a:pt x="25834" y="15596"/>
                  </a:cubicBezTo>
                  <a:cubicBezTo>
                    <a:pt x="25834" y="15699"/>
                    <a:pt x="25662" y="15459"/>
                    <a:pt x="25713" y="15596"/>
                  </a:cubicBezTo>
                  <a:cubicBezTo>
                    <a:pt x="25765" y="15734"/>
                    <a:pt x="25713" y="15493"/>
                    <a:pt x="25713" y="15459"/>
                  </a:cubicBezTo>
                  <a:lnTo>
                    <a:pt x="25713" y="15459"/>
                  </a:lnTo>
                  <a:cubicBezTo>
                    <a:pt x="25713" y="15459"/>
                    <a:pt x="25713" y="15287"/>
                    <a:pt x="25816" y="15236"/>
                  </a:cubicBezTo>
                  <a:cubicBezTo>
                    <a:pt x="25919" y="15184"/>
                    <a:pt x="25713" y="15029"/>
                    <a:pt x="25816" y="15064"/>
                  </a:cubicBezTo>
                  <a:cubicBezTo>
                    <a:pt x="25919" y="15098"/>
                    <a:pt x="25816" y="15064"/>
                    <a:pt x="25816" y="14961"/>
                  </a:cubicBezTo>
                  <a:cubicBezTo>
                    <a:pt x="25816" y="14858"/>
                    <a:pt x="25816" y="15047"/>
                    <a:pt x="25816" y="15081"/>
                  </a:cubicBezTo>
                  <a:lnTo>
                    <a:pt x="25816" y="15081"/>
                  </a:lnTo>
                  <a:cubicBezTo>
                    <a:pt x="25816" y="15081"/>
                    <a:pt x="25816" y="15081"/>
                    <a:pt x="25816" y="15081"/>
                  </a:cubicBezTo>
                  <a:cubicBezTo>
                    <a:pt x="25816" y="15081"/>
                    <a:pt x="25816" y="15081"/>
                    <a:pt x="25816" y="15081"/>
                  </a:cubicBezTo>
                  <a:cubicBezTo>
                    <a:pt x="25812" y="15173"/>
                    <a:pt x="25812" y="15264"/>
                    <a:pt x="25816" y="15356"/>
                  </a:cubicBezTo>
                  <a:cubicBezTo>
                    <a:pt x="25713" y="15356"/>
                    <a:pt x="25816" y="15218"/>
                    <a:pt x="25816" y="15167"/>
                  </a:cubicBezTo>
                  <a:cubicBezTo>
                    <a:pt x="25816" y="15115"/>
                    <a:pt x="25816" y="14858"/>
                    <a:pt x="25919" y="14823"/>
                  </a:cubicBezTo>
                  <a:cubicBezTo>
                    <a:pt x="26023" y="14789"/>
                    <a:pt x="25919" y="14823"/>
                    <a:pt x="25919" y="14823"/>
                  </a:cubicBezTo>
                  <a:cubicBezTo>
                    <a:pt x="25919" y="14823"/>
                    <a:pt x="25799" y="14978"/>
                    <a:pt x="25731" y="14823"/>
                  </a:cubicBezTo>
                  <a:cubicBezTo>
                    <a:pt x="25662" y="14669"/>
                    <a:pt x="25731" y="14823"/>
                    <a:pt x="25731" y="14823"/>
                  </a:cubicBezTo>
                  <a:cubicBezTo>
                    <a:pt x="25731" y="14823"/>
                    <a:pt x="25731" y="14686"/>
                    <a:pt x="25868" y="14737"/>
                  </a:cubicBezTo>
                  <a:cubicBezTo>
                    <a:pt x="26005" y="14789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lnTo>
                    <a:pt x="25868" y="14737"/>
                  </a:lnTo>
                  <a:lnTo>
                    <a:pt x="25868" y="14652"/>
                  </a:lnTo>
                  <a:cubicBezTo>
                    <a:pt x="25868" y="14652"/>
                    <a:pt x="25868" y="14652"/>
                    <a:pt x="25868" y="14652"/>
                  </a:cubicBezTo>
                  <a:cubicBezTo>
                    <a:pt x="25868" y="14652"/>
                    <a:pt x="25868" y="14566"/>
                    <a:pt x="25868" y="14514"/>
                  </a:cubicBezTo>
                  <a:lnTo>
                    <a:pt x="25868" y="14514"/>
                  </a:lnTo>
                  <a:cubicBezTo>
                    <a:pt x="25868" y="14514"/>
                    <a:pt x="25868" y="14514"/>
                    <a:pt x="25868" y="14514"/>
                  </a:cubicBezTo>
                  <a:cubicBezTo>
                    <a:pt x="25868" y="14514"/>
                    <a:pt x="25868" y="14514"/>
                    <a:pt x="25971" y="14514"/>
                  </a:cubicBezTo>
                  <a:cubicBezTo>
                    <a:pt x="25976" y="14486"/>
                    <a:pt x="25976" y="14457"/>
                    <a:pt x="25971" y="14428"/>
                  </a:cubicBezTo>
                  <a:cubicBezTo>
                    <a:pt x="25971" y="14428"/>
                    <a:pt x="26091" y="14085"/>
                    <a:pt x="26126" y="14291"/>
                  </a:cubicBezTo>
                  <a:cubicBezTo>
                    <a:pt x="26160" y="14497"/>
                    <a:pt x="26126" y="14291"/>
                    <a:pt x="26126" y="14291"/>
                  </a:cubicBezTo>
                  <a:cubicBezTo>
                    <a:pt x="26538" y="14136"/>
                    <a:pt x="26435" y="14291"/>
                    <a:pt x="26126" y="14531"/>
                  </a:cubicBezTo>
                  <a:lnTo>
                    <a:pt x="26126" y="14531"/>
                  </a:lnTo>
                  <a:cubicBezTo>
                    <a:pt x="25902" y="14737"/>
                    <a:pt x="26366" y="14531"/>
                    <a:pt x="26486" y="14531"/>
                  </a:cubicBezTo>
                  <a:cubicBezTo>
                    <a:pt x="26607" y="14531"/>
                    <a:pt x="26486" y="15029"/>
                    <a:pt x="26263" y="14995"/>
                  </a:cubicBezTo>
                  <a:cubicBezTo>
                    <a:pt x="26040" y="14961"/>
                    <a:pt x="26263" y="14995"/>
                    <a:pt x="26263" y="14995"/>
                  </a:cubicBezTo>
                  <a:cubicBezTo>
                    <a:pt x="26263" y="14995"/>
                    <a:pt x="26108" y="15133"/>
                    <a:pt x="26005" y="14995"/>
                  </a:cubicBezTo>
                  <a:cubicBezTo>
                    <a:pt x="26064" y="15057"/>
                    <a:pt x="26162" y="15059"/>
                    <a:pt x="26224" y="15000"/>
                  </a:cubicBezTo>
                  <a:cubicBezTo>
                    <a:pt x="26226" y="14998"/>
                    <a:pt x="26227" y="14997"/>
                    <a:pt x="26229" y="14995"/>
                  </a:cubicBezTo>
                  <a:cubicBezTo>
                    <a:pt x="26486" y="15098"/>
                    <a:pt x="26503" y="15373"/>
                    <a:pt x="26589" y="15579"/>
                  </a:cubicBezTo>
                  <a:cubicBezTo>
                    <a:pt x="26675" y="15785"/>
                    <a:pt x="26830" y="15545"/>
                    <a:pt x="26967" y="15613"/>
                  </a:cubicBezTo>
                  <a:close/>
                  <a:moveTo>
                    <a:pt x="18138" y="47476"/>
                  </a:moveTo>
                  <a:lnTo>
                    <a:pt x="18138" y="47476"/>
                  </a:lnTo>
                  <a:lnTo>
                    <a:pt x="18138" y="47476"/>
                  </a:lnTo>
                  <a:lnTo>
                    <a:pt x="18138" y="47476"/>
                  </a:lnTo>
                  <a:lnTo>
                    <a:pt x="18224" y="47476"/>
                  </a:lnTo>
                  <a:lnTo>
                    <a:pt x="18224" y="47476"/>
                  </a:lnTo>
                  <a:lnTo>
                    <a:pt x="17984" y="47338"/>
                  </a:lnTo>
                  <a:lnTo>
                    <a:pt x="17984" y="47338"/>
                  </a:lnTo>
                  <a:lnTo>
                    <a:pt x="17984" y="47338"/>
                  </a:lnTo>
                  <a:lnTo>
                    <a:pt x="18070" y="47338"/>
                  </a:lnTo>
                  <a:lnTo>
                    <a:pt x="18070" y="47338"/>
                  </a:lnTo>
                  <a:lnTo>
                    <a:pt x="18070" y="47338"/>
                  </a:lnTo>
                  <a:lnTo>
                    <a:pt x="17795" y="47218"/>
                  </a:lnTo>
                  <a:lnTo>
                    <a:pt x="17795" y="47218"/>
                  </a:lnTo>
                  <a:cubicBezTo>
                    <a:pt x="17795" y="47218"/>
                    <a:pt x="17795" y="47218"/>
                    <a:pt x="17795" y="47218"/>
                  </a:cubicBezTo>
                  <a:cubicBezTo>
                    <a:pt x="17762" y="47203"/>
                    <a:pt x="17725" y="47203"/>
                    <a:pt x="17692" y="47218"/>
                  </a:cubicBezTo>
                  <a:lnTo>
                    <a:pt x="17692" y="47218"/>
                  </a:lnTo>
                  <a:lnTo>
                    <a:pt x="17692" y="47218"/>
                  </a:lnTo>
                  <a:lnTo>
                    <a:pt x="17692" y="47218"/>
                  </a:lnTo>
                  <a:lnTo>
                    <a:pt x="17864" y="47218"/>
                  </a:lnTo>
                  <a:lnTo>
                    <a:pt x="17658" y="47218"/>
                  </a:lnTo>
                  <a:lnTo>
                    <a:pt x="17658" y="47218"/>
                  </a:lnTo>
                  <a:lnTo>
                    <a:pt x="17417" y="47115"/>
                  </a:lnTo>
                  <a:lnTo>
                    <a:pt x="17417" y="47115"/>
                  </a:lnTo>
                  <a:lnTo>
                    <a:pt x="17417" y="47115"/>
                  </a:lnTo>
                  <a:lnTo>
                    <a:pt x="17280" y="47115"/>
                  </a:lnTo>
                  <a:lnTo>
                    <a:pt x="17469" y="47218"/>
                  </a:lnTo>
                  <a:lnTo>
                    <a:pt x="17194" y="47081"/>
                  </a:lnTo>
                  <a:lnTo>
                    <a:pt x="17194" y="47081"/>
                  </a:lnTo>
                  <a:lnTo>
                    <a:pt x="17366" y="47081"/>
                  </a:lnTo>
                  <a:lnTo>
                    <a:pt x="17228" y="47081"/>
                  </a:lnTo>
                  <a:lnTo>
                    <a:pt x="17366" y="47081"/>
                  </a:lnTo>
                  <a:lnTo>
                    <a:pt x="17108" y="46961"/>
                  </a:lnTo>
                  <a:lnTo>
                    <a:pt x="17108" y="46961"/>
                  </a:lnTo>
                  <a:lnTo>
                    <a:pt x="17005" y="46961"/>
                  </a:lnTo>
                  <a:lnTo>
                    <a:pt x="17005" y="46961"/>
                  </a:lnTo>
                  <a:lnTo>
                    <a:pt x="16782" y="46858"/>
                  </a:lnTo>
                  <a:lnTo>
                    <a:pt x="16782" y="46858"/>
                  </a:lnTo>
                  <a:lnTo>
                    <a:pt x="16696" y="46858"/>
                  </a:lnTo>
                  <a:lnTo>
                    <a:pt x="16696" y="46858"/>
                  </a:lnTo>
                  <a:cubicBezTo>
                    <a:pt x="16557" y="46803"/>
                    <a:pt x="16425" y="46733"/>
                    <a:pt x="16301" y="46651"/>
                  </a:cubicBezTo>
                  <a:lnTo>
                    <a:pt x="16301" y="46651"/>
                  </a:lnTo>
                  <a:lnTo>
                    <a:pt x="16129" y="46548"/>
                  </a:lnTo>
                  <a:lnTo>
                    <a:pt x="16283" y="46651"/>
                  </a:lnTo>
                  <a:lnTo>
                    <a:pt x="15940" y="46462"/>
                  </a:lnTo>
                  <a:lnTo>
                    <a:pt x="15940" y="46462"/>
                  </a:lnTo>
                  <a:lnTo>
                    <a:pt x="15837" y="46462"/>
                  </a:lnTo>
                  <a:lnTo>
                    <a:pt x="15837" y="46462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510" y="46274"/>
                  </a:lnTo>
                  <a:lnTo>
                    <a:pt x="15510" y="46274"/>
                  </a:lnTo>
                  <a:lnTo>
                    <a:pt x="15339" y="46153"/>
                  </a:lnTo>
                  <a:lnTo>
                    <a:pt x="15339" y="46153"/>
                  </a:lnTo>
                  <a:lnTo>
                    <a:pt x="15201" y="46153"/>
                  </a:lnTo>
                  <a:lnTo>
                    <a:pt x="15201" y="46153"/>
                  </a:lnTo>
                  <a:cubicBezTo>
                    <a:pt x="15162" y="46164"/>
                    <a:pt x="15120" y="46164"/>
                    <a:pt x="15081" y="46153"/>
                  </a:cubicBezTo>
                  <a:lnTo>
                    <a:pt x="15081" y="46153"/>
                  </a:lnTo>
                  <a:lnTo>
                    <a:pt x="15218" y="46239"/>
                  </a:lnTo>
                  <a:lnTo>
                    <a:pt x="15081" y="46153"/>
                  </a:lnTo>
                  <a:lnTo>
                    <a:pt x="15081" y="46153"/>
                  </a:lnTo>
                  <a:lnTo>
                    <a:pt x="14961" y="46153"/>
                  </a:lnTo>
                  <a:lnTo>
                    <a:pt x="14961" y="46153"/>
                  </a:lnTo>
                  <a:lnTo>
                    <a:pt x="14823" y="46067"/>
                  </a:lnTo>
                  <a:cubicBezTo>
                    <a:pt x="14890" y="46095"/>
                    <a:pt x="14953" y="46130"/>
                    <a:pt x="15012" y="46170"/>
                  </a:cubicBezTo>
                  <a:cubicBezTo>
                    <a:pt x="15012" y="46170"/>
                    <a:pt x="15150" y="46274"/>
                    <a:pt x="15184" y="46274"/>
                  </a:cubicBezTo>
                  <a:lnTo>
                    <a:pt x="14720" y="45947"/>
                  </a:lnTo>
                  <a:lnTo>
                    <a:pt x="14720" y="45947"/>
                  </a:lnTo>
                  <a:cubicBezTo>
                    <a:pt x="14446" y="45724"/>
                    <a:pt x="14136" y="45535"/>
                    <a:pt x="13879" y="45312"/>
                  </a:cubicBezTo>
                  <a:lnTo>
                    <a:pt x="13982" y="45312"/>
                  </a:lnTo>
                  <a:lnTo>
                    <a:pt x="13827" y="45191"/>
                  </a:lnTo>
                  <a:lnTo>
                    <a:pt x="13827" y="45191"/>
                  </a:lnTo>
                  <a:cubicBezTo>
                    <a:pt x="13827" y="45191"/>
                    <a:pt x="13827" y="45191"/>
                    <a:pt x="13724" y="45191"/>
                  </a:cubicBezTo>
                  <a:lnTo>
                    <a:pt x="13724" y="45191"/>
                  </a:lnTo>
                  <a:lnTo>
                    <a:pt x="13724" y="45191"/>
                  </a:lnTo>
                  <a:lnTo>
                    <a:pt x="13724" y="45191"/>
                  </a:lnTo>
                  <a:cubicBezTo>
                    <a:pt x="13500" y="45056"/>
                    <a:pt x="13292" y="44895"/>
                    <a:pt x="13106" y="44710"/>
                  </a:cubicBezTo>
                  <a:lnTo>
                    <a:pt x="13106" y="44710"/>
                  </a:lnTo>
                  <a:cubicBezTo>
                    <a:pt x="12865" y="44453"/>
                    <a:pt x="12573" y="44264"/>
                    <a:pt x="12316" y="44023"/>
                  </a:cubicBezTo>
                  <a:cubicBezTo>
                    <a:pt x="12316" y="44023"/>
                    <a:pt x="12316" y="44023"/>
                    <a:pt x="12316" y="44023"/>
                  </a:cubicBezTo>
                  <a:cubicBezTo>
                    <a:pt x="11271" y="42931"/>
                    <a:pt x="10350" y="41727"/>
                    <a:pt x="9567" y="40434"/>
                  </a:cubicBezTo>
                  <a:lnTo>
                    <a:pt x="9567" y="40434"/>
                  </a:lnTo>
                  <a:cubicBezTo>
                    <a:pt x="9215" y="39466"/>
                    <a:pt x="8691" y="38570"/>
                    <a:pt x="8021" y="37788"/>
                  </a:cubicBezTo>
                  <a:lnTo>
                    <a:pt x="8021" y="37788"/>
                  </a:lnTo>
                  <a:cubicBezTo>
                    <a:pt x="6949" y="36560"/>
                    <a:pt x="6200" y="35084"/>
                    <a:pt x="5840" y="33494"/>
                  </a:cubicBezTo>
                  <a:cubicBezTo>
                    <a:pt x="5840" y="33494"/>
                    <a:pt x="5840" y="33494"/>
                    <a:pt x="5840" y="33580"/>
                  </a:cubicBezTo>
                  <a:cubicBezTo>
                    <a:pt x="5850" y="33546"/>
                    <a:pt x="5850" y="33511"/>
                    <a:pt x="5840" y="33477"/>
                  </a:cubicBezTo>
                  <a:cubicBezTo>
                    <a:pt x="5840" y="33477"/>
                    <a:pt x="5840" y="33580"/>
                    <a:pt x="5840" y="33614"/>
                  </a:cubicBezTo>
                  <a:cubicBezTo>
                    <a:pt x="5600" y="33202"/>
                    <a:pt x="5685" y="28461"/>
                    <a:pt x="5222" y="30299"/>
                  </a:cubicBezTo>
                  <a:cubicBezTo>
                    <a:pt x="5222" y="30299"/>
                    <a:pt x="5222" y="30093"/>
                    <a:pt x="5222" y="30042"/>
                  </a:cubicBezTo>
                  <a:cubicBezTo>
                    <a:pt x="5222" y="29990"/>
                    <a:pt x="5222" y="30042"/>
                    <a:pt x="5222" y="30128"/>
                  </a:cubicBezTo>
                  <a:cubicBezTo>
                    <a:pt x="5222" y="30213"/>
                    <a:pt x="5222" y="29887"/>
                    <a:pt x="5067" y="29784"/>
                  </a:cubicBezTo>
                  <a:cubicBezTo>
                    <a:pt x="4913" y="29681"/>
                    <a:pt x="5067" y="29784"/>
                    <a:pt x="5067" y="29784"/>
                  </a:cubicBezTo>
                  <a:lnTo>
                    <a:pt x="5067" y="29784"/>
                  </a:lnTo>
                  <a:cubicBezTo>
                    <a:pt x="5067" y="29784"/>
                    <a:pt x="5067" y="29612"/>
                    <a:pt x="5067" y="29544"/>
                  </a:cubicBezTo>
                  <a:cubicBezTo>
                    <a:pt x="5067" y="29475"/>
                    <a:pt x="5067" y="29664"/>
                    <a:pt x="5067" y="29715"/>
                  </a:cubicBezTo>
                  <a:cubicBezTo>
                    <a:pt x="5067" y="29458"/>
                    <a:pt x="4947" y="29166"/>
                    <a:pt x="4844" y="28908"/>
                  </a:cubicBezTo>
                  <a:cubicBezTo>
                    <a:pt x="4844" y="28994"/>
                    <a:pt x="4844" y="29080"/>
                    <a:pt x="4844" y="29183"/>
                  </a:cubicBezTo>
                  <a:cubicBezTo>
                    <a:pt x="4689" y="28753"/>
                    <a:pt x="4672" y="28290"/>
                    <a:pt x="4552" y="27843"/>
                  </a:cubicBezTo>
                  <a:cubicBezTo>
                    <a:pt x="4552" y="27929"/>
                    <a:pt x="4552" y="27843"/>
                    <a:pt x="4552" y="27740"/>
                  </a:cubicBezTo>
                  <a:cubicBezTo>
                    <a:pt x="4552" y="27637"/>
                    <a:pt x="4552" y="27740"/>
                    <a:pt x="4552" y="27740"/>
                  </a:cubicBezTo>
                  <a:cubicBezTo>
                    <a:pt x="4552" y="27740"/>
                    <a:pt x="4552" y="27740"/>
                    <a:pt x="4552" y="27740"/>
                  </a:cubicBezTo>
                  <a:cubicBezTo>
                    <a:pt x="4552" y="27740"/>
                    <a:pt x="4552" y="27740"/>
                    <a:pt x="4552" y="27740"/>
                  </a:cubicBezTo>
                  <a:cubicBezTo>
                    <a:pt x="4343" y="27287"/>
                    <a:pt x="4226" y="26796"/>
                    <a:pt x="4208" y="26297"/>
                  </a:cubicBezTo>
                  <a:cubicBezTo>
                    <a:pt x="4218" y="26366"/>
                    <a:pt x="4218" y="26435"/>
                    <a:pt x="4208" y="26503"/>
                  </a:cubicBezTo>
                  <a:cubicBezTo>
                    <a:pt x="4218" y="26435"/>
                    <a:pt x="4218" y="26366"/>
                    <a:pt x="4208" y="26297"/>
                  </a:cubicBezTo>
                  <a:lnTo>
                    <a:pt x="4208" y="26297"/>
                  </a:lnTo>
                  <a:cubicBezTo>
                    <a:pt x="4208" y="26297"/>
                    <a:pt x="4208" y="26297"/>
                    <a:pt x="4208" y="26297"/>
                  </a:cubicBezTo>
                  <a:lnTo>
                    <a:pt x="4208" y="26297"/>
                  </a:lnTo>
                  <a:lnTo>
                    <a:pt x="4208" y="26297"/>
                  </a:lnTo>
                  <a:cubicBezTo>
                    <a:pt x="4208" y="26297"/>
                    <a:pt x="4208" y="26297"/>
                    <a:pt x="4208" y="26400"/>
                  </a:cubicBezTo>
                  <a:cubicBezTo>
                    <a:pt x="4208" y="26503"/>
                    <a:pt x="4208" y="26400"/>
                    <a:pt x="4208" y="26400"/>
                  </a:cubicBezTo>
                  <a:lnTo>
                    <a:pt x="4208" y="26400"/>
                  </a:lnTo>
                  <a:lnTo>
                    <a:pt x="4208" y="26400"/>
                  </a:lnTo>
                  <a:cubicBezTo>
                    <a:pt x="4208" y="26314"/>
                    <a:pt x="4208" y="26194"/>
                    <a:pt x="4208" y="26091"/>
                  </a:cubicBezTo>
                  <a:lnTo>
                    <a:pt x="4208" y="26091"/>
                  </a:lnTo>
                  <a:cubicBezTo>
                    <a:pt x="4200" y="26034"/>
                    <a:pt x="4200" y="25976"/>
                    <a:pt x="4208" y="25919"/>
                  </a:cubicBezTo>
                  <a:lnTo>
                    <a:pt x="4208" y="25919"/>
                  </a:lnTo>
                  <a:cubicBezTo>
                    <a:pt x="4191" y="25679"/>
                    <a:pt x="4191" y="25438"/>
                    <a:pt x="4208" y="25198"/>
                  </a:cubicBezTo>
                  <a:lnTo>
                    <a:pt x="4208" y="25198"/>
                  </a:lnTo>
                  <a:cubicBezTo>
                    <a:pt x="4208" y="25198"/>
                    <a:pt x="4208" y="25112"/>
                    <a:pt x="4208" y="25078"/>
                  </a:cubicBezTo>
                  <a:lnTo>
                    <a:pt x="4208" y="25078"/>
                  </a:lnTo>
                  <a:cubicBezTo>
                    <a:pt x="4764" y="15747"/>
                    <a:pt x="10928" y="7687"/>
                    <a:pt x="19787" y="4706"/>
                  </a:cubicBezTo>
                  <a:lnTo>
                    <a:pt x="19787" y="4706"/>
                  </a:lnTo>
                  <a:lnTo>
                    <a:pt x="19994" y="4706"/>
                  </a:lnTo>
                  <a:lnTo>
                    <a:pt x="19994" y="4706"/>
                  </a:lnTo>
                  <a:lnTo>
                    <a:pt x="20217" y="4706"/>
                  </a:lnTo>
                  <a:lnTo>
                    <a:pt x="20062" y="4706"/>
                  </a:lnTo>
                  <a:lnTo>
                    <a:pt x="20337" y="4706"/>
                  </a:lnTo>
                  <a:lnTo>
                    <a:pt x="20234" y="4706"/>
                  </a:lnTo>
                  <a:lnTo>
                    <a:pt x="20234" y="4706"/>
                  </a:lnTo>
                  <a:lnTo>
                    <a:pt x="20423" y="4706"/>
                  </a:lnTo>
                  <a:lnTo>
                    <a:pt x="20423" y="4706"/>
                  </a:lnTo>
                  <a:lnTo>
                    <a:pt x="21711" y="4414"/>
                  </a:lnTo>
                  <a:lnTo>
                    <a:pt x="21711" y="4414"/>
                  </a:lnTo>
                  <a:lnTo>
                    <a:pt x="22038" y="4414"/>
                  </a:lnTo>
                  <a:lnTo>
                    <a:pt x="21814" y="4414"/>
                  </a:lnTo>
                  <a:lnTo>
                    <a:pt x="21814" y="4414"/>
                  </a:lnTo>
                  <a:lnTo>
                    <a:pt x="22415" y="4414"/>
                  </a:lnTo>
                  <a:lnTo>
                    <a:pt x="22415" y="4414"/>
                  </a:lnTo>
                  <a:lnTo>
                    <a:pt x="22106" y="4414"/>
                  </a:lnTo>
                  <a:lnTo>
                    <a:pt x="22398" y="4414"/>
                  </a:lnTo>
                  <a:lnTo>
                    <a:pt x="22398" y="4414"/>
                  </a:lnTo>
                  <a:lnTo>
                    <a:pt x="22690" y="4414"/>
                  </a:lnTo>
                  <a:lnTo>
                    <a:pt x="22587" y="4414"/>
                  </a:lnTo>
                  <a:lnTo>
                    <a:pt x="22484" y="4414"/>
                  </a:lnTo>
                  <a:lnTo>
                    <a:pt x="22725" y="4414"/>
                  </a:lnTo>
                  <a:lnTo>
                    <a:pt x="22347" y="4414"/>
                  </a:lnTo>
                  <a:lnTo>
                    <a:pt x="22244" y="4414"/>
                  </a:lnTo>
                  <a:lnTo>
                    <a:pt x="22055" y="4414"/>
                  </a:lnTo>
                  <a:lnTo>
                    <a:pt x="22415" y="4414"/>
                  </a:lnTo>
                  <a:lnTo>
                    <a:pt x="22020" y="4414"/>
                  </a:lnTo>
                  <a:lnTo>
                    <a:pt x="22020" y="4414"/>
                  </a:lnTo>
                  <a:lnTo>
                    <a:pt x="21608" y="4414"/>
                  </a:lnTo>
                  <a:lnTo>
                    <a:pt x="21608" y="4414"/>
                  </a:lnTo>
                  <a:lnTo>
                    <a:pt x="21213" y="4500"/>
                  </a:lnTo>
                  <a:lnTo>
                    <a:pt x="21385" y="4500"/>
                  </a:lnTo>
                  <a:lnTo>
                    <a:pt x="21385" y="4500"/>
                  </a:lnTo>
                  <a:cubicBezTo>
                    <a:pt x="21251" y="4544"/>
                    <a:pt x="21113" y="4572"/>
                    <a:pt x="20973" y="4586"/>
                  </a:cubicBezTo>
                  <a:lnTo>
                    <a:pt x="21144" y="4586"/>
                  </a:lnTo>
                  <a:lnTo>
                    <a:pt x="20955" y="4586"/>
                  </a:lnTo>
                  <a:lnTo>
                    <a:pt x="20955" y="4586"/>
                  </a:lnTo>
                  <a:lnTo>
                    <a:pt x="20835" y="4586"/>
                  </a:lnTo>
                  <a:lnTo>
                    <a:pt x="20835" y="4586"/>
                  </a:lnTo>
                  <a:lnTo>
                    <a:pt x="20835" y="4586"/>
                  </a:lnTo>
                  <a:cubicBezTo>
                    <a:pt x="20835" y="4586"/>
                    <a:pt x="20835" y="4586"/>
                    <a:pt x="20835" y="4586"/>
                  </a:cubicBezTo>
                  <a:lnTo>
                    <a:pt x="20835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560" y="4586"/>
                  </a:lnTo>
                  <a:lnTo>
                    <a:pt x="20560" y="4586"/>
                  </a:lnTo>
                  <a:lnTo>
                    <a:pt x="20114" y="4706"/>
                  </a:lnTo>
                  <a:lnTo>
                    <a:pt x="20114" y="4706"/>
                  </a:lnTo>
                  <a:lnTo>
                    <a:pt x="19787" y="4827"/>
                  </a:lnTo>
                  <a:lnTo>
                    <a:pt x="19787" y="4827"/>
                  </a:lnTo>
                  <a:lnTo>
                    <a:pt x="19392" y="4947"/>
                  </a:lnTo>
                  <a:lnTo>
                    <a:pt x="19392" y="4947"/>
                  </a:lnTo>
                  <a:lnTo>
                    <a:pt x="19100" y="5153"/>
                  </a:lnTo>
                  <a:lnTo>
                    <a:pt x="19100" y="5153"/>
                  </a:lnTo>
                  <a:lnTo>
                    <a:pt x="18997" y="5153"/>
                  </a:lnTo>
                  <a:lnTo>
                    <a:pt x="18997" y="5153"/>
                  </a:lnTo>
                  <a:lnTo>
                    <a:pt x="18430" y="5359"/>
                  </a:lnTo>
                  <a:lnTo>
                    <a:pt x="18568" y="5359"/>
                  </a:lnTo>
                  <a:lnTo>
                    <a:pt x="18568" y="5359"/>
                  </a:lnTo>
                  <a:cubicBezTo>
                    <a:pt x="18763" y="5286"/>
                    <a:pt x="18964" y="5229"/>
                    <a:pt x="19169" y="5187"/>
                  </a:cubicBezTo>
                  <a:lnTo>
                    <a:pt x="19169" y="5187"/>
                  </a:lnTo>
                  <a:lnTo>
                    <a:pt x="19341" y="5187"/>
                  </a:lnTo>
                  <a:lnTo>
                    <a:pt x="19461" y="5187"/>
                  </a:lnTo>
                  <a:lnTo>
                    <a:pt x="19186" y="5187"/>
                  </a:lnTo>
                  <a:lnTo>
                    <a:pt x="19186" y="5187"/>
                  </a:lnTo>
                  <a:lnTo>
                    <a:pt x="19032" y="5187"/>
                  </a:lnTo>
                  <a:lnTo>
                    <a:pt x="19032" y="5187"/>
                  </a:lnTo>
                  <a:lnTo>
                    <a:pt x="18911" y="5187"/>
                  </a:lnTo>
                  <a:lnTo>
                    <a:pt x="18911" y="5187"/>
                  </a:lnTo>
                  <a:lnTo>
                    <a:pt x="18740" y="5187"/>
                  </a:lnTo>
                  <a:lnTo>
                    <a:pt x="18740" y="5187"/>
                  </a:lnTo>
                  <a:lnTo>
                    <a:pt x="18894" y="5187"/>
                  </a:lnTo>
                  <a:lnTo>
                    <a:pt x="18894" y="5187"/>
                  </a:lnTo>
                  <a:lnTo>
                    <a:pt x="19049" y="5187"/>
                  </a:lnTo>
                  <a:lnTo>
                    <a:pt x="19049" y="5187"/>
                  </a:lnTo>
                  <a:lnTo>
                    <a:pt x="18860" y="5187"/>
                  </a:lnTo>
                  <a:cubicBezTo>
                    <a:pt x="18997" y="5187"/>
                    <a:pt x="19392" y="5067"/>
                    <a:pt x="19032" y="5187"/>
                  </a:cubicBezTo>
                  <a:lnTo>
                    <a:pt x="19186" y="5187"/>
                  </a:lnTo>
                  <a:lnTo>
                    <a:pt x="19289" y="5187"/>
                  </a:lnTo>
                  <a:lnTo>
                    <a:pt x="19650" y="5084"/>
                  </a:lnTo>
                  <a:cubicBezTo>
                    <a:pt x="19252" y="5196"/>
                    <a:pt x="18862" y="5334"/>
                    <a:pt x="18482" y="5497"/>
                  </a:cubicBezTo>
                  <a:lnTo>
                    <a:pt x="18654" y="5497"/>
                  </a:lnTo>
                  <a:lnTo>
                    <a:pt x="18654" y="5497"/>
                  </a:lnTo>
                  <a:cubicBezTo>
                    <a:pt x="18654" y="5497"/>
                    <a:pt x="18860" y="5497"/>
                    <a:pt x="18740" y="5497"/>
                  </a:cubicBezTo>
                  <a:lnTo>
                    <a:pt x="18894" y="5497"/>
                  </a:lnTo>
                  <a:lnTo>
                    <a:pt x="18894" y="5497"/>
                  </a:lnTo>
                  <a:lnTo>
                    <a:pt x="19032" y="5497"/>
                  </a:lnTo>
                  <a:cubicBezTo>
                    <a:pt x="18929" y="5497"/>
                    <a:pt x="18808" y="5497"/>
                    <a:pt x="18722" y="5617"/>
                  </a:cubicBezTo>
                  <a:lnTo>
                    <a:pt x="18722" y="5617"/>
                  </a:lnTo>
                  <a:lnTo>
                    <a:pt x="18585" y="5617"/>
                  </a:lnTo>
                  <a:lnTo>
                    <a:pt x="18585" y="5617"/>
                  </a:lnTo>
                  <a:lnTo>
                    <a:pt x="18413" y="5617"/>
                  </a:lnTo>
                  <a:cubicBezTo>
                    <a:pt x="18505" y="5624"/>
                    <a:pt x="18597" y="5624"/>
                    <a:pt x="18688" y="5617"/>
                  </a:cubicBezTo>
                  <a:cubicBezTo>
                    <a:pt x="18396" y="5771"/>
                    <a:pt x="18035" y="5909"/>
                    <a:pt x="17743" y="6098"/>
                  </a:cubicBezTo>
                  <a:lnTo>
                    <a:pt x="17743" y="6098"/>
                  </a:lnTo>
                  <a:lnTo>
                    <a:pt x="17554" y="6201"/>
                  </a:lnTo>
                  <a:lnTo>
                    <a:pt x="17743" y="6201"/>
                  </a:lnTo>
                  <a:lnTo>
                    <a:pt x="17743" y="6201"/>
                  </a:lnTo>
                  <a:cubicBezTo>
                    <a:pt x="17743" y="6201"/>
                    <a:pt x="17743" y="6201"/>
                    <a:pt x="17743" y="6201"/>
                  </a:cubicBezTo>
                  <a:cubicBezTo>
                    <a:pt x="17557" y="6309"/>
                    <a:pt x="17362" y="6402"/>
                    <a:pt x="17159" y="6476"/>
                  </a:cubicBezTo>
                  <a:cubicBezTo>
                    <a:pt x="17159" y="6476"/>
                    <a:pt x="17159" y="6476"/>
                    <a:pt x="17159" y="6476"/>
                  </a:cubicBezTo>
                  <a:cubicBezTo>
                    <a:pt x="17159" y="6476"/>
                    <a:pt x="17056" y="6476"/>
                    <a:pt x="17039" y="6476"/>
                  </a:cubicBezTo>
                  <a:lnTo>
                    <a:pt x="17039" y="6476"/>
                  </a:lnTo>
                  <a:cubicBezTo>
                    <a:pt x="16976" y="6499"/>
                    <a:pt x="16918" y="6534"/>
                    <a:pt x="16867" y="6579"/>
                  </a:cubicBezTo>
                  <a:lnTo>
                    <a:pt x="16867" y="6579"/>
                  </a:lnTo>
                  <a:cubicBezTo>
                    <a:pt x="16867" y="6579"/>
                    <a:pt x="16627" y="6750"/>
                    <a:pt x="16730" y="6716"/>
                  </a:cubicBezTo>
                  <a:lnTo>
                    <a:pt x="16730" y="6716"/>
                  </a:lnTo>
                  <a:lnTo>
                    <a:pt x="16730" y="6716"/>
                  </a:lnTo>
                  <a:lnTo>
                    <a:pt x="16730" y="6716"/>
                  </a:lnTo>
                  <a:cubicBezTo>
                    <a:pt x="16730" y="6716"/>
                    <a:pt x="16730" y="6716"/>
                    <a:pt x="16730" y="6716"/>
                  </a:cubicBezTo>
                  <a:lnTo>
                    <a:pt x="16885" y="6716"/>
                  </a:lnTo>
                  <a:lnTo>
                    <a:pt x="16627" y="6853"/>
                  </a:lnTo>
                  <a:lnTo>
                    <a:pt x="16627" y="6853"/>
                  </a:lnTo>
                  <a:cubicBezTo>
                    <a:pt x="16627" y="6853"/>
                    <a:pt x="16455" y="6853"/>
                    <a:pt x="16386" y="6991"/>
                  </a:cubicBezTo>
                  <a:cubicBezTo>
                    <a:pt x="16318" y="7128"/>
                    <a:pt x="16507" y="6991"/>
                    <a:pt x="16558" y="6991"/>
                  </a:cubicBezTo>
                  <a:cubicBezTo>
                    <a:pt x="16389" y="7066"/>
                    <a:pt x="16228" y="7158"/>
                    <a:pt x="16077" y="7266"/>
                  </a:cubicBezTo>
                  <a:lnTo>
                    <a:pt x="16077" y="7266"/>
                  </a:lnTo>
                  <a:lnTo>
                    <a:pt x="16077" y="7266"/>
                  </a:lnTo>
                  <a:cubicBezTo>
                    <a:pt x="16317" y="7116"/>
                    <a:pt x="16570" y="6989"/>
                    <a:pt x="16833" y="6888"/>
                  </a:cubicBezTo>
                  <a:lnTo>
                    <a:pt x="16833" y="6888"/>
                  </a:lnTo>
                  <a:cubicBezTo>
                    <a:pt x="16833" y="6888"/>
                    <a:pt x="16833" y="6888"/>
                    <a:pt x="16833" y="6888"/>
                  </a:cubicBezTo>
                  <a:lnTo>
                    <a:pt x="16833" y="6888"/>
                  </a:lnTo>
                  <a:lnTo>
                    <a:pt x="16936" y="6888"/>
                  </a:lnTo>
                  <a:lnTo>
                    <a:pt x="16833" y="6888"/>
                  </a:lnTo>
                  <a:cubicBezTo>
                    <a:pt x="16833" y="6888"/>
                    <a:pt x="16988" y="6785"/>
                    <a:pt x="17056" y="6785"/>
                  </a:cubicBezTo>
                  <a:lnTo>
                    <a:pt x="17056" y="6785"/>
                  </a:lnTo>
                  <a:cubicBezTo>
                    <a:pt x="17056" y="6785"/>
                    <a:pt x="17314" y="6682"/>
                    <a:pt x="17159" y="6785"/>
                  </a:cubicBezTo>
                  <a:lnTo>
                    <a:pt x="17039" y="6785"/>
                  </a:lnTo>
                  <a:cubicBezTo>
                    <a:pt x="17073" y="6775"/>
                    <a:pt x="17109" y="6775"/>
                    <a:pt x="17142" y="6785"/>
                  </a:cubicBezTo>
                  <a:lnTo>
                    <a:pt x="17022" y="6785"/>
                  </a:lnTo>
                  <a:lnTo>
                    <a:pt x="17022" y="6785"/>
                  </a:lnTo>
                  <a:cubicBezTo>
                    <a:pt x="17022" y="6785"/>
                    <a:pt x="17022" y="6785"/>
                    <a:pt x="16885" y="6785"/>
                  </a:cubicBezTo>
                  <a:cubicBezTo>
                    <a:pt x="16747" y="6785"/>
                    <a:pt x="17074" y="6785"/>
                    <a:pt x="17005" y="6785"/>
                  </a:cubicBezTo>
                  <a:cubicBezTo>
                    <a:pt x="17104" y="6745"/>
                    <a:pt x="17215" y="6745"/>
                    <a:pt x="17314" y="6785"/>
                  </a:cubicBezTo>
                  <a:lnTo>
                    <a:pt x="17314" y="6785"/>
                  </a:lnTo>
                  <a:cubicBezTo>
                    <a:pt x="17125" y="6922"/>
                    <a:pt x="16902" y="7025"/>
                    <a:pt x="16696" y="7145"/>
                  </a:cubicBezTo>
                  <a:lnTo>
                    <a:pt x="16696" y="7145"/>
                  </a:lnTo>
                  <a:lnTo>
                    <a:pt x="16696" y="7145"/>
                  </a:lnTo>
                  <a:lnTo>
                    <a:pt x="16696" y="7145"/>
                  </a:lnTo>
                  <a:cubicBezTo>
                    <a:pt x="16696" y="7145"/>
                    <a:pt x="16696" y="7145"/>
                    <a:pt x="16696" y="7145"/>
                  </a:cubicBezTo>
                  <a:lnTo>
                    <a:pt x="16696" y="7145"/>
                  </a:lnTo>
                  <a:lnTo>
                    <a:pt x="16696" y="7145"/>
                  </a:lnTo>
                  <a:lnTo>
                    <a:pt x="16455" y="7300"/>
                  </a:lnTo>
                  <a:lnTo>
                    <a:pt x="16455" y="7300"/>
                  </a:lnTo>
                  <a:cubicBezTo>
                    <a:pt x="16455" y="7300"/>
                    <a:pt x="16455" y="7300"/>
                    <a:pt x="16455" y="7386"/>
                  </a:cubicBezTo>
                  <a:lnTo>
                    <a:pt x="16610" y="7386"/>
                  </a:lnTo>
                  <a:lnTo>
                    <a:pt x="16610" y="7386"/>
                  </a:lnTo>
                  <a:lnTo>
                    <a:pt x="16610" y="7489"/>
                  </a:lnTo>
                  <a:cubicBezTo>
                    <a:pt x="16610" y="7489"/>
                    <a:pt x="16610" y="7489"/>
                    <a:pt x="16610" y="7489"/>
                  </a:cubicBezTo>
                  <a:lnTo>
                    <a:pt x="16610" y="7489"/>
                  </a:lnTo>
                  <a:cubicBezTo>
                    <a:pt x="16953" y="7266"/>
                    <a:pt x="16713" y="7489"/>
                    <a:pt x="16610" y="7592"/>
                  </a:cubicBezTo>
                  <a:cubicBezTo>
                    <a:pt x="16730" y="7592"/>
                    <a:pt x="16833" y="7386"/>
                    <a:pt x="16970" y="7334"/>
                  </a:cubicBezTo>
                  <a:lnTo>
                    <a:pt x="16970" y="7334"/>
                  </a:lnTo>
                  <a:cubicBezTo>
                    <a:pt x="16970" y="7334"/>
                    <a:pt x="17280" y="7145"/>
                    <a:pt x="17108" y="7334"/>
                  </a:cubicBezTo>
                  <a:lnTo>
                    <a:pt x="17245" y="7334"/>
                  </a:lnTo>
                  <a:lnTo>
                    <a:pt x="17142" y="7334"/>
                  </a:lnTo>
                  <a:cubicBezTo>
                    <a:pt x="17142" y="7334"/>
                    <a:pt x="17142" y="7334"/>
                    <a:pt x="17142" y="7334"/>
                  </a:cubicBezTo>
                  <a:cubicBezTo>
                    <a:pt x="17142" y="7334"/>
                    <a:pt x="17022" y="7334"/>
                    <a:pt x="16988" y="7437"/>
                  </a:cubicBezTo>
                  <a:lnTo>
                    <a:pt x="16988" y="7437"/>
                  </a:lnTo>
                  <a:cubicBezTo>
                    <a:pt x="16988" y="7437"/>
                    <a:pt x="16885" y="7437"/>
                    <a:pt x="16867" y="7437"/>
                  </a:cubicBezTo>
                  <a:cubicBezTo>
                    <a:pt x="17211" y="7317"/>
                    <a:pt x="16747" y="7437"/>
                    <a:pt x="16610" y="7575"/>
                  </a:cubicBezTo>
                  <a:lnTo>
                    <a:pt x="16610" y="7575"/>
                  </a:lnTo>
                  <a:lnTo>
                    <a:pt x="16421" y="7678"/>
                  </a:lnTo>
                  <a:lnTo>
                    <a:pt x="16421" y="7678"/>
                  </a:lnTo>
                  <a:lnTo>
                    <a:pt x="16283" y="7678"/>
                  </a:lnTo>
                  <a:cubicBezTo>
                    <a:pt x="16438" y="7678"/>
                    <a:pt x="16283" y="7678"/>
                    <a:pt x="16283" y="7678"/>
                  </a:cubicBezTo>
                  <a:lnTo>
                    <a:pt x="16283" y="7678"/>
                  </a:lnTo>
                  <a:lnTo>
                    <a:pt x="16129" y="7678"/>
                  </a:lnTo>
                  <a:lnTo>
                    <a:pt x="16129" y="7678"/>
                  </a:lnTo>
                  <a:lnTo>
                    <a:pt x="16129" y="7678"/>
                  </a:lnTo>
                  <a:lnTo>
                    <a:pt x="16129" y="7678"/>
                  </a:lnTo>
                  <a:cubicBezTo>
                    <a:pt x="16026" y="7678"/>
                    <a:pt x="15923" y="7833"/>
                    <a:pt x="15820" y="7867"/>
                  </a:cubicBezTo>
                  <a:cubicBezTo>
                    <a:pt x="15717" y="7901"/>
                    <a:pt x="15974" y="7764"/>
                    <a:pt x="16043" y="7747"/>
                  </a:cubicBezTo>
                  <a:cubicBezTo>
                    <a:pt x="16112" y="7729"/>
                    <a:pt x="16043" y="7747"/>
                    <a:pt x="16043" y="7747"/>
                  </a:cubicBezTo>
                  <a:cubicBezTo>
                    <a:pt x="16131" y="7705"/>
                    <a:pt x="16223" y="7670"/>
                    <a:pt x="16318" y="7644"/>
                  </a:cubicBezTo>
                  <a:lnTo>
                    <a:pt x="16198" y="7644"/>
                  </a:lnTo>
                  <a:cubicBezTo>
                    <a:pt x="16386" y="7558"/>
                    <a:pt x="16558" y="7420"/>
                    <a:pt x="16747" y="7352"/>
                  </a:cubicBezTo>
                  <a:lnTo>
                    <a:pt x="16747" y="7352"/>
                  </a:lnTo>
                  <a:lnTo>
                    <a:pt x="16747" y="7352"/>
                  </a:lnTo>
                  <a:cubicBezTo>
                    <a:pt x="16976" y="7288"/>
                    <a:pt x="17195" y="7196"/>
                    <a:pt x="17400" y="7077"/>
                  </a:cubicBezTo>
                  <a:cubicBezTo>
                    <a:pt x="17400" y="7077"/>
                    <a:pt x="17400" y="7077"/>
                    <a:pt x="17262" y="7077"/>
                  </a:cubicBezTo>
                  <a:lnTo>
                    <a:pt x="17262" y="7077"/>
                  </a:lnTo>
                  <a:cubicBezTo>
                    <a:pt x="17366" y="7077"/>
                    <a:pt x="17761" y="6836"/>
                    <a:pt x="17520" y="6991"/>
                  </a:cubicBezTo>
                  <a:cubicBezTo>
                    <a:pt x="17692" y="6991"/>
                    <a:pt x="17692" y="6819"/>
                    <a:pt x="17846" y="6768"/>
                  </a:cubicBezTo>
                  <a:cubicBezTo>
                    <a:pt x="17692" y="6768"/>
                    <a:pt x="17846" y="6768"/>
                    <a:pt x="17846" y="6768"/>
                  </a:cubicBezTo>
                  <a:lnTo>
                    <a:pt x="17846" y="6768"/>
                  </a:lnTo>
                  <a:cubicBezTo>
                    <a:pt x="18036" y="6628"/>
                    <a:pt x="18252" y="6528"/>
                    <a:pt x="18482" y="6476"/>
                  </a:cubicBezTo>
                  <a:lnTo>
                    <a:pt x="18482" y="6476"/>
                  </a:lnTo>
                  <a:cubicBezTo>
                    <a:pt x="18662" y="6364"/>
                    <a:pt x="18859" y="6282"/>
                    <a:pt x="19066" y="6235"/>
                  </a:cubicBezTo>
                  <a:lnTo>
                    <a:pt x="18911" y="6321"/>
                  </a:lnTo>
                  <a:cubicBezTo>
                    <a:pt x="19100" y="6321"/>
                    <a:pt x="19238" y="6149"/>
                    <a:pt x="19427" y="6115"/>
                  </a:cubicBezTo>
                  <a:lnTo>
                    <a:pt x="19238" y="6252"/>
                  </a:lnTo>
                  <a:cubicBezTo>
                    <a:pt x="20286" y="5617"/>
                    <a:pt x="22038" y="4998"/>
                    <a:pt x="20303" y="5909"/>
                  </a:cubicBezTo>
                  <a:cubicBezTo>
                    <a:pt x="20578" y="5823"/>
                    <a:pt x="21230" y="5411"/>
                    <a:pt x="21024" y="5651"/>
                  </a:cubicBezTo>
                  <a:cubicBezTo>
                    <a:pt x="21780" y="5393"/>
                    <a:pt x="20629" y="6012"/>
                    <a:pt x="20303" y="6149"/>
                  </a:cubicBezTo>
                  <a:cubicBezTo>
                    <a:pt x="20698" y="6012"/>
                    <a:pt x="20303" y="6149"/>
                    <a:pt x="20303" y="6149"/>
                  </a:cubicBezTo>
                  <a:cubicBezTo>
                    <a:pt x="20303" y="6149"/>
                    <a:pt x="20560" y="5977"/>
                    <a:pt x="20406" y="6149"/>
                  </a:cubicBezTo>
                  <a:cubicBezTo>
                    <a:pt x="20663" y="5857"/>
                    <a:pt x="20921" y="6149"/>
                    <a:pt x="20492" y="6235"/>
                  </a:cubicBezTo>
                  <a:cubicBezTo>
                    <a:pt x="20448" y="6218"/>
                    <a:pt x="20398" y="6218"/>
                    <a:pt x="20354" y="6235"/>
                  </a:cubicBezTo>
                  <a:cubicBezTo>
                    <a:pt x="20612" y="6235"/>
                    <a:pt x="20251" y="6321"/>
                    <a:pt x="20165" y="6355"/>
                  </a:cubicBezTo>
                  <a:cubicBezTo>
                    <a:pt x="20818" y="6149"/>
                    <a:pt x="19616" y="6647"/>
                    <a:pt x="20337" y="6355"/>
                  </a:cubicBezTo>
                  <a:cubicBezTo>
                    <a:pt x="19427" y="6750"/>
                    <a:pt x="20749" y="6355"/>
                    <a:pt x="19856" y="6716"/>
                  </a:cubicBezTo>
                  <a:cubicBezTo>
                    <a:pt x="19856" y="6819"/>
                    <a:pt x="19856" y="6716"/>
                    <a:pt x="20097" y="6716"/>
                  </a:cubicBezTo>
                  <a:cubicBezTo>
                    <a:pt x="19967" y="6814"/>
                    <a:pt x="19822" y="6889"/>
                    <a:pt x="19667" y="6939"/>
                  </a:cubicBezTo>
                  <a:cubicBezTo>
                    <a:pt x="19564" y="6939"/>
                    <a:pt x="20423" y="6939"/>
                    <a:pt x="19495" y="7145"/>
                  </a:cubicBezTo>
                  <a:cubicBezTo>
                    <a:pt x="19392" y="7145"/>
                    <a:pt x="19959" y="7145"/>
                    <a:pt x="19358" y="7266"/>
                  </a:cubicBezTo>
                  <a:cubicBezTo>
                    <a:pt x="19856" y="7094"/>
                    <a:pt x="19925" y="7266"/>
                    <a:pt x="19358" y="7352"/>
                  </a:cubicBezTo>
                  <a:cubicBezTo>
                    <a:pt x="19581" y="7541"/>
                    <a:pt x="19255" y="7592"/>
                    <a:pt x="19358" y="7523"/>
                  </a:cubicBezTo>
                  <a:cubicBezTo>
                    <a:pt x="19083" y="7523"/>
                    <a:pt x="19358" y="7747"/>
                    <a:pt x="19049" y="7626"/>
                  </a:cubicBezTo>
                  <a:cubicBezTo>
                    <a:pt x="18860" y="7953"/>
                    <a:pt x="19186" y="7764"/>
                    <a:pt x="18860" y="7918"/>
                  </a:cubicBezTo>
                  <a:cubicBezTo>
                    <a:pt x="19118" y="7833"/>
                    <a:pt x="18654" y="8193"/>
                    <a:pt x="18860" y="8039"/>
                  </a:cubicBezTo>
                  <a:cubicBezTo>
                    <a:pt x="18534" y="8365"/>
                    <a:pt x="19152" y="7850"/>
                    <a:pt x="18705" y="8399"/>
                  </a:cubicBezTo>
                  <a:cubicBezTo>
                    <a:pt x="18482" y="8520"/>
                    <a:pt x="19066" y="8399"/>
                    <a:pt x="18551" y="8588"/>
                  </a:cubicBezTo>
                  <a:cubicBezTo>
                    <a:pt x="18929" y="8434"/>
                    <a:pt x="18637" y="8966"/>
                    <a:pt x="18396" y="8829"/>
                  </a:cubicBezTo>
                  <a:cubicBezTo>
                    <a:pt x="18396" y="8966"/>
                    <a:pt x="18242" y="9069"/>
                    <a:pt x="18190" y="8966"/>
                  </a:cubicBezTo>
                  <a:cubicBezTo>
                    <a:pt x="18138" y="8863"/>
                    <a:pt x="18018" y="9155"/>
                    <a:pt x="18190" y="8966"/>
                  </a:cubicBezTo>
                  <a:cubicBezTo>
                    <a:pt x="18362" y="8777"/>
                    <a:pt x="17692" y="9447"/>
                    <a:pt x="17846" y="9155"/>
                  </a:cubicBezTo>
                  <a:cubicBezTo>
                    <a:pt x="17709" y="8966"/>
                    <a:pt x="18173" y="8709"/>
                    <a:pt x="18224" y="8605"/>
                  </a:cubicBezTo>
                  <a:cubicBezTo>
                    <a:pt x="17915" y="8777"/>
                    <a:pt x="18104" y="8605"/>
                    <a:pt x="18224" y="8434"/>
                  </a:cubicBezTo>
                  <a:cubicBezTo>
                    <a:pt x="18345" y="8262"/>
                    <a:pt x="17967" y="8640"/>
                    <a:pt x="18053" y="8434"/>
                  </a:cubicBezTo>
                  <a:cubicBezTo>
                    <a:pt x="17761" y="8709"/>
                    <a:pt x="17589" y="8743"/>
                    <a:pt x="17486" y="9155"/>
                  </a:cubicBezTo>
                  <a:cubicBezTo>
                    <a:pt x="17383" y="9567"/>
                    <a:pt x="16816" y="10065"/>
                    <a:pt x="16747" y="9842"/>
                  </a:cubicBezTo>
                  <a:cubicBezTo>
                    <a:pt x="16678" y="9619"/>
                    <a:pt x="16867" y="9722"/>
                    <a:pt x="16747" y="9396"/>
                  </a:cubicBezTo>
                  <a:cubicBezTo>
                    <a:pt x="16524" y="9791"/>
                    <a:pt x="16524" y="10306"/>
                    <a:pt x="16524" y="10306"/>
                  </a:cubicBezTo>
                  <a:cubicBezTo>
                    <a:pt x="15820" y="10461"/>
                    <a:pt x="16644" y="9104"/>
                    <a:pt x="16799" y="9069"/>
                  </a:cubicBezTo>
                  <a:cubicBezTo>
                    <a:pt x="16524" y="9172"/>
                    <a:pt x="16799" y="9069"/>
                    <a:pt x="16558" y="9069"/>
                  </a:cubicBezTo>
                  <a:cubicBezTo>
                    <a:pt x="16678" y="8897"/>
                    <a:pt x="16386" y="9155"/>
                    <a:pt x="16301" y="9069"/>
                  </a:cubicBezTo>
                  <a:cubicBezTo>
                    <a:pt x="16215" y="8983"/>
                    <a:pt x="17005" y="8382"/>
                    <a:pt x="16850" y="8794"/>
                  </a:cubicBezTo>
                  <a:cubicBezTo>
                    <a:pt x="18310" y="8485"/>
                    <a:pt x="19203" y="7077"/>
                    <a:pt x="19530" y="6733"/>
                  </a:cubicBezTo>
                  <a:cubicBezTo>
                    <a:pt x="19032" y="7145"/>
                    <a:pt x="19169" y="6733"/>
                    <a:pt x="18980" y="6733"/>
                  </a:cubicBezTo>
                  <a:cubicBezTo>
                    <a:pt x="18791" y="6733"/>
                    <a:pt x="19238" y="6579"/>
                    <a:pt x="18980" y="6561"/>
                  </a:cubicBezTo>
                  <a:cubicBezTo>
                    <a:pt x="19203" y="6321"/>
                    <a:pt x="18980" y="6561"/>
                    <a:pt x="18980" y="6373"/>
                  </a:cubicBezTo>
                  <a:lnTo>
                    <a:pt x="19083" y="6373"/>
                  </a:lnTo>
                  <a:lnTo>
                    <a:pt x="18929" y="6458"/>
                  </a:lnTo>
                  <a:cubicBezTo>
                    <a:pt x="18671" y="6579"/>
                    <a:pt x="18430" y="6733"/>
                    <a:pt x="18173" y="6871"/>
                  </a:cubicBezTo>
                  <a:lnTo>
                    <a:pt x="18173" y="6871"/>
                  </a:lnTo>
                  <a:lnTo>
                    <a:pt x="18293" y="6871"/>
                  </a:lnTo>
                  <a:lnTo>
                    <a:pt x="18242" y="6871"/>
                  </a:lnTo>
                  <a:lnTo>
                    <a:pt x="18242" y="6871"/>
                  </a:lnTo>
                  <a:cubicBezTo>
                    <a:pt x="18242" y="6957"/>
                    <a:pt x="17984" y="6871"/>
                    <a:pt x="17898" y="7025"/>
                  </a:cubicBezTo>
                  <a:lnTo>
                    <a:pt x="17898" y="7025"/>
                  </a:lnTo>
                  <a:lnTo>
                    <a:pt x="17898" y="7025"/>
                  </a:lnTo>
                  <a:lnTo>
                    <a:pt x="18001" y="7025"/>
                  </a:lnTo>
                  <a:cubicBezTo>
                    <a:pt x="18001" y="7025"/>
                    <a:pt x="18001" y="7025"/>
                    <a:pt x="18001" y="7025"/>
                  </a:cubicBezTo>
                  <a:lnTo>
                    <a:pt x="18001" y="7025"/>
                  </a:lnTo>
                  <a:cubicBezTo>
                    <a:pt x="18001" y="7025"/>
                    <a:pt x="17881" y="7025"/>
                    <a:pt x="17829" y="7025"/>
                  </a:cubicBezTo>
                  <a:lnTo>
                    <a:pt x="17829" y="7025"/>
                  </a:lnTo>
                  <a:lnTo>
                    <a:pt x="17829" y="7025"/>
                  </a:lnTo>
                  <a:cubicBezTo>
                    <a:pt x="17623" y="7180"/>
                    <a:pt x="17400" y="7300"/>
                    <a:pt x="17177" y="7437"/>
                  </a:cubicBezTo>
                  <a:lnTo>
                    <a:pt x="17434" y="7334"/>
                  </a:lnTo>
                  <a:lnTo>
                    <a:pt x="17434" y="7334"/>
                  </a:lnTo>
                  <a:lnTo>
                    <a:pt x="17864" y="7111"/>
                  </a:lnTo>
                  <a:cubicBezTo>
                    <a:pt x="17702" y="7258"/>
                    <a:pt x="17523" y="7385"/>
                    <a:pt x="17331" y="7489"/>
                  </a:cubicBezTo>
                  <a:lnTo>
                    <a:pt x="17331" y="7489"/>
                  </a:lnTo>
                  <a:cubicBezTo>
                    <a:pt x="17075" y="7607"/>
                    <a:pt x="16843" y="7770"/>
                    <a:pt x="16644" y="7970"/>
                  </a:cubicBezTo>
                  <a:cubicBezTo>
                    <a:pt x="16644" y="7970"/>
                    <a:pt x="16747" y="7884"/>
                    <a:pt x="16799" y="7884"/>
                  </a:cubicBezTo>
                  <a:lnTo>
                    <a:pt x="16799" y="7884"/>
                  </a:lnTo>
                  <a:lnTo>
                    <a:pt x="17675" y="7437"/>
                  </a:lnTo>
                  <a:lnTo>
                    <a:pt x="17675" y="7437"/>
                  </a:lnTo>
                  <a:lnTo>
                    <a:pt x="17675" y="7437"/>
                  </a:lnTo>
                  <a:cubicBezTo>
                    <a:pt x="17675" y="7437"/>
                    <a:pt x="17675" y="7334"/>
                    <a:pt x="17812" y="7352"/>
                  </a:cubicBezTo>
                  <a:lnTo>
                    <a:pt x="17812" y="7352"/>
                  </a:lnTo>
                  <a:cubicBezTo>
                    <a:pt x="17812" y="7352"/>
                    <a:pt x="17812" y="7352"/>
                    <a:pt x="17932" y="7352"/>
                  </a:cubicBezTo>
                  <a:lnTo>
                    <a:pt x="17932" y="7352"/>
                  </a:lnTo>
                  <a:lnTo>
                    <a:pt x="18362" y="7111"/>
                  </a:lnTo>
                  <a:cubicBezTo>
                    <a:pt x="18362" y="7111"/>
                    <a:pt x="18362" y="7111"/>
                    <a:pt x="18362" y="7266"/>
                  </a:cubicBezTo>
                  <a:lnTo>
                    <a:pt x="18362" y="7266"/>
                  </a:lnTo>
                  <a:cubicBezTo>
                    <a:pt x="18341" y="7321"/>
                    <a:pt x="18297" y="7365"/>
                    <a:pt x="18242" y="7386"/>
                  </a:cubicBezTo>
                  <a:cubicBezTo>
                    <a:pt x="18242" y="7300"/>
                    <a:pt x="18242" y="7472"/>
                    <a:pt x="18104" y="7489"/>
                  </a:cubicBezTo>
                  <a:cubicBezTo>
                    <a:pt x="17967" y="7506"/>
                    <a:pt x="17967" y="7626"/>
                    <a:pt x="17898" y="7626"/>
                  </a:cubicBezTo>
                  <a:cubicBezTo>
                    <a:pt x="17829" y="7626"/>
                    <a:pt x="17898" y="7626"/>
                    <a:pt x="17898" y="7626"/>
                  </a:cubicBezTo>
                  <a:lnTo>
                    <a:pt x="17898" y="7626"/>
                  </a:lnTo>
                  <a:cubicBezTo>
                    <a:pt x="17898" y="7626"/>
                    <a:pt x="17606" y="7764"/>
                    <a:pt x="17692" y="7626"/>
                  </a:cubicBezTo>
                  <a:lnTo>
                    <a:pt x="17692" y="7626"/>
                  </a:lnTo>
                  <a:cubicBezTo>
                    <a:pt x="17692" y="7626"/>
                    <a:pt x="17692" y="7712"/>
                    <a:pt x="17537" y="7729"/>
                  </a:cubicBezTo>
                  <a:lnTo>
                    <a:pt x="17537" y="7729"/>
                  </a:lnTo>
                  <a:cubicBezTo>
                    <a:pt x="17537" y="7729"/>
                    <a:pt x="17417" y="7729"/>
                    <a:pt x="17537" y="7729"/>
                  </a:cubicBezTo>
                  <a:cubicBezTo>
                    <a:pt x="17222" y="8004"/>
                    <a:pt x="16845" y="8199"/>
                    <a:pt x="16438" y="8296"/>
                  </a:cubicBezTo>
                  <a:cubicBezTo>
                    <a:pt x="16466" y="8278"/>
                    <a:pt x="16495" y="8261"/>
                    <a:pt x="16524" y="8245"/>
                  </a:cubicBezTo>
                  <a:lnTo>
                    <a:pt x="16524" y="8245"/>
                  </a:lnTo>
                  <a:lnTo>
                    <a:pt x="16661" y="8125"/>
                  </a:lnTo>
                  <a:lnTo>
                    <a:pt x="16661" y="8125"/>
                  </a:lnTo>
                  <a:cubicBezTo>
                    <a:pt x="16661" y="8125"/>
                    <a:pt x="16490" y="8210"/>
                    <a:pt x="16661" y="8125"/>
                  </a:cubicBezTo>
                  <a:cubicBezTo>
                    <a:pt x="16557" y="8250"/>
                    <a:pt x="16436" y="8360"/>
                    <a:pt x="16301" y="8451"/>
                  </a:cubicBezTo>
                  <a:lnTo>
                    <a:pt x="16404" y="8296"/>
                  </a:lnTo>
                  <a:cubicBezTo>
                    <a:pt x="16404" y="8296"/>
                    <a:pt x="16404" y="8382"/>
                    <a:pt x="16283" y="8399"/>
                  </a:cubicBezTo>
                  <a:cubicBezTo>
                    <a:pt x="16163" y="8417"/>
                    <a:pt x="16283" y="8399"/>
                    <a:pt x="16283" y="8399"/>
                  </a:cubicBezTo>
                  <a:lnTo>
                    <a:pt x="16283" y="8399"/>
                  </a:lnTo>
                  <a:lnTo>
                    <a:pt x="16438" y="8279"/>
                  </a:lnTo>
                  <a:cubicBezTo>
                    <a:pt x="16438" y="8279"/>
                    <a:pt x="16335" y="8279"/>
                    <a:pt x="16438" y="8279"/>
                  </a:cubicBezTo>
                  <a:lnTo>
                    <a:pt x="16438" y="8279"/>
                  </a:lnTo>
                  <a:lnTo>
                    <a:pt x="16438" y="8279"/>
                  </a:lnTo>
                  <a:cubicBezTo>
                    <a:pt x="16260" y="8438"/>
                    <a:pt x="16057" y="8566"/>
                    <a:pt x="15837" y="8657"/>
                  </a:cubicBezTo>
                  <a:lnTo>
                    <a:pt x="15837" y="8657"/>
                  </a:lnTo>
                  <a:cubicBezTo>
                    <a:pt x="15510" y="8846"/>
                    <a:pt x="15837" y="8520"/>
                    <a:pt x="15837" y="8365"/>
                  </a:cubicBezTo>
                  <a:cubicBezTo>
                    <a:pt x="15545" y="8537"/>
                    <a:pt x="15614" y="8846"/>
                    <a:pt x="15287" y="8932"/>
                  </a:cubicBezTo>
                  <a:lnTo>
                    <a:pt x="15287" y="8932"/>
                  </a:lnTo>
                  <a:lnTo>
                    <a:pt x="14841" y="9138"/>
                  </a:lnTo>
                  <a:cubicBezTo>
                    <a:pt x="14841" y="9138"/>
                    <a:pt x="14841" y="9138"/>
                    <a:pt x="14841" y="9138"/>
                  </a:cubicBezTo>
                  <a:lnTo>
                    <a:pt x="14841" y="9138"/>
                  </a:lnTo>
                  <a:lnTo>
                    <a:pt x="14841" y="9138"/>
                  </a:lnTo>
                  <a:cubicBezTo>
                    <a:pt x="14841" y="9138"/>
                    <a:pt x="14841" y="9138"/>
                    <a:pt x="14961" y="9035"/>
                  </a:cubicBezTo>
                  <a:cubicBezTo>
                    <a:pt x="15081" y="8932"/>
                    <a:pt x="14841" y="9035"/>
                    <a:pt x="14806" y="9121"/>
                  </a:cubicBezTo>
                  <a:cubicBezTo>
                    <a:pt x="14849" y="9096"/>
                    <a:pt x="14884" y="9060"/>
                    <a:pt x="14909" y="9018"/>
                  </a:cubicBezTo>
                  <a:cubicBezTo>
                    <a:pt x="14909" y="9018"/>
                    <a:pt x="14514" y="9344"/>
                    <a:pt x="14686" y="9138"/>
                  </a:cubicBezTo>
                  <a:lnTo>
                    <a:pt x="14531" y="9258"/>
                  </a:lnTo>
                  <a:cubicBezTo>
                    <a:pt x="14601" y="9111"/>
                    <a:pt x="14687" y="8973"/>
                    <a:pt x="14789" y="8846"/>
                  </a:cubicBezTo>
                  <a:lnTo>
                    <a:pt x="14789" y="8846"/>
                  </a:lnTo>
                  <a:lnTo>
                    <a:pt x="14789" y="8846"/>
                  </a:lnTo>
                  <a:lnTo>
                    <a:pt x="14703" y="8949"/>
                  </a:lnTo>
                  <a:cubicBezTo>
                    <a:pt x="14909" y="8794"/>
                    <a:pt x="14600" y="9138"/>
                    <a:pt x="14549" y="9121"/>
                  </a:cubicBezTo>
                  <a:lnTo>
                    <a:pt x="14686" y="9121"/>
                  </a:lnTo>
                  <a:cubicBezTo>
                    <a:pt x="14549" y="9361"/>
                    <a:pt x="13999" y="9653"/>
                    <a:pt x="14411" y="9121"/>
                  </a:cubicBezTo>
                  <a:cubicBezTo>
                    <a:pt x="14274" y="9207"/>
                    <a:pt x="14205" y="9361"/>
                    <a:pt x="14085" y="9447"/>
                  </a:cubicBezTo>
                  <a:lnTo>
                    <a:pt x="14085" y="9447"/>
                  </a:lnTo>
                  <a:lnTo>
                    <a:pt x="14085" y="9447"/>
                  </a:lnTo>
                  <a:lnTo>
                    <a:pt x="14085" y="9447"/>
                  </a:lnTo>
                  <a:lnTo>
                    <a:pt x="13930" y="9585"/>
                  </a:lnTo>
                  <a:cubicBezTo>
                    <a:pt x="13930" y="9585"/>
                    <a:pt x="13930" y="9585"/>
                    <a:pt x="13930" y="9585"/>
                  </a:cubicBezTo>
                  <a:cubicBezTo>
                    <a:pt x="13930" y="9585"/>
                    <a:pt x="13810" y="9585"/>
                    <a:pt x="13776" y="9585"/>
                  </a:cubicBezTo>
                  <a:cubicBezTo>
                    <a:pt x="13741" y="9585"/>
                    <a:pt x="13260" y="9911"/>
                    <a:pt x="13123" y="9945"/>
                  </a:cubicBezTo>
                  <a:lnTo>
                    <a:pt x="13123" y="9945"/>
                  </a:lnTo>
                  <a:cubicBezTo>
                    <a:pt x="12737" y="10291"/>
                    <a:pt x="12330" y="10612"/>
                    <a:pt x="11903" y="10907"/>
                  </a:cubicBezTo>
                  <a:cubicBezTo>
                    <a:pt x="12900" y="10254"/>
                    <a:pt x="11749" y="11405"/>
                    <a:pt x="11525" y="11405"/>
                  </a:cubicBezTo>
                  <a:cubicBezTo>
                    <a:pt x="11972" y="11405"/>
                    <a:pt x="11732" y="11783"/>
                    <a:pt x="11525" y="12092"/>
                  </a:cubicBezTo>
                  <a:lnTo>
                    <a:pt x="11525" y="12092"/>
                  </a:lnTo>
                  <a:cubicBezTo>
                    <a:pt x="11512" y="12253"/>
                    <a:pt x="11471" y="12409"/>
                    <a:pt x="11405" y="12556"/>
                  </a:cubicBezTo>
                  <a:cubicBezTo>
                    <a:pt x="11525" y="12556"/>
                    <a:pt x="11508" y="12693"/>
                    <a:pt x="11629" y="12693"/>
                  </a:cubicBezTo>
                  <a:lnTo>
                    <a:pt x="11629" y="12693"/>
                  </a:lnTo>
                  <a:cubicBezTo>
                    <a:pt x="11143" y="13178"/>
                    <a:pt x="10727" y="13727"/>
                    <a:pt x="10392" y="14325"/>
                  </a:cubicBezTo>
                  <a:cubicBezTo>
                    <a:pt x="10598" y="14325"/>
                    <a:pt x="10546" y="14325"/>
                    <a:pt x="10753" y="14188"/>
                  </a:cubicBezTo>
                  <a:cubicBezTo>
                    <a:pt x="10753" y="14274"/>
                    <a:pt x="10546" y="14445"/>
                    <a:pt x="10649" y="14514"/>
                  </a:cubicBezTo>
                  <a:cubicBezTo>
                    <a:pt x="11067" y="13670"/>
                    <a:pt x="11757" y="12992"/>
                    <a:pt x="12608" y="12590"/>
                  </a:cubicBezTo>
                  <a:cubicBezTo>
                    <a:pt x="13106" y="12024"/>
                    <a:pt x="13484" y="11337"/>
                    <a:pt x="13999" y="11148"/>
                  </a:cubicBezTo>
                  <a:lnTo>
                    <a:pt x="13999" y="11148"/>
                  </a:lnTo>
                  <a:cubicBezTo>
                    <a:pt x="14085" y="11148"/>
                    <a:pt x="14119" y="10976"/>
                    <a:pt x="14205" y="10976"/>
                  </a:cubicBezTo>
                  <a:cubicBezTo>
                    <a:pt x="14291" y="10976"/>
                    <a:pt x="14205" y="10873"/>
                    <a:pt x="14325" y="10856"/>
                  </a:cubicBezTo>
                  <a:cubicBezTo>
                    <a:pt x="14446" y="10838"/>
                    <a:pt x="15493" y="9808"/>
                    <a:pt x="15081" y="10409"/>
                  </a:cubicBezTo>
                  <a:cubicBezTo>
                    <a:pt x="15081" y="10409"/>
                    <a:pt x="15253" y="10409"/>
                    <a:pt x="15201" y="10409"/>
                  </a:cubicBezTo>
                  <a:lnTo>
                    <a:pt x="15201" y="10409"/>
                  </a:lnTo>
                  <a:cubicBezTo>
                    <a:pt x="15510" y="10409"/>
                    <a:pt x="15201" y="10409"/>
                    <a:pt x="15304" y="10564"/>
                  </a:cubicBezTo>
                  <a:cubicBezTo>
                    <a:pt x="15407" y="10718"/>
                    <a:pt x="15201" y="10649"/>
                    <a:pt x="15167" y="10701"/>
                  </a:cubicBezTo>
                  <a:lnTo>
                    <a:pt x="15167" y="10701"/>
                  </a:lnTo>
                  <a:cubicBezTo>
                    <a:pt x="15167" y="10701"/>
                    <a:pt x="15167" y="10804"/>
                    <a:pt x="15167" y="10856"/>
                  </a:cubicBezTo>
                  <a:lnTo>
                    <a:pt x="15167" y="10856"/>
                  </a:lnTo>
                  <a:cubicBezTo>
                    <a:pt x="15167" y="10856"/>
                    <a:pt x="15167" y="10941"/>
                    <a:pt x="15167" y="10941"/>
                  </a:cubicBezTo>
                  <a:lnTo>
                    <a:pt x="15167" y="10941"/>
                  </a:lnTo>
                  <a:cubicBezTo>
                    <a:pt x="15167" y="10941"/>
                    <a:pt x="15167" y="11027"/>
                    <a:pt x="15047" y="11079"/>
                  </a:cubicBez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cubicBezTo>
                    <a:pt x="15201" y="11079"/>
                    <a:pt x="15047" y="11165"/>
                    <a:pt x="15047" y="11216"/>
                  </a:cubicBezTo>
                  <a:cubicBezTo>
                    <a:pt x="15047" y="11268"/>
                    <a:pt x="15150" y="11113"/>
                    <a:pt x="15201" y="11130"/>
                  </a:cubicBezTo>
                  <a:cubicBezTo>
                    <a:pt x="15253" y="11148"/>
                    <a:pt x="14909" y="11337"/>
                    <a:pt x="14789" y="11508"/>
                  </a:cubicBezTo>
                  <a:lnTo>
                    <a:pt x="14789" y="11508"/>
                  </a:lnTo>
                  <a:cubicBezTo>
                    <a:pt x="14789" y="11508"/>
                    <a:pt x="14652" y="11629"/>
                    <a:pt x="14583" y="11508"/>
                  </a:cubicBezTo>
                  <a:cubicBezTo>
                    <a:pt x="14772" y="11680"/>
                    <a:pt x="14308" y="12041"/>
                    <a:pt x="14325" y="11989"/>
                  </a:cubicBezTo>
                  <a:cubicBezTo>
                    <a:pt x="14342" y="11938"/>
                    <a:pt x="14325" y="12144"/>
                    <a:pt x="14325" y="11989"/>
                  </a:cubicBezTo>
                  <a:cubicBezTo>
                    <a:pt x="14325" y="11835"/>
                    <a:pt x="14119" y="12264"/>
                    <a:pt x="14016" y="12367"/>
                  </a:cubicBezTo>
                  <a:cubicBezTo>
                    <a:pt x="14291" y="12178"/>
                    <a:pt x="14360" y="12144"/>
                    <a:pt x="14016" y="12367"/>
                  </a:cubicBezTo>
                  <a:cubicBezTo>
                    <a:pt x="14016" y="12367"/>
                    <a:pt x="14308" y="12127"/>
                    <a:pt x="14308" y="12230"/>
                  </a:cubicBezTo>
                  <a:cubicBezTo>
                    <a:pt x="14308" y="12333"/>
                    <a:pt x="14463" y="12109"/>
                    <a:pt x="14549" y="12075"/>
                  </a:cubicBezTo>
                  <a:cubicBezTo>
                    <a:pt x="14564" y="12131"/>
                    <a:pt x="14564" y="12191"/>
                    <a:pt x="14549" y="12247"/>
                  </a:cubicBezTo>
                  <a:cubicBezTo>
                    <a:pt x="14549" y="12161"/>
                    <a:pt x="14961" y="11800"/>
                    <a:pt x="14995" y="11921"/>
                  </a:cubicBezTo>
                  <a:cubicBezTo>
                    <a:pt x="15030" y="12041"/>
                    <a:pt x="14995" y="11921"/>
                    <a:pt x="14995" y="11921"/>
                  </a:cubicBezTo>
                  <a:cubicBezTo>
                    <a:pt x="14995" y="11921"/>
                    <a:pt x="14995" y="11817"/>
                    <a:pt x="15133" y="11817"/>
                  </a:cubicBezTo>
                  <a:lnTo>
                    <a:pt x="15133" y="11817"/>
                  </a:lnTo>
                  <a:cubicBezTo>
                    <a:pt x="15133" y="11732"/>
                    <a:pt x="15579" y="11457"/>
                    <a:pt x="15442" y="11577"/>
                  </a:cubicBezTo>
                  <a:lnTo>
                    <a:pt x="15442" y="11577"/>
                  </a:lnTo>
                  <a:cubicBezTo>
                    <a:pt x="15442" y="11577"/>
                    <a:pt x="15442" y="11697"/>
                    <a:pt x="15322" y="11697"/>
                  </a:cubicBezTo>
                  <a:cubicBezTo>
                    <a:pt x="15201" y="11697"/>
                    <a:pt x="15322" y="11697"/>
                    <a:pt x="15322" y="11783"/>
                  </a:cubicBezTo>
                  <a:lnTo>
                    <a:pt x="15322" y="11783"/>
                  </a:lnTo>
                  <a:cubicBezTo>
                    <a:pt x="15218" y="11783"/>
                    <a:pt x="15322" y="11955"/>
                    <a:pt x="15150" y="12006"/>
                  </a:cubicBezTo>
                  <a:cubicBezTo>
                    <a:pt x="14978" y="12058"/>
                    <a:pt x="15150" y="12127"/>
                    <a:pt x="15150" y="12006"/>
                  </a:cubicBezTo>
                  <a:cubicBezTo>
                    <a:pt x="15150" y="11886"/>
                    <a:pt x="14789" y="12161"/>
                    <a:pt x="15150" y="12144"/>
                  </a:cubicBezTo>
                  <a:cubicBezTo>
                    <a:pt x="15510" y="12127"/>
                    <a:pt x="14961" y="12298"/>
                    <a:pt x="15150" y="12247"/>
                  </a:cubicBezTo>
                  <a:cubicBezTo>
                    <a:pt x="15339" y="12195"/>
                    <a:pt x="14995" y="12419"/>
                    <a:pt x="14978" y="12247"/>
                  </a:cubicBezTo>
                  <a:cubicBezTo>
                    <a:pt x="14961" y="12075"/>
                    <a:pt x="14978" y="12333"/>
                    <a:pt x="14978" y="12350"/>
                  </a:cubicBezTo>
                  <a:cubicBezTo>
                    <a:pt x="14978" y="12367"/>
                    <a:pt x="15098" y="12350"/>
                    <a:pt x="15150" y="12350"/>
                  </a:cubicBezTo>
                  <a:cubicBezTo>
                    <a:pt x="15201" y="12350"/>
                    <a:pt x="14961" y="12350"/>
                    <a:pt x="14892" y="12505"/>
                  </a:cubicBezTo>
                  <a:cubicBezTo>
                    <a:pt x="15133" y="12505"/>
                    <a:pt x="15047" y="12505"/>
                    <a:pt x="14892" y="12608"/>
                  </a:cubicBezTo>
                  <a:cubicBezTo>
                    <a:pt x="14738" y="12711"/>
                    <a:pt x="14892" y="12608"/>
                    <a:pt x="14995" y="12608"/>
                  </a:cubicBezTo>
                  <a:cubicBezTo>
                    <a:pt x="15011" y="12682"/>
                    <a:pt x="14963" y="12755"/>
                    <a:pt x="14889" y="12770"/>
                  </a:cubicBezTo>
                  <a:cubicBezTo>
                    <a:pt x="14861" y="12776"/>
                    <a:pt x="14832" y="12773"/>
                    <a:pt x="14806" y="12762"/>
                  </a:cubicBezTo>
                  <a:cubicBezTo>
                    <a:pt x="14806" y="12762"/>
                    <a:pt x="14961" y="12848"/>
                    <a:pt x="14806" y="12917"/>
                  </a:cubicBezTo>
                  <a:cubicBezTo>
                    <a:pt x="14995" y="13020"/>
                    <a:pt x="14600" y="13157"/>
                    <a:pt x="14566" y="13089"/>
                  </a:cubicBezTo>
                  <a:cubicBezTo>
                    <a:pt x="14531" y="13020"/>
                    <a:pt x="14566" y="13363"/>
                    <a:pt x="14411" y="13312"/>
                  </a:cubicBezTo>
                  <a:cubicBezTo>
                    <a:pt x="14257" y="13260"/>
                    <a:pt x="14669" y="13312"/>
                    <a:pt x="14531" y="13415"/>
                  </a:cubicBezTo>
                  <a:cubicBezTo>
                    <a:pt x="14394" y="13518"/>
                    <a:pt x="14531" y="13415"/>
                    <a:pt x="14531" y="13501"/>
                  </a:cubicBezTo>
                  <a:cubicBezTo>
                    <a:pt x="14531" y="13587"/>
                    <a:pt x="14531" y="13501"/>
                    <a:pt x="14531" y="13621"/>
                  </a:cubicBezTo>
                  <a:lnTo>
                    <a:pt x="14634" y="13621"/>
                  </a:lnTo>
                  <a:cubicBezTo>
                    <a:pt x="14634" y="13707"/>
                    <a:pt x="14428" y="13879"/>
                    <a:pt x="14325" y="13844"/>
                  </a:cubicBezTo>
                  <a:cubicBezTo>
                    <a:pt x="14222" y="13810"/>
                    <a:pt x="14480" y="13844"/>
                    <a:pt x="14549" y="13844"/>
                  </a:cubicBezTo>
                  <a:cubicBezTo>
                    <a:pt x="14325" y="14050"/>
                    <a:pt x="14549" y="13844"/>
                    <a:pt x="14549" y="13844"/>
                  </a:cubicBezTo>
                  <a:cubicBezTo>
                    <a:pt x="14549" y="13844"/>
                    <a:pt x="14549" y="13844"/>
                    <a:pt x="14394" y="13999"/>
                  </a:cubicBezTo>
                  <a:cubicBezTo>
                    <a:pt x="14394" y="13999"/>
                    <a:pt x="14686" y="13810"/>
                    <a:pt x="14549" y="13999"/>
                  </a:cubicBezTo>
                  <a:lnTo>
                    <a:pt x="14549" y="13999"/>
                  </a:lnTo>
                  <a:cubicBezTo>
                    <a:pt x="14549" y="13999"/>
                    <a:pt x="14463" y="14102"/>
                    <a:pt x="14446" y="14153"/>
                  </a:cubicBezTo>
                  <a:cubicBezTo>
                    <a:pt x="14428" y="14205"/>
                    <a:pt x="14755" y="14153"/>
                    <a:pt x="14549" y="14153"/>
                  </a:cubicBezTo>
                  <a:cubicBezTo>
                    <a:pt x="14806" y="14342"/>
                    <a:pt x="14205" y="14239"/>
                    <a:pt x="14119" y="14360"/>
                  </a:cubicBezTo>
                  <a:cubicBezTo>
                    <a:pt x="14566" y="14360"/>
                    <a:pt x="13982" y="14360"/>
                    <a:pt x="13896" y="14497"/>
                  </a:cubicBezTo>
                  <a:cubicBezTo>
                    <a:pt x="13870" y="14437"/>
                    <a:pt x="13870" y="14368"/>
                    <a:pt x="13896" y="14308"/>
                  </a:cubicBezTo>
                  <a:cubicBezTo>
                    <a:pt x="13896" y="14445"/>
                    <a:pt x="13896" y="14531"/>
                    <a:pt x="13793" y="14634"/>
                  </a:cubicBezTo>
                  <a:cubicBezTo>
                    <a:pt x="13982" y="14634"/>
                    <a:pt x="14188" y="14342"/>
                    <a:pt x="14428" y="14411"/>
                  </a:cubicBezTo>
                  <a:cubicBezTo>
                    <a:pt x="14308" y="14257"/>
                    <a:pt x="14806" y="14411"/>
                    <a:pt x="14428" y="14617"/>
                  </a:cubicBezTo>
                  <a:cubicBezTo>
                    <a:pt x="14428" y="14617"/>
                    <a:pt x="14428" y="14617"/>
                    <a:pt x="14428" y="14617"/>
                  </a:cubicBezTo>
                  <a:cubicBezTo>
                    <a:pt x="14428" y="14617"/>
                    <a:pt x="14703" y="14463"/>
                    <a:pt x="14566" y="14617"/>
                  </a:cubicBezTo>
                  <a:cubicBezTo>
                    <a:pt x="14428" y="14772"/>
                    <a:pt x="14669" y="14617"/>
                    <a:pt x="14652" y="14617"/>
                  </a:cubicBezTo>
                  <a:cubicBezTo>
                    <a:pt x="14634" y="14617"/>
                    <a:pt x="14652" y="14789"/>
                    <a:pt x="14497" y="14772"/>
                  </a:cubicBezTo>
                  <a:cubicBezTo>
                    <a:pt x="14600" y="14772"/>
                    <a:pt x="14360" y="14995"/>
                    <a:pt x="14360" y="14875"/>
                  </a:cubicBezTo>
                  <a:cubicBezTo>
                    <a:pt x="14360" y="14755"/>
                    <a:pt x="14549" y="15047"/>
                    <a:pt x="14360" y="15012"/>
                  </a:cubicBezTo>
                  <a:cubicBezTo>
                    <a:pt x="14583" y="15115"/>
                    <a:pt x="13879" y="15407"/>
                    <a:pt x="13844" y="15287"/>
                  </a:cubicBezTo>
                  <a:cubicBezTo>
                    <a:pt x="13810" y="15167"/>
                    <a:pt x="13724" y="15287"/>
                    <a:pt x="13844" y="15287"/>
                  </a:cubicBezTo>
                  <a:cubicBezTo>
                    <a:pt x="13381" y="15682"/>
                    <a:pt x="13003" y="15734"/>
                    <a:pt x="12590" y="15407"/>
                  </a:cubicBezTo>
                  <a:cubicBezTo>
                    <a:pt x="12590" y="15407"/>
                    <a:pt x="12213" y="15407"/>
                    <a:pt x="12247" y="15253"/>
                  </a:cubicBezTo>
                  <a:cubicBezTo>
                    <a:pt x="11629" y="15631"/>
                    <a:pt x="11062" y="16026"/>
                    <a:pt x="10426" y="16369"/>
                  </a:cubicBezTo>
                  <a:cubicBezTo>
                    <a:pt x="10849" y="16193"/>
                    <a:pt x="11326" y="16193"/>
                    <a:pt x="11749" y="16369"/>
                  </a:cubicBezTo>
                  <a:cubicBezTo>
                    <a:pt x="11704" y="16429"/>
                    <a:pt x="11645" y="16477"/>
                    <a:pt x="11577" y="16507"/>
                  </a:cubicBezTo>
                  <a:cubicBezTo>
                    <a:pt x="11749" y="16507"/>
                    <a:pt x="11354" y="16885"/>
                    <a:pt x="11577" y="16936"/>
                  </a:cubicBezTo>
                  <a:cubicBezTo>
                    <a:pt x="11405" y="17022"/>
                    <a:pt x="11732" y="17262"/>
                    <a:pt x="11835" y="17125"/>
                  </a:cubicBezTo>
                  <a:cubicBezTo>
                    <a:pt x="11835" y="17125"/>
                    <a:pt x="11972" y="17262"/>
                    <a:pt x="11835" y="17245"/>
                  </a:cubicBezTo>
                  <a:cubicBezTo>
                    <a:pt x="12075" y="17245"/>
                    <a:pt x="11182" y="17520"/>
                    <a:pt x="11251" y="17365"/>
                  </a:cubicBezTo>
                  <a:cubicBezTo>
                    <a:pt x="11101" y="17505"/>
                    <a:pt x="10940" y="17631"/>
                    <a:pt x="10770" y="17743"/>
                  </a:cubicBezTo>
                  <a:lnTo>
                    <a:pt x="10770" y="17743"/>
                  </a:lnTo>
                  <a:cubicBezTo>
                    <a:pt x="10667" y="17743"/>
                    <a:pt x="10770" y="17589"/>
                    <a:pt x="10770" y="17640"/>
                  </a:cubicBezTo>
                  <a:cubicBezTo>
                    <a:pt x="10770" y="17417"/>
                    <a:pt x="11371" y="16988"/>
                    <a:pt x="11371" y="17280"/>
                  </a:cubicBezTo>
                  <a:cubicBezTo>
                    <a:pt x="11371" y="17177"/>
                    <a:pt x="11491" y="17280"/>
                    <a:pt x="11543" y="17194"/>
                  </a:cubicBezTo>
                  <a:cubicBezTo>
                    <a:pt x="11233" y="17073"/>
                    <a:pt x="11233" y="17194"/>
                    <a:pt x="11543" y="16970"/>
                  </a:cubicBezTo>
                  <a:lnTo>
                    <a:pt x="11543" y="16970"/>
                  </a:lnTo>
                  <a:lnTo>
                    <a:pt x="11543" y="16970"/>
                  </a:lnTo>
                  <a:cubicBezTo>
                    <a:pt x="11543" y="17073"/>
                    <a:pt x="11045" y="17245"/>
                    <a:pt x="11233" y="16970"/>
                  </a:cubicBezTo>
                  <a:cubicBezTo>
                    <a:pt x="11096" y="17125"/>
                    <a:pt x="11045" y="17073"/>
                    <a:pt x="10924" y="16970"/>
                  </a:cubicBezTo>
                  <a:cubicBezTo>
                    <a:pt x="10804" y="16867"/>
                    <a:pt x="10924" y="17091"/>
                    <a:pt x="10924" y="17159"/>
                  </a:cubicBezTo>
                  <a:cubicBezTo>
                    <a:pt x="10924" y="17228"/>
                    <a:pt x="10924" y="17331"/>
                    <a:pt x="10924" y="17159"/>
                  </a:cubicBezTo>
                  <a:cubicBezTo>
                    <a:pt x="10924" y="16988"/>
                    <a:pt x="10598" y="17314"/>
                    <a:pt x="10667" y="17159"/>
                  </a:cubicBezTo>
                  <a:cubicBezTo>
                    <a:pt x="10735" y="17005"/>
                    <a:pt x="10478" y="17245"/>
                    <a:pt x="10667" y="17159"/>
                  </a:cubicBezTo>
                  <a:cubicBezTo>
                    <a:pt x="10856" y="17073"/>
                    <a:pt x="10546" y="17297"/>
                    <a:pt x="10478" y="17331"/>
                  </a:cubicBezTo>
                  <a:lnTo>
                    <a:pt x="10478" y="17331"/>
                  </a:lnTo>
                  <a:cubicBezTo>
                    <a:pt x="10478" y="17331"/>
                    <a:pt x="10478" y="17417"/>
                    <a:pt x="10478" y="17331"/>
                  </a:cubicBezTo>
                  <a:cubicBezTo>
                    <a:pt x="10478" y="17245"/>
                    <a:pt x="10357" y="17469"/>
                    <a:pt x="10478" y="17331"/>
                  </a:cubicBezTo>
                  <a:cubicBezTo>
                    <a:pt x="10254" y="17331"/>
                    <a:pt x="9722" y="18345"/>
                    <a:pt x="10083" y="18001"/>
                  </a:cubicBezTo>
                  <a:cubicBezTo>
                    <a:pt x="10083" y="18138"/>
                    <a:pt x="9842" y="18327"/>
                    <a:pt x="9911" y="18087"/>
                  </a:cubicBezTo>
                  <a:cubicBezTo>
                    <a:pt x="9773" y="18259"/>
                    <a:pt x="9791" y="18241"/>
                    <a:pt x="9808" y="18087"/>
                  </a:cubicBezTo>
                  <a:cubicBezTo>
                    <a:pt x="9360" y="18252"/>
                    <a:pt x="8984" y="18568"/>
                    <a:pt x="8743" y="18980"/>
                  </a:cubicBezTo>
                  <a:lnTo>
                    <a:pt x="8743" y="18980"/>
                  </a:lnTo>
                  <a:lnTo>
                    <a:pt x="8743" y="18980"/>
                  </a:lnTo>
                  <a:cubicBezTo>
                    <a:pt x="8743" y="18980"/>
                    <a:pt x="8743" y="18825"/>
                    <a:pt x="8743" y="18740"/>
                  </a:cubicBezTo>
                  <a:cubicBezTo>
                    <a:pt x="8605" y="18980"/>
                    <a:pt x="8588" y="19289"/>
                    <a:pt x="8365" y="19495"/>
                  </a:cubicBezTo>
                  <a:lnTo>
                    <a:pt x="8365" y="19495"/>
                  </a:lnTo>
                  <a:lnTo>
                    <a:pt x="8262" y="19650"/>
                  </a:lnTo>
                  <a:cubicBezTo>
                    <a:pt x="8298" y="19536"/>
                    <a:pt x="8356" y="19431"/>
                    <a:pt x="8434" y="19341"/>
                  </a:cubicBezTo>
                  <a:cubicBezTo>
                    <a:pt x="8434" y="19341"/>
                    <a:pt x="8434" y="19255"/>
                    <a:pt x="8434" y="19221"/>
                  </a:cubicBezTo>
                  <a:lnTo>
                    <a:pt x="8434" y="19221"/>
                  </a:lnTo>
                  <a:cubicBezTo>
                    <a:pt x="8434" y="19014"/>
                    <a:pt x="8605" y="18860"/>
                    <a:pt x="8674" y="18671"/>
                  </a:cubicBezTo>
                  <a:cubicBezTo>
                    <a:pt x="8545" y="18838"/>
                    <a:pt x="8441" y="19023"/>
                    <a:pt x="8365" y="19221"/>
                  </a:cubicBezTo>
                  <a:cubicBezTo>
                    <a:pt x="8365" y="19117"/>
                    <a:pt x="8365" y="19032"/>
                    <a:pt x="8365" y="18929"/>
                  </a:cubicBezTo>
                  <a:cubicBezTo>
                    <a:pt x="8365" y="18825"/>
                    <a:pt x="8365" y="19581"/>
                    <a:pt x="8365" y="19324"/>
                  </a:cubicBezTo>
                  <a:cubicBezTo>
                    <a:pt x="8365" y="19324"/>
                    <a:pt x="8365" y="19598"/>
                    <a:pt x="8365" y="19530"/>
                  </a:cubicBezTo>
                  <a:cubicBezTo>
                    <a:pt x="8365" y="19461"/>
                    <a:pt x="8365" y="19616"/>
                    <a:pt x="8365" y="19650"/>
                  </a:cubicBezTo>
                  <a:cubicBezTo>
                    <a:pt x="8374" y="19605"/>
                    <a:pt x="8374" y="19558"/>
                    <a:pt x="8365" y="19513"/>
                  </a:cubicBezTo>
                  <a:cubicBezTo>
                    <a:pt x="8365" y="19650"/>
                    <a:pt x="8502" y="19719"/>
                    <a:pt x="8365" y="19856"/>
                  </a:cubicBezTo>
                  <a:lnTo>
                    <a:pt x="8365" y="19856"/>
                  </a:lnTo>
                  <a:cubicBezTo>
                    <a:pt x="8365" y="19993"/>
                    <a:pt x="8176" y="20148"/>
                    <a:pt x="8210" y="19976"/>
                  </a:cubicBezTo>
                  <a:cubicBezTo>
                    <a:pt x="8245" y="19805"/>
                    <a:pt x="8210" y="20079"/>
                    <a:pt x="8210" y="20097"/>
                  </a:cubicBezTo>
                  <a:cubicBezTo>
                    <a:pt x="8210" y="20114"/>
                    <a:pt x="8296" y="20097"/>
                    <a:pt x="8313" y="20234"/>
                  </a:cubicBezTo>
                  <a:cubicBezTo>
                    <a:pt x="8304" y="20200"/>
                    <a:pt x="8304" y="20165"/>
                    <a:pt x="8313" y="20131"/>
                  </a:cubicBezTo>
                  <a:cubicBezTo>
                    <a:pt x="8313" y="20234"/>
                    <a:pt x="8313" y="20285"/>
                    <a:pt x="8176" y="20354"/>
                  </a:cubicBezTo>
                  <a:cubicBezTo>
                    <a:pt x="8039" y="20423"/>
                    <a:pt x="8176" y="20354"/>
                    <a:pt x="8176" y="20251"/>
                  </a:cubicBezTo>
                  <a:cubicBezTo>
                    <a:pt x="8176" y="20148"/>
                    <a:pt x="8176" y="20251"/>
                    <a:pt x="8176" y="20251"/>
                  </a:cubicBezTo>
                  <a:cubicBezTo>
                    <a:pt x="8176" y="20251"/>
                    <a:pt x="8176" y="20474"/>
                    <a:pt x="8176" y="20389"/>
                  </a:cubicBezTo>
                  <a:lnTo>
                    <a:pt x="8176" y="20389"/>
                  </a:lnTo>
                  <a:lnTo>
                    <a:pt x="8176" y="20389"/>
                  </a:lnTo>
                  <a:lnTo>
                    <a:pt x="8176" y="20389"/>
                  </a:lnTo>
                  <a:cubicBezTo>
                    <a:pt x="6991" y="20389"/>
                    <a:pt x="6458" y="24992"/>
                    <a:pt x="6579" y="22982"/>
                  </a:cubicBezTo>
                  <a:cubicBezTo>
                    <a:pt x="6579" y="22982"/>
                    <a:pt x="6579" y="22982"/>
                    <a:pt x="6579" y="22982"/>
                  </a:cubicBezTo>
                  <a:cubicBezTo>
                    <a:pt x="6579" y="22982"/>
                    <a:pt x="6579" y="22982"/>
                    <a:pt x="6579" y="22982"/>
                  </a:cubicBezTo>
                  <a:lnTo>
                    <a:pt x="6579" y="22982"/>
                  </a:lnTo>
                  <a:cubicBezTo>
                    <a:pt x="6579" y="22879"/>
                    <a:pt x="6579" y="22707"/>
                    <a:pt x="6579" y="22604"/>
                  </a:cubicBezTo>
                  <a:cubicBezTo>
                    <a:pt x="6579" y="22501"/>
                    <a:pt x="6579" y="22604"/>
                    <a:pt x="6579" y="22707"/>
                  </a:cubicBezTo>
                  <a:cubicBezTo>
                    <a:pt x="6579" y="22810"/>
                    <a:pt x="6853" y="21780"/>
                    <a:pt x="6579" y="21745"/>
                  </a:cubicBezTo>
                  <a:cubicBezTo>
                    <a:pt x="6304" y="21711"/>
                    <a:pt x="6476" y="21849"/>
                    <a:pt x="6579" y="21745"/>
                  </a:cubicBezTo>
                  <a:lnTo>
                    <a:pt x="6579" y="21745"/>
                  </a:lnTo>
                  <a:lnTo>
                    <a:pt x="6579" y="21745"/>
                  </a:lnTo>
                  <a:cubicBezTo>
                    <a:pt x="6579" y="21745"/>
                    <a:pt x="6579" y="21574"/>
                    <a:pt x="6579" y="21642"/>
                  </a:cubicBezTo>
                  <a:cubicBezTo>
                    <a:pt x="6587" y="21603"/>
                    <a:pt x="6587" y="21562"/>
                    <a:pt x="6579" y="21522"/>
                  </a:cubicBezTo>
                  <a:lnTo>
                    <a:pt x="6579" y="21522"/>
                  </a:lnTo>
                  <a:cubicBezTo>
                    <a:pt x="6579" y="21522"/>
                    <a:pt x="6579" y="21436"/>
                    <a:pt x="6579" y="21385"/>
                  </a:cubicBezTo>
                  <a:lnTo>
                    <a:pt x="6579" y="21385"/>
                  </a:lnTo>
                  <a:cubicBezTo>
                    <a:pt x="6579" y="21385"/>
                    <a:pt x="6579" y="21385"/>
                    <a:pt x="6579" y="21385"/>
                  </a:cubicBezTo>
                  <a:cubicBezTo>
                    <a:pt x="6579" y="21385"/>
                    <a:pt x="6579" y="21385"/>
                    <a:pt x="6579" y="21385"/>
                  </a:cubicBezTo>
                  <a:cubicBezTo>
                    <a:pt x="6579" y="21385"/>
                    <a:pt x="6579" y="21282"/>
                    <a:pt x="6579" y="21230"/>
                  </a:cubicBezTo>
                  <a:lnTo>
                    <a:pt x="6579" y="21333"/>
                  </a:lnTo>
                  <a:cubicBezTo>
                    <a:pt x="6579" y="21230"/>
                    <a:pt x="6390" y="21333"/>
                    <a:pt x="6373" y="21453"/>
                  </a:cubicBezTo>
                  <a:lnTo>
                    <a:pt x="6373" y="21453"/>
                  </a:lnTo>
                  <a:cubicBezTo>
                    <a:pt x="6373" y="21642"/>
                    <a:pt x="6373" y="21763"/>
                    <a:pt x="6373" y="21849"/>
                  </a:cubicBezTo>
                  <a:cubicBezTo>
                    <a:pt x="6373" y="21934"/>
                    <a:pt x="6373" y="21471"/>
                    <a:pt x="6373" y="21763"/>
                  </a:cubicBezTo>
                  <a:lnTo>
                    <a:pt x="6373" y="21660"/>
                  </a:lnTo>
                  <a:cubicBezTo>
                    <a:pt x="6373" y="21539"/>
                    <a:pt x="6373" y="21471"/>
                    <a:pt x="6373" y="21350"/>
                  </a:cubicBezTo>
                  <a:cubicBezTo>
                    <a:pt x="6373" y="21230"/>
                    <a:pt x="6373" y="21350"/>
                    <a:pt x="6373" y="21350"/>
                  </a:cubicBezTo>
                  <a:cubicBezTo>
                    <a:pt x="6373" y="21591"/>
                    <a:pt x="6373" y="21076"/>
                    <a:pt x="6184" y="21350"/>
                  </a:cubicBezTo>
                  <a:cubicBezTo>
                    <a:pt x="6184" y="21350"/>
                    <a:pt x="6184" y="21196"/>
                    <a:pt x="6184" y="21127"/>
                  </a:cubicBezTo>
                  <a:cubicBezTo>
                    <a:pt x="6184" y="21058"/>
                    <a:pt x="6184" y="21247"/>
                    <a:pt x="6184" y="21127"/>
                  </a:cubicBezTo>
                  <a:cubicBezTo>
                    <a:pt x="6193" y="21213"/>
                    <a:pt x="6193" y="21299"/>
                    <a:pt x="6184" y="21385"/>
                  </a:cubicBezTo>
                  <a:lnTo>
                    <a:pt x="6184" y="21385"/>
                  </a:lnTo>
                  <a:lnTo>
                    <a:pt x="6184" y="21505"/>
                  </a:lnTo>
                  <a:lnTo>
                    <a:pt x="6184" y="21505"/>
                  </a:lnTo>
                  <a:cubicBezTo>
                    <a:pt x="6184" y="21591"/>
                    <a:pt x="6184" y="21505"/>
                    <a:pt x="6184" y="21505"/>
                  </a:cubicBezTo>
                  <a:lnTo>
                    <a:pt x="6184" y="21505"/>
                  </a:lnTo>
                  <a:cubicBezTo>
                    <a:pt x="6184" y="21505"/>
                    <a:pt x="6184" y="21505"/>
                    <a:pt x="6184" y="21505"/>
                  </a:cubicBezTo>
                  <a:lnTo>
                    <a:pt x="6184" y="21505"/>
                  </a:lnTo>
                  <a:cubicBezTo>
                    <a:pt x="6184" y="21505"/>
                    <a:pt x="6184" y="21608"/>
                    <a:pt x="6184" y="21608"/>
                  </a:cubicBezTo>
                  <a:lnTo>
                    <a:pt x="6184" y="21608"/>
                  </a:lnTo>
                  <a:cubicBezTo>
                    <a:pt x="6085" y="21918"/>
                    <a:pt x="6005" y="22233"/>
                    <a:pt x="5943" y="22553"/>
                  </a:cubicBezTo>
                  <a:cubicBezTo>
                    <a:pt x="5943" y="22553"/>
                    <a:pt x="5943" y="22433"/>
                    <a:pt x="5943" y="22398"/>
                  </a:cubicBezTo>
                  <a:cubicBezTo>
                    <a:pt x="5943" y="22364"/>
                    <a:pt x="5840" y="22862"/>
                    <a:pt x="5943" y="22621"/>
                  </a:cubicBezTo>
                  <a:cubicBezTo>
                    <a:pt x="5838" y="23115"/>
                    <a:pt x="5758" y="23614"/>
                    <a:pt x="5703" y="24116"/>
                  </a:cubicBezTo>
                  <a:cubicBezTo>
                    <a:pt x="5668" y="24579"/>
                    <a:pt x="5668" y="25044"/>
                    <a:pt x="5703" y="25507"/>
                  </a:cubicBezTo>
                  <a:cubicBezTo>
                    <a:pt x="5703" y="25507"/>
                    <a:pt x="5703" y="25507"/>
                    <a:pt x="5703" y="25507"/>
                  </a:cubicBezTo>
                  <a:cubicBezTo>
                    <a:pt x="5709" y="25479"/>
                    <a:pt x="5709" y="25449"/>
                    <a:pt x="5703" y="25421"/>
                  </a:cubicBezTo>
                  <a:lnTo>
                    <a:pt x="5703" y="25421"/>
                  </a:lnTo>
                  <a:cubicBezTo>
                    <a:pt x="5703" y="25421"/>
                    <a:pt x="5703" y="25421"/>
                    <a:pt x="5703" y="25421"/>
                  </a:cubicBezTo>
                  <a:lnTo>
                    <a:pt x="5703" y="25421"/>
                  </a:lnTo>
                  <a:cubicBezTo>
                    <a:pt x="5703" y="25421"/>
                    <a:pt x="5703" y="25559"/>
                    <a:pt x="5703" y="25627"/>
                  </a:cubicBezTo>
                  <a:lnTo>
                    <a:pt x="5703" y="25627"/>
                  </a:lnTo>
                  <a:lnTo>
                    <a:pt x="5703" y="25627"/>
                  </a:lnTo>
                  <a:cubicBezTo>
                    <a:pt x="5711" y="25553"/>
                    <a:pt x="5711" y="25478"/>
                    <a:pt x="5703" y="25404"/>
                  </a:cubicBezTo>
                  <a:lnTo>
                    <a:pt x="5703" y="25404"/>
                  </a:lnTo>
                  <a:cubicBezTo>
                    <a:pt x="5857" y="25249"/>
                    <a:pt x="5703" y="24511"/>
                    <a:pt x="5995" y="24665"/>
                  </a:cubicBezTo>
                  <a:cubicBezTo>
                    <a:pt x="5995" y="24665"/>
                    <a:pt x="5995" y="24562"/>
                    <a:pt x="5995" y="24665"/>
                  </a:cubicBezTo>
                  <a:cubicBezTo>
                    <a:pt x="5995" y="24769"/>
                    <a:pt x="5995" y="24665"/>
                    <a:pt x="5995" y="24665"/>
                  </a:cubicBezTo>
                  <a:cubicBezTo>
                    <a:pt x="5995" y="24665"/>
                    <a:pt x="5995" y="24820"/>
                    <a:pt x="5995" y="24665"/>
                  </a:cubicBezTo>
                  <a:cubicBezTo>
                    <a:pt x="6098" y="24957"/>
                    <a:pt x="5806" y="25284"/>
                    <a:pt x="5857" y="25593"/>
                  </a:cubicBezTo>
                  <a:cubicBezTo>
                    <a:pt x="5857" y="25593"/>
                    <a:pt x="5857" y="25868"/>
                    <a:pt x="5857" y="25919"/>
                  </a:cubicBezTo>
                  <a:cubicBezTo>
                    <a:pt x="5814" y="26294"/>
                    <a:pt x="5476" y="26563"/>
                    <a:pt x="5101" y="26521"/>
                  </a:cubicBezTo>
                  <a:cubicBezTo>
                    <a:pt x="4727" y="26478"/>
                    <a:pt x="4457" y="26140"/>
                    <a:pt x="4500" y="25765"/>
                  </a:cubicBezTo>
                  <a:cubicBezTo>
                    <a:pt x="4500" y="25954"/>
                    <a:pt x="4500" y="26349"/>
                    <a:pt x="4397" y="26658"/>
                  </a:cubicBezTo>
                  <a:lnTo>
                    <a:pt x="4397" y="26658"/>
                  </a:lnTo>
                  <a:cubicBezTo>
                    <a:pt x="4380" y="26726"/>
                    <a:pt x="4380" y="26796"/>
                    <a:pt x="4397" y="26864"/>
                  </a:cubicBezTo>
                  <a:lnTo>
                    <a:pt x="4397" y="26864"/>
                  </a:lnTo>
                  <a:cubicBezTo>
                    <a:pt x="4397" y="26864"/>
                    <a:pt x="4397" y="26864"/>
                    <a:pt x="4397" y="26950"/>
                  </a:cubicBezTo>
                  <a:cubicBezTo>
                    <a:pt x="4397" y="27036"/>
                    <a:pt x="4603" y="27139"/>
                    <a:pt x="4586" y="26950"/>
                  </a:cubicBezTo>
                  <a:cubicBezTo>
                    <a:pt x="4586" y="27053"/>
                    <a:pt x="4586" y="27105"/>
                    <a:pt x="4724" y="27190"/>
                  </a:cubicBezTo>
                  <a:lnTo>
                    <a:pt x="4724" y="27190"/>
                  </a:lnTo>
                  <a:cubicBezTo>
                    <a:pt x="4738" y="27241"/>
                    <a:pt x="4738" y="27295"/>
                    <a:pt x="4724" y="27345"/>
                  </a:cubicBezTo>
                  <a:cubicBezTo>
                    <a:pt x="4724" y="27208"/>
                    <a:pt x="4724" y="27345"/>
                    <a:pt x="4724" y="27448"/>
                  </a:cubicBezTo>
                  <a:lnTo>
                    <a:pt x="4724" y="27448"/>
                  </a:lnTo>
                  <a:cubicBezTo>
                    <a:pt x="4767" y="27681"/>
                    <a:pt x="4767" y="27920"/>
                    <a:pt x="4724" y="28152"/>
                  </a:cubicBezTo>
                  <a:lnTo>
                    <a:pt x="4724" y="28152"/>
                  </a:lnTo>
                  <a:cubicBezTo>
                    <a:pt x="4732" y="28307"/>
                    <a:pt x="4732" y="28462"/>
                    <a:pt x="4724" y="28616"/>
                  </a:cubicBezTo>
                  <a:cubicBezTo>
                    <a:pt x="4724" y="28616"/>
                    <a:pt x="4724" y="28513"/>
                    <a:pt x="4724" y="28444"/>
                  </a:cubicBezTo>
                  <a:cubicBezTo>
                    <a:pt x="4715" y="28564"/>
                    <a:pt x="4715" y="28685"/>
                    <a:pt x="4724" y="28805"/>
                  </a:cubicBezTo>
                  <a:cubicBezTo>
                    <a:pt x="4734" y="28777"/>
                    <a:pt x="4734" y="28747"/>
                    <a:pt x="4724" y="28719"/>
                  </a:cubicBezTo>
                  <a:cubicBezTo>
                    <a:pt x="4697" y="28861"/>
                    <a:pt x="4697" y="29007"/>
                    <a:pt x="4724" y="29149"/>
                  </a:cubicBezTo>
                  <a:cubicBezTo>
                    <a:pt x="4724" y="29063"/>
                    <a:pt x="4947" y="30042"/>
                    <a:pt x="4930" y="29733"/>
                  </a:cubicBezTo>
                  <a:cubicBezTo>
                    <a:pt x="5136" y="30265"/>
                    <a:pt x="5170" y="29131"/>
                    <a:pt x="5634" y="30471"/>
                  </a:cubicBezTo>
                  <a:cubicBezTo>
                    <a:pt x="5634" y="30368"/>
                    <a:pt x="5634" y="29337"/>
                    <a:pt x="5960" y="29595"/>
                  </a:cubicBezTo>
                  <a:cubicBezTo>
                    <a:pt x="5960" y="29818"/>
                    <a:pt x="5960" y="29595"/>
                    <a:pt x="5960" y="29475"/>
                  </a:cubicBezTo>
                  <a:cubicBezTo>
                    <a:pt x="5960" y="29355"/>
                    <a:pt x="6252" y="29303"/>
                    <a:pt x="6355" y="29234"/>
                  </a:cubicBezTo>
                  <a:cubicBezTo>
                    <a:pt x="6476" y="29458"/>
                    <a:pt x="6355" y="29836"/>
                    <a:pt x="6355" y="30145"/>
                  </a:cubicBezTo>
                  <a:cubicBezTo>
                    <a:pt x="6630" y="30901"/>
                    <a:pt x="6355" y="29681"/>
                    <a:pt x="6665" y="29664"/>
                  </a:cubicBezTo>
                  <a:cubicBezTo>
                    <a:pt x="6974" y="29647"/>
                    <a:pt x="6527" y="29544"/>
                    <a:pt x="6665" y="29441"/>
                  </a:cubicBezTo>
                  <a:cubicBezTo>
                    <a:pt x="6802" y="29337"/>
                    <a:pt x="6665" y="29664"/>
                    <a:pt x="6785" y="29733"/>
                  </a:cubicBezTo>
                  <a:cubicBezTo>
                    <a:pt x="6933" y="29741"/>
                    <a:pt x="7051" y="29859"/>
                    <a:pt x="7060" y="30007"/>
                  </a:cubicBezTo>
                  <a:cubicBezTo>
                    <a:pt x="6939" y="30213"/>
                    <a:pt x="7352" y="30145"/>
                    <a:pt x="7472" y="30196"/>
                  </a:cubicBezTo>
                  <a:cubicBezTo>
                    <a:pt x="7558" y="30660"/>
                    <a:pt x="8090" y="30042"/>
                    <a:pt x="8262" y="30402"/>
                  </a:cubicBezTo>
                  <a:cubicBezTo>
                    <a:pt x="8004" y="30402"/>
                    <a:pt x="8073" y="30402"/>
                    <a:pt x="8262" y="30643"/>
                  </a:cubicBezTo>
                  <a:cubicBezTo>
                    <a:pt x="8262" y="30471"/>
                    <a:pt x="8863" y="31107"/>
                    <a:pt x="8434" y="31107"/>
                  </a:cubicBezTo>
                  <a:cubicBezTo>
                    <a:pt x="8885" y="31152"/>
                    <a:pt x="9220" y="31547"/>
                    <a:pt x="9189" y="32000"/>
                  </a:cubicBezTo>
                  <a:cubicBezTo>
                    <a:pt x="9189" y="31673"/>
                    <a:pt x="9550" y="32154"/>
                    <a:pt x="9550" y="32309"/>
                  </a:cubicBezTo>
                  <a:cubicBezTo>
                    <a:pt x="9464" y="32103"/>
                    <a:pt x="10461" y="32309"/>
                    <a:pt x="10220" y="32532"/>
                  </a:cubicBezTo>
                  <a:cubicBezTo>
                    <a:pt x="10443" y="32361"/>
                    <a:pt x="10976" y="33030"/>
                    <a:pt x="10856" y="33151"/>
                  </a:cubicBezTo>
                  <a:cubicBezTo>
                    <a:pt x="11010" y="32893"/>
                    <a:pt x="11130" y="33735"/>
                    <a:pt x="11302" y="33924"/>
                  </a:cubicBezTo>
                  <a:cubicBezTo>
                    <a:pt x="11474" y="34113"/>
                    <a:pt x="10976" y="34559"/>
                    <a:pt x="11045" y="34868"/>
                  </a:cubicBezTo>
                  <a:cubicBezTo>
                    <a:pt x="11045" y="34611"/>
                    <a:pt x="11233" y="34628"/>
                    <a:pt x="11148" y="34868"/>
                  </a:cubicBezTo>
                  <a:cubicBezTo>
                    <a:pt x="11148" y="34868"/>
                    <a:pt x="11268" y="34559"/>
                    <a:pt x="11337" y="34731"/>
                  </a:cubicBezTo>
                  <a:cubicBezTo>
                    <a:pt x="11405" y="34903"/>
                    <a:pt x="11337" y="34731"/>
                    <a:pt x="11337" y="34731"/>
                  </a:cubicBezTo>
                  <a:cubicBezTo>
                    <a:pt x="11337" y="34216"/>
                    <a:pt x="12401" y="35143"/>
                    <a:pt x="11337" y="35092"/>
                  </a:cubicBezTo>
                  <a:cubicBezTo>
                    <a:pt x="11749" y="35092"/>
                    <a:pt x="11543" y="35315"/>
                    <a:pt x="11680" y="35624"/>
                  </a:cubicBezTo>
                  <a:cubicBezTo>
                    <a:pt x="11543" y="35074"/>
                    <a:pt x="12075" y="34576"/>
                    <a:pt x="12419" y="35074"/>
                  </a:cubicBezTo>
                  <a:cubicBezTo>
                    <a:pt x="12419" y="35074"/>
                    <a:pt x="12608" y="35177"/>
                    <a:pt x="12642" y="35263"/>
                  </a:cubicBezTo>
                  <a:cubicBezTo>
                    <a:pt x="12676" y="35349"/>
                    <a:pt x="12986" y="35366"/>
                    <a:pt x="12882" y="35469"/>
                  </a:cubicBezTo>
                  <a:cubicBezTo>
                    <a:pt x="12779" y="35573"/>
                    <a:pt x="12882" y="35727"/>
                    <a:pt x="12968" y="35830"/>
                  </a:cubicBezTo>
                  <a:cubicBezTo>
                    <a:pt x="13054" y="35933"/>
                    <a:pt x="12968" y="35487"/>
                    <a:pt x="12968" y="35710"/>
                  </a:cubicBezTo>
                  <a:cubicBezTo>
                    <a:pt x="12968" y="35555"/>
                    <a:pt x="13106" y="35607"/>
                    <a:pt x="12968" y="35504"/>
                  </a:cubicBezTo>
                  <a:cubicBezTo>
                    <a:pt x="12831" y="35401"/>
                    <a:pt x="13363" y="35761"/>
                    <a:pt x="13363" y="35641"/>
                  </a:cubicBezTo>
                  <a:cubicBezTo>
                    <a:pt x="13363" y="35521"/>
                    <a:pt x="13363" y="35641"/>
                    <a:pt x="13466" y="35744"/>
                  </a:cubicBezTo>
                  <a:cubicBezTo>
                    <a:pt x="13569" y="35847"/>
                    <a:pt x="13466" y="35744"/>
                    <a:pt x="13466" y="35744"/>
                  </a:cubicBezTo>
                  <a:lnTo>
                    <a:pt x="13466" y="35744"/>
                  </a:lnTo>
                  <a:lnTo>
                    <a:pt x="13466" y="35744"/>
                  </a:lnTo>
                  <a:cubicBezTo>
                    <a:pt x="14841" y="36157"/>
                    <a:pt x="16438" y="37462"/>
                    <a:pt x="14926" y="38922"/>
                  </a:cubicBezTo>
                  <a:cubicBezTo>
                    <a:pt x="14926" y="38836"/>
                    <a:pt x="14926" y="38682"/>
                    <a:pt x="14926" y="38819"/>
                  </a:cubicBezTo>
                  <a:cubicBezTo>
                    <a:pt x="14926" y="38956"/>
                    <a:pt x="14823" y="38819"/>
                    <a:pt x="14806" y="38819"/>
                  </a:cubicBezTo>
                  <a:lnTo>
                    <a:pt x="14806" y="38819"/>
                  </a:lnTo>
                  <a:cubicBezTo>
                    <a:pt x="15133" y="39386"/>
                    <a:pt x="15717" y="41619"/>
                    <a:pt x="14806" y="41447"/>
                  </a:cubicBezTo>
                  <a:cubicBezTo>
                    <a:pt x="14806" y="41447"/>
                    <a:pt x="14514" y="41447"/>
                    <a:pt x="14806" y="41447"/>
                  </a:cubicBezTo>
                  <a:cubicBezTo>
                    <a:pt x="15098" y="41447"/>
                    <a:pt x="14652" y="41447"/>
                    <a:pt x="14600" y="41447"/>
                  </a:cubicBezTo>
                  <a:cubicBezTo>
                    <a:pt x="14549" y="41447"/>
                    <a:pt x="14600" y="41533"/>
                    <a:pt x="14600" y="41687"/>
                  </a:cubicBezTo>
                  <a:cubicBezTo>
                    <a:pt x="14360" y="41498"/>
                    <a:pt x="14257" y="41997"/>
                    <a:pt x="14154" y="41962"/>
                  </a:cubicBezTo>
                  <a:cubicBezTo>
                    <a:pt x="14050" y="41928"/>
                    <a:pt x="14154" y="41962"/>
                    <a:pt x="14154" y="41962"/>
                  </a:cubicBezTo>
                  <a:cubicBezTo>
                    <a:pt x="14154" y="41962"/>
                    <a:pt x="14291" y="42048"/>
                    <a:pt x="14154" y="42048"/>
                  </a:cubicBezTo>
                  <a:cubicBezTo>
                    <a:pt x="14016" y="42048"/>
                    <a:pt x="14154" y="42048"/>
                    <a:pt x="14154" y="42048"/>
                  </a:cubicBezTo>
                  <a:cubicBezTo>
                    <a:pt x="14154" y="42048"/>
                    <a:pt x="14446" y="42426"/>
                    <a:pt x="14411" y="42529"/>
                  </a:cubicBezTo>
                  <a:cubicBezTo>
                    <a:pt x="14377" y="42632"/>
                    <a:pt x="14411" y="43697"/>
                    <a:pt x="14411" y="43336"/>
                  </a:cubicBezTo>
                  <a:cubicBezTo>
                    <a:pt x="14411" y="43336"/>
                    <a:pt x="14411" y="43336"/>
                    <a:pt x="14411" y="43250"/>
                  </a:cubicBezTo>
                  <a:cubicBezTo>
                    <a:pt x="14411" y="43165"/>
                    <a:pt x="14411" y="43113"/>
                    <a:pt x="14411" y="43113"/>
                  </a:cubicBezTo>
                  <a:cubicBezTo>
                    <a:pt x="14338" y="43042"/>
                    <a:pt x="14257" y="42979"/>
                    <a:pt x="14171" y="42924"/>
                  </a:cubicBezTo>
                  <a:cubicBezTo>
                    <a:pt x="14231" y="42979"/>
                    <a:pt x="14283" y="43043"/>
                    <a:pt x="14325" y="43113"/>
                  </a:cubicBezTo>
                  <a:cubicBezTo>
                    <a:pt x="14325" y="43113"/>
                    <a:pt x="14446" y="43354"/>
                    <a:pt x="14325" y="43250"/>
                  </a:cubicBezTo>
                  <a:cubicBezTo>
                    <a:pt x="14858" y="44041"/>
                    <a:pt x="14325" y="44264"/>
                    <a:pt x="13844" y="43817"/>
                  </a:cubicBezTo>
                  <a:lnTo>
                    <a:pt x="14549" y="44418"/>
                  </a:lnTo>
                  <a:lnTo>
                    <a:pt x="14549" y="44418"/>
                  </a:lnTo>
                  <a:cubicBezTo>
                    <a:pt x="14637" y="44494"/>
                    <a:pt x="14707" y="44587"/>
                    <a:pt x="14755" y="44693"/>
                  </a:cubicBezTo>
                  <a:lnTo>
                    <a:pt x="14755" y="44693"/>
                  </a:lnTo>
                  <a:cubicBezTo>
                    <a:pt x="14755" y="44693"/>
                    <a:pt x="14944" y="44951"/>
                    <a:pt x="14755" y="44882"/>
                  </a:cubicBezTo>
                  <a:cubicBezTo>
                    <a:pt x="14566" y="44814"/>
                    <a:pt x="14394" y="44882"/>
                    <a:pt x="14291" y="44882"/>
                  </a:cubicBezTo>
                  <a:cubicBezTo>
                    <a:pt x="14188" y="44882"/>
                    <a:pt x="14480" y="45037"/>
                    <a:pt x="14566" y="45123"/>
                  </a:cubicBezTo>
                  <a:lnTo>
                    <a:pt x="14566" y="45123"/>
                  </a:lnTo>
                  <a:cubicBezTo>
                    <a:pt x="14909" y="45466"/>
                    <a:pt x="14995" y="45569"/>
                    <a:pt x="14463" y="45294"/>
                  </a:cubicBezTo>
                  <a:cubicBezTo>
                    <a:pt x="14621" y="45462"/>
                    <a:pt x="14807" y="45602"/>
                    <a:pt x="15012" y="45707"/>
                  </a:cubicBezTo>
                  <a:cubicBezTo>
                    <a:pt x="15012" y="45707"/>
                    <a:pt x="15012" y="45707"/>
                    <a:pt x="15012" y="45707"/>
                  </a:cubicBezTo>
                  <a:lnTo>
                    <a:pt x="15012" y="45707"/>
                  </a:lnTo>
                  <a:cubicBezTo>
                    <a:pt x="15304" y="45930"/>
                    <a:pt x="15133" y="45947"/>
                    <a:pt x="15717" y="46359"/>
                  </a:cubicBezTo>
                  <a:lnTo>
                    <a:pt x="15717" y="46359"/>
                  </a:lnTo>
                  <a:lnTo>
                    <a:pt x="15717" y="46359"/>
                  </a:lnTo>
                  <a:lnTo>
                    <a:pt x="15717" y="46359"/>
                  </a:lnTo>
                  <a:cubicBezTo>
                    <a:pt x="15991" y="46669"/>
                    <a:pt x="16438" y="46737"/>
                    <a:pt x="16730" y="47012"/>
                  </a:cubicBezTo>
                  <a:lnTo>
                    <a:pt x="16730" y="47012"/>
                  </a:lnTo>
                  <a:lnTo>
                    <a:pt x="16730" y="47012"/>
                  </a:lnTo>
                  <a:lnTo>
                    <a:pt x="16730" y="47012"/>
                  </a:lnTo>
                  <a:lnTo>
                    <a:pt x="16885" y="47132"/>
                  </a:lnTo>
                  <a:lnTo>
                    <a:pt x="16885" y="47132"/>
                  </a:lnTo>
                  <a:lnTo>
                    <a:pt x="17091" y="47270"/>
                  </a:lnTo>
                  <a:cubicBezTo>
                    <a:pt x="17091" y="47270"/>
                    <a:pt x="17091" y="47270"/>
                    <a:pt x="16988" y="47270"/>
                  </a:cubicBezTo>
                  <a:cubicBezTo>
                    <a:pt x="17278" y="47454"/>
                    <a:pt x="17582" y="47614"/>
                    <a:pt x="17898" y="47751"/>
                  </a:cubicBezTo>
                  <a:lnTo>
                    <a:pt x="17898" y="47751"/>
                  </a:lnTo>
                  <a:cubicBezTo>
                    <a:pt x="17795" y="47751"/>
                    <a:pt x="17898" y="47751"/>
                    <a:pt x="17898" y="47751"/>
                  </a:cubicBezTo>
                  <a:lnTo>
                    <a:pt x="17898" y="47751"/>
                  </a:lnTo>
                  <a:cubicBezTo>
                    <a:pt x="18059" y="47847"/>
                    <a:pt x="18225" y="47933"/>
                    <a:pt x="18396" y="48008"/>
                  </a:cubicBezTo>
                  <a:lnTo>
                    <a:pt x="18173" y="48008"/>
                  </a:lnTo>
                  <a:close/>
                  <a:moveTo>
                    <a:pt x="20560" y="10117"/>
                  </a:moveTo>
                  <a:cubicBezTo>
                    <a:pt x="20286" y="10409"/>
                    <a:pt x="20560" y="10014"/>
                    <a:pt x="20560" y="9980"/>
                  </a:cubicBezTo>
                  <a:cubicBezTo>
                    <a:pt x="20560" y="9945"/>
                    <a:pt x="20423" y="10134"/>
                    <a:pt x="20286" y="10323"/>
                  </a:cubicBezTo>
                  <a:cubicBezTo>
                    <a:pt x="19822" y="10083"/>
                    <a:pt x="19581" y="10976"/>
                    <a:pt x="19289" y="10907"/>
                  </a:cubicBezTo>
                  <a:cubicBezTo>
                    <a:pt x="19530" y="11165"/>
                    <a:pt x="19100" y="10907"/>
                    <a:pt x="19152" y="11165"/>
                  </a:cubicBezTo>
                  <a:cubicBezTo>
                    <a:pt x="19014" y="10959"/>
                    <a:pt x="19152" y="11165"/>
                    <a:pt x="19152" y="11165"/>
                  </a:cubicBezTo>
                  <a:cubicBezTo>
                    <a:pt x="19152" y="10907"/>
                    <a:pt x="19152" y="11457"/>
                    <a:pt x="18997" y="11165"/>
                  </a:cubicBezTo>
                  <a:cubicBezTo>
                    <a:pt x="18688" y="11165"/>
                    <a:pt x="18997" y="11577"/>
                    <a:pt x="18585" y="11577"/>
                  </a:cubicBezTo>
                  <a:cubicBezTo>
                    <a:pt x="18585" y="11577"/>
                    <a:pt x="18327" y="12024"/>
                    <a:pt x="18259" y="11903"/>
                  </a:cubicBezTo>
                  <a:cubicBezTo>
                    <a:pt x="18190" y="11783"/>
                    <a:pt x="17846" y="12453"/>
                    <a:pt x="18001" y="12109"/>
                  </a:cubicBezTo>
                  <a:cubicBezTo>
                    <a:pt x="17537" y="12401"/>
                    <a:pt x="18104" y="11938"/>
                    <a:pt x="17743" y="12006"/>
                  </a:cubicBezTo>
                  <a:cubicBezTo>
                    <a:pt x="18173" y="11680"/>
                    <a:pt x="18070" y="11749"/>
                    <a:pt x="17503" y="11783"/>
                  </a:cubicBezTo>
                  <a:cubicBezTo>
                    <a:pt x="17588" y="11313"/>
                    <a:pt x="17763" y="10864"/>
                    <a:pt x="18018" y="10461"/>
                  </a:cubicBezTo>
                  <a:cubicBezTo>
                    <a:pt x="18018" y="10220"/>
                    <a:pt x="18224" y="10461"/>
                    <a:pt x="18448" y="10134"/>
                  </a:cubicBezTo>
                  <a:cubicBezTo>
                    <a:pt x="17984" y="10306"/>
                    <a:pt x="17984" y="10134"/>
                    <a:pt x="18448" y="9739"/>
                  </a:cubicBezTo>
                  <a:cubicBezTo>
                    <a:pt x="18345" y="9739"/>
                    <a:pt x="18207" y="9739"/>
                    <a:pt x="18345" y="9739"/>
                  </a:cubicBezTo>
                  <a:cubicBezTo>
                    <a:pt x="18482" y="9739"/>
                    <a:pt x="18345" y="9636"/>
                    <a:pt x="18963" y="9344"/>
                  </a:cubicBezTo>
                  <a:cubicBezTo>
                    <a:pt x="17709" y="9808"/>
                    <a:pt x="19392" y="8966"/>
                    <a:pt x="18774" y="9104"/>
                  </a:cubicBezTo>
                  <a:cubicBezTo>
                    <a:pt x="19272" y="8657"/>
                    <a:pt x="19152" y="9293"/>
                    <a:pt x="19324" y="9104"/>
                  </a:cubicBezTo>
                  <a:cubicBezTo>
                    <a:pt x="18997" y="9104"/>
                    <a:pt x="19667" y="8863"/>
                    <a:pt x="19324" y="8966"/>
                  </a:cubicBezTo>
                  <a:cubicBezTo>
                    <a:pt x="19444" y="8846"/>
                    <a:pt x="19169" y="8966"/>
                    <a:pt x="18946" y="8966"/>
                  </a:cubicBezTo>
                  <a:cubicBezTo>
                    <a:pt x="19427" y="8537"/>
                    <a:pt x="19238" y="9086"/>
                    <a:pt x="19598" y="8674"/>
                  </a:cubicBezTo>
                  <a:cubicBezTo>
                    <a:pt x="19289" y="8846"/>
                    <a:pt x="19341" y="8554"/>
                    <a:pt x="19598" y="8674"/>
                  </a:cubicBezTo>
                  <a:cubicBezTo>
                    <a:pt x="19808" y="8533"/>
                    <a:pt x="20004" y="8372"/>
                    <a:pt x="20182" y="8193"/>
                  </a:cubicBezTo>
                  <a:cubicBezTo>
                    <a:pt x="19994" y="8193"/>
                    <a:pt x="20182" y="7266"/>
                    <a:pt x="20354" y="7953"/>
                  </a:cubicBezTo>
                  <a:cubicBezTo>
                    <a:pt x="20354" y="7953"/>
                    <a:pt x="20509" y="7712"/>
                    <a:pt x="20560" y="7764"/>
                  </a:cubicBezTo>
                  <a:cubicBezTo>
                    <a:pt x="20612" y="7815"/>
                    <a:pt x="21144" y="6991"/>
                    <a:pt x="20681" y="7386"/>
                  </a:cubicBezTo>
                  <a:cubicBezTo>
                    <a:pt x="20217" y="7781"/>
                    <a:pt x="21162" y="6922"/>
                    <a:pt x="21746" y="6338"/>
                  </a:cubicBezTo>
                  <a:cubicBezTo>
                    <a:pt x="23154" y="5256"/>
                    <a:pt x="21746" y="5497"/>
                    <a:pt x="22914" y="4981"/>
                  </a:cubicBezTo>
                  <a:cubicBezTo>
                    <a:pt x="23085" y="4981"/>
                    <a:pt x="23206" y="5067"/>
                    <a:pt x="23326" y="4844"/>
                  </a:cubicBezTo>
                  <a:cubicBezTo>
                    <a:pt x="26332" y="3556"/>
                    <a:pt x="25576" y="4260"/>
                    <a:pt x="26761" y="3693"/>
                  </a:cubicBezTo>
                  <a:cubicBezTo>
                    <a:pt x="26418" y="3882"/>
                    <a:pt x="26761" y="3693"/>
                    <a:pt x="26881" y="3693"/>
                  </a:cubicBezTo>
                  <a:cubicBezTo>
                    <a:pt x="26503" y="3951"/>
                    <a:pt x="26710" y="3693"/>
                    <a:pt x="26607" y="3951"/>
                  </a:cubicBezTo>
                  <a:cubicBezTo>
                    <a:pt x="26761" y="4140"/>
                    <a:pt x="25765" y="4243"/>
                    <a:pt x="26211" y="4208"/>
                  </a:cubicBezTo>
                  <a:cubicBezTo>
                    <a:pt x="26658" y="4174"/>
                    <a:pt x="26057" y="4346"/>
                    <a:pt x="26211" y="4329"/>
                  </a:cubicBezTo>
                  <a:cubicBezTo>
                    <a:pt x="26555" y="4054"/>
                    <a:pt x="26211" y="4483"/>
                    <a:pt x="26074" y="4500"/>
                  </a:cubicBezTo>
                  <a:cubicBezTo>
                    <a:pt x="25284" y="5119"/>
                    <a:pt x="27036" y="3744"/>
                    <a:pt x="26383" y="4621"/>
                  </a:cubicBezTo>
                  <a:cubicBezTo>
                    <a:pt x="26108" y="4844"/>
                    <a:pt x="25816" y="4861"/>
                    <a:pt x="26057" y="4947"/>
                  </a:cubicBezTo>
                  <a:cubicBezTo>
                    <a:pt x="25672" y="5283"/>
                    <a:pt x="25406" y="5735"/>
                    <a:pt x="25301" y="6235"/>
                  </a:cubicBezTo>
                  <a:cubicBezTo>
                    <a:pt x="25198" y="5874"/>
                    <a:pt x="24751" y="6424"/>
                    <a:pt x="25112" y="6373"/>
                  </a:cubicBezTo>
                  <a:cubicBezTo>
                    <a:pt x="24837" y="6596"/>
                    <a:pt x="25112" y="6373"/>
                    <a:pt x="25009" y="6596"/>
                  </a:cubicBezTo>
                  <a:cubicBezTo>
                    <a:pt x="24906" y="6819"/>
                    <a:pt x="24837" y="6596"/>
                    <a:pt x="24751" y="6596"/>
                  </a:cubicBezTo>
                  <a:cubicBezTo>
                    <a:pt x="24666" y="6596"/>
                    <a:pt x="24751" y="6957"/>
                    <a:pt x="24751" y="6768"/>
                  </a:cubicBezTo>
                  <a:cubicBezTo>
                    <a:pt x="24751" y="6871"/>
                    <a:pt x="25061" y="7128"/>
                    <a:pt x="24751" y="7180"/>
                  </a:cubicBezTo>
                  <a:cubicBezTo>
                    <a:pt x="24271" y="6750"/>
                    <a:pt x="24751" y="7575"/>
                    <a:pt x="24442" y="7489"/>
                  </a:cubicBezTo>
                  <a:cubicBezTo>
                    <a:pt x="23961" y="7729"/>
                    <a:pt x="24442" y="7060"/>
                    <a:pt x="24133" y="7489"/>
                  </a:cubicBezTo>
                  <a:cubicBezTo>
                    <a:pt x="24133" y="7283"/>
                    <a:pt x="23807" y="7609"/>
                    <a:pt x="23738" y="7626"/>
                  </a:cubicBezTo>
                  <a:cubicBezTo>
                    <a:pt x="24150" y="7626"/>
                    <a:pt x="23738" y="7764"/>
                    <a:pt x="23738" y="7781"/>
                  </a:cubicBezTo>
                  <a:cubicBezTo>
                    <a:pt x="24236" y="7781"/>
                    <a:pt x="23738" y="7918"/>
                    <a:pt x="23824" y="7987"/>
                  </a:cubicBezTo>
                  <a:cubicBezTo>
                    <a:pt x="24442" y="8090"/>
                    <a:pt x="23515" y="9705"/>
                    <a:pt x="23583" y="8262"/>
                  </a:cubicBezTo>
                  <a:cubicBezTo>
                    <a:pt x="23034" y="7901"/>
                    <a:pt x="23978" y="8657"/>
                    <a:pt x="23137" y="8520"/>
                  </a:cubicBezTo>
                  <a:cubicBezTo>
                    <a:pt x="23291" y="8640"/>
                    <a:pt x="22673" y="8777"/>
                    <a:pt x="22931" y="8726"/>
                  </a:cubicBezTo>
                  <a:cubicBezTo>
                    <a:pt x="23188" y="8674"/>
                    <a:pt x="23326" y="8915"/>
                    <a:pt x="22931" y="8846"/>
                  </a:cubicBezTo>
                  <a:cubicBezTo>
                    <a:pt x="22536" y="8777"/>
                    <a:pt x="24082" y="8846"/>
                    <a:pt x="23446" y="9121"/>
                  </a:cubicBezTo>
                  <a:cubicBezTo>
                    <a:pt x="23446" y="9121"/>
                    <a:pt x="23171" y="9327"/>
                    <a:pt x="23137" y="9275"/>
                  </a:cubicBezTo>
                  <a:cubicBezTo>
                    <a:pt x="23103" y="9224"/>
                    <a:pt x="21866" y="9859"/>
                    <a:pt x="21952" y="9396"/>
                  </a:cubicBezTo>
                  <a:cubicBezTo>
                    <a:pt x="22038" y="8932"/>
                    <a:pt x="21952" y="9636"/>
                    <a:pt x="21831" y="9653"/>
                  </a:cubicBezTo>
                  <a:cubicBezTo>
                    <a:pt x="21385" y="9688"/>
                    <a:pt x="20612" y="10529"/>
                    <a:pt x="20560" y="10117"/>
                  </a:cubicBezTo>
                  <a:close/>
                  <a:moveTo>
                    <a:pt x="23669" y="11440"/>
                  </a:moveTo>
                  <a:cubicBezTo>
                    <a:pt x="23669" y="11577"/>
                    <a:pt x="23463" y="11543"/>
                    <a:pt x="23412" y="11440"/>
                  </a:cubicBezTo>
                  <a:cubicBezTo>
                    <a:pt x="23360" y="11337"/>
                    <a:pt x="23223" y="11440"/>
                    <a:pt x="23274" y="11319"/>
                  </a:cubicBezTo>
                  <a:cubicBezTo>
                    <a:pt x="23326" y="11199"/>
                    <a:pt x="23188" y="11319"/>
                    <a:pt x="23274" y="11319"/>
                  </a:cubicBezTo>
                  <a:cubicBezTo>
                    <a:pt x="23173" y="11345"/>
                    <a:pt x="23067" y="11345"/>
                    <a:pt x="22965" y="11319"/>
                  </a:cubicBezTo>
                  <a:cubicBezTo>
                    <a:pt x="22965" y="11319"/>
                    <a:pt x="22965" y="11319"/>
                    <a:pt x="22965" y="11319"/>
                  </a:cubicBezTo>
                  <a:cubicBezTo>
                    <a:pt x="22965" y="11319"/>
                    <a:pt x="22965" y="11319"/>
                    <a:pt x="22965" y="11233"/>
                  </a:cubicBezTo>
                  <a:cubicBezTo>
                    <a:pt x="22965" y="11148"/>
                    <a:pt x="22965" y="11233"/>
                    <a:pt x="22965" y="11233"/>
                  </a:cubicBezTo>
                  <a:cubicBezTo>
                    <a:pt x="22965" y="11233"/>
                    <a:pt x="23120" y="11096"/>
                    <a:pt x="23206" y="11148"/>
                  </a:cubicBezTo>
                  <a:cubicBezTo>
                    <a:pt x="23291" y="11199"/>
                    <a:pt x="22948" y="11251"/>
                    <a:pt x="23206" y="11027"/>
                  </a:cubicBezTo>
                  <a:cubicBezTo>
                    <a:pt x="23206" y="11113"/>
                    <a:pt x="23051" y="11027"/>
                    <a:pt x="23206" y="10941"/>
                  </a:cubicBezTo>
                  <a:cubicBezTo>
                    <a:pt x="23360" y="10856"/>
                    <a:pt x="22948" y="10941"/>
                    <a:pt x="22948" y="10821"/>
                  </a:cubicBezTo>
                  <a:cubicBezTo>
                    <a:pt x="22948" y="10701"/>
                    <a:pt x="23206" y="10735"/>
                    <a:pt x="23223" y="10821"/>
                  </a:cubicBezTo>
                  <a:cubicBezTo>
                    <a:pt x="23240" y="10907"/>
                    <a:pt x="23395" y="10821"/>
                    <a:pt x="23412" y="10718"/>
                  </a:cubicBezTo>
                  <a:cubicBezTo>
                    <a:pt x="23429" y="10615"/>
                    <a:pt x="23291" y="10718"/>
                    <a:pt x="23412" y="10718"/>
                  </a:cubicBezTo>
                  <a:cubicBezTo>
                    <a:pt x="23532" y="10718"/>
                    <a:pt x="23291" y="10718"/>
                    <a:pt x="23412" y="10632"/>
                  </a:cubicBezTo>
                  <a:cubicBezTo>
                    <a:pt x="23532" y="10546"/>
                    <a:pt x="23412" y="10632"/>
                    <a:pt x="23412" y="10632"/>
                  </a:cubicBezTo>
                  <a:cubicBezTo>
                    <a:pt x="23412" y="10632"/>
                    <a:pt x="23412" y="10718"/>
                    <a:pt x="23412" y="10632"/>
                  </a:cubicBezTo>
                  <a:cubicBezTo>
                    <a:pt x="23412" y="10546"/>
                    <a:pt x="23412" y="10632"/>
                    <a:pt x="23412" y="10632"/>
                  </a:cubicBezTo>
                  <a:cubicBezTo>
                    <a:pt x="23223" y="10873"/>
                    <a:pt x="23120" y="10478"/>
                    <a:pt x="23291" y="10632"/>
                  </a:cubicBezTo>
                  <a:cubicBezTo>
                    <a:pt x="23463" y="10787"/>
                    <a:pt x="23291" y="10478"/>
                    <a:pt x="23291" y="10632"/>
                  </a:cubicBezTo>
                  <a:cubicBezTo>
                    <a:pt x="23291" y="10787"/>
                    <a:pt x="23291" y="10632"/>
                    <a:pt x="23291" y="10632"/>
                  </a:cubicBezTo>
                  <a:cubicBezTo>
                    <a:pt x="23291" y="10632"/>
                    <a:pt x="23291" y="10529"/>
                    <a:pt x="23291" y="10632"/>
                  </a:cubicBezTo>
                  <a:cubicBezTo>
                    <a:pt x="23291" y="10735"/>
                    <a:pt x="23291" y="10478"/>
                    <a:pt x="23291" y="10632"/>
                  </a:cubicBezTo>
                  <a:cubicBezTo>
                    <a:pt x="23291" y="10787"/>
                    <a:pt x="23412" y="10632"/>
                    <a:pt x="23291" y="10632"/>
                  </a:cubicBezTo>
                  <a:cubicBezTo>
                    <a:pt x="23171" y="10632"/>
                    <a:pt x="23395" y="10632"/>
                    <a:pt x="23291" y="10632"/>
                  </a:cubicBezTo>
                  <a:cubicBezTo>
                    <a:pt x="23188" y="10632"/>
                    <a:pt x="23120" y="10478"/>
                    <a:pt x="23291" y="10478"/>
                  </a:cubicBezTo>
                  <a:cubicBezTo>
                    <a:pt x="22999" y="10375"/>
                    <a:pt x="23395" y="10375"/>
                    <a:pt x="23291" y="10581"/>
                  </a:cubicBezTo>
                  <a:cubicBezTo>
                    <a:pt x="23291" y="10581"/>
                    <a:pt x="23291" y="10581"/>
                    <a:pt x="23291" y="10581"/>
                  </a:cubicBezTo>
                  <a:cubicBezTo>
                    <a:pt x="23291" y="10581"/>
                    <a:pt x="23291" y="10701"/>
                    <a:pt x="23291" y="10581"/>
                  </a:cubicBezTo>
                  <a:cubicBezTo>
                    <a:pt x="23302" y="10608"/>
                    <a:pt x="23302" y="10639"/>
                    <a:pt x="23291" y="10667"/>
                  </a:cubicBezTo>
                  <a:cubicBezTo>
                    <a:pt x="23291" y="10667"/>
                    <a:pt x="23291" y="10753"/>
                    <a:pt x="23291" y="10787"/>
                  </a:cubicBezTo>
                  <a:cubicBezTo>
                    <a:pt x="23291" y="10821"/>
                    <a:pt x="23291" y="10787"/>
                    <a:pt x="23291" y="10873"/>
                  </a:cubicBezTo>
                  <a:cubicBezTo>
                    <a:pt x="23311" y="10799"/>
                    <a:pt x="23361" y="10737"/>
                    <a:pt x="23429" y="10701"/>
                  </a:cubicBezTo>
                  <a:cubicBezTo>
                    <a:pt x="23429" y="10907"/>
                    <a:pt x="23429" y="10478"/>
                    <a:pt x="23601" y="10461"/>
                  </a:cubicBezTo>
                  <a:cubicBezTo>
                    <a:pt x="23772" y="10443"/>
                    <a:pt x="23601" y="10581"/>
                    <a:pt x="23601" y="10598"/>
                  </a:cubicBezTo>
                  <a:cubicBezTo>
                    <a:pt x="23601" y="10615"/>
                    <a:pt x="23687" y="10461"/>
                    <a:pt x="23790" y="10478"/>
                  </a:cubicBezTo>
                  <a:cubicBezTo>
                    <a:pt x="23832" y="10576"/>
                    <a:pt x="23832" y="10688"/>
                    <a:pt x="23790" y="10787"/>
                  </a:cubicBezTo>
                  <a:cubicBezTo>
                    <a:pt x="23893" y="10701"/>
                    <a:pt x="23790" y="10461"/>
                    <a:pt x="23961" y="10512"/>
                  </a:cubicBezTo>
                  <a:cubicBezTo>
                    <a:pt x="24133" y="10564"/>
                    <a:pt x="24116" y="10375"/>
                    <a:pt x="24099" y="10512"/>
                  </a:cubicBezTo>
                  <a:cubicBezTo>
                    <a:pt x="24082" y="10649"/>
                    <a:pt x="24356" y="10220"/>
                    <a:pt x="24322" y="10512"/>
                  </a:cubicBezTo>
                  <a:cubicBezTo>
                    <a:pt x="24288" y="10804"/>
                    <a:pt x="24442" y="10357"/>
                    <a:pt x="24528" y="10512"/>
                  </a:cubicBezTo>
                  <a:cubicBezTo>
                    <a:pt x="24614" y="10667"/>
                    <a:pt x="24356" y="10667"/>
                    <a:pt x="24528" y="10632"/>
                  </a:cubicBezTo>
                  <a:cubicBezTo>
                    <a:pt x="24700" y="10598"/>
                    <a:pt x="24425" y="10632"/>
                    <a:pt x="24528" y="10804"/>
                  </a:cubicBezTo>
                  <a:cubicBezTo>
                    <a:pt x="24631" y="10976"/>
                    <a:pt x="24528" y="10804"/>
                    <a:pt x="24528" y="10804"/>
                  </a:cubicBezTo>
                  <a:cubicBezTo>
                    <a:pt x="24751" y="10804"/>
                    <a:pt x="24614" y="10804"/>
                    <a:pt x="24528" y="10924"/>
                  </a:cubicBezTo>
                  <a:cubicBezTo>
                    <a:pt x="24442" y="11045"/>
                    <a:pt x="24528" y="11079"/>
                    <a:pt x="24528" y="11148"/>
                  </a:cubicBezTo>
                  <a:cubicBezTo>
                    <a:pt x="24374" y="10924"/>
                    <a:pt x="24528" y="11440"/>
                    <a:pt x="24288" y="11148"/>
                  </a:cubicBezTo>
                  <a:cubicBezTo>
                    <a:pt x="24288" y="11268"/>
                    <a:pt x="24064" y="11268"/>
                    <a:pt x="23978" y="11388"/>
                  </a:cubicBezTo>
                  <a:lnTo>
                    <a:pt x="23978" y="11388"/>
                  </a:lnTo>
                  <a:cubicBezTo>
                    <a:pt x="23978" y="11388"/>
                    <a:pt x="23841" y="11388"/>
                    <a:pt x="23790" y="11388"/>
                  </a:cubicBezTo>
                  <a:cubicBezTo>
                    <a:pt x="23738" y="11388"/>
                    <a:pt x="23790" y="11388"/>
                    <a:pt x="23790" y="11388"/>
                  </a:cubicBezTo>
                  <a:cubicBezTo>
                    <a:pt x="23790" y="11388"/>
                    <a:pt x="23738" y="11594"/>
                    <a:pt x="23669" y="11440"/>
                  </a:cubicBezTo>
                  <a:close/>
                  <a:moveTo>
                    <a:pt x="38184" y="41533"/>
                  </a:moveTo>
                  <a:cubicBezTo>
                    <a:pt x="38063" y="41224"/>
                    <a:pt x="38579" y="40880"/>
                    <a:pt x="38802" y="40640"/>
                  </a:cubicBezTo>
                  <a:cubicBezTo>
                    <a:pt x="39025" y="40399"/>
                    <a:pt x="39025" y="39729"/>
                    <a:pt x="39540" y="39523"/>
                  </a:cubicBezTo>
                  <a:lnTo>
                    <a:pt x="39540" y="39523"/>
                  </a:lnTo>
                  <a:cubicBezTo>
                    <a:pt x="39540" y="39523"/>
                    <a:pt x="39540" y="39523"/>
                    <a:pt x="39540" y="39523"/>
                  </a:cubicBezTo>
                  <a:cubicBezTo>
                    <a:pt x="39540" y="39523"/>
                    <a:pt x="39644" y="39523"/>
                    <a:pt x="39781" y="39386"/>
                  </a:cubicBezTo>
                  <a:cubicBezTo>
                    <a:pt x="39661" y="39678"/>
                    <a:pt x="40073" y="39077"/>
                    <a:pt x="39953" y="39386"/>
                  </a:cubicBezTo>
                  <a:cubicBezTo>
                    <a:pt x="39832" y="39695"/>
                    <a:pt x="39953" y="39386"/>
                    <a:pt x="39953" y="39386"/>
                  </a:cubicBezTo>
                  <a:cubicBezTo>
                    <a:pt x="39953" y="39386"/>
                    <a:pt x="39953" y="39386"/>
                    <a:pt x="39953" y="39248"/>
                  </a:cubicBezTo>
                  <a:cubicBezTo>
                    <a:pt x="39953" y="39111"/>
                    <a:pt x="40073" y="39248"/>
                    <a:pt x="39953" y="39248"/>
                  </a:cubicBezTo>
                  <a:lnTo>
                    <a:pt x="39953" y="39248"/>
                  </a:lnTo>
                  <a:cubicBezTo>
                    <a:pt x="39953" y="39248"/>
                    <a:pt x="39953" y="39248"/>
                    <a:pt x="39953" y="39369"/>
                  </a:cubicBezTo>
                  <a:cubicBezTo>
                    <a:pt x="39953" y="39489"/>
                    <a:pt x="40090" y="39197"/>
                    <a:pt x="40107" y="39266"/>
                  </a:cubicBezTo>
                  <a:cubicBezTo>
                    <a:pt x="40124" y="39334"/>
                    <a:pt x="40107" y="39266"/>
                    <a:pt x="40107" y="39145"/>
                  </a:cubicBezTo>
                  <a:cubicBezTo>
                    <a:pt x="40107" y="39025"/>
                    <a:pt x="40262" y="39145"/>
                    <a:pt x="40107" y="39042"/>
                  </a:cubicBezTo>
                  <a:cubicBezTo>
                    <a:pt x="39953" y="38939"/>
                    <a:pt x="40107" y="39145"/>
                    <a:pt x="40262" y="38939"/>
                  </a:cubicBezTo>
                  <a:cubicBezTo>
                    <a:pt x="40416" y="38733"/>
                    <a:pt x="40537" y="38733"/>
                    <a:pt x="40485" y="38561"/>
                  </a:cubicBezTo>
                  <a:cubicBezTo>
                    <a:pt x="40434" y="38389"/>
                    <a:pt x="40588" y="38561"/>
                    <a:pt x="40674" y="38441"/>
                  </a:cubicBezTo>
                  <a:cubicBezTo>
                    <a:pt x="40760" y="38321"/>
                    <a:pt x="40674" y="38664"/>
                    <a:pt x="40674" y="38664"/>
                  </a:cubicBezTo>
                  <a:cubicBezTo>
                    <a:pt x="41344" y="38922"/>
                    <a:pt x="37514" y="43560"/>
                    <a:pt x="38184" y="41533"/>
                  </a:cubicBezTo>
                  <a:close/>
                  <a:moveTo>
                    <a:pt x="49159" y="26589"/>
                  </a:moveTo>
                  <a:cubicBezTo>
                    <a:pt x="49159" y="26589"/>
                    <a:pt x="49159" y="26589"/>
                    <a:pt x="49159" y="26589"/>
                  </a:cubicBezTo>
                  <a:cubicBezTo>
                    <a:pt x="48810" y="27921"/>
                    <a:pt x="48552" y="29276"/>
                    <a:pt x="48386" y="30643"/>
                  </a:cubicBezTo>
                  <a:cubicBezTo>
                    <a:pt x="48386" y="30540"/>
                    <a:pt x="48215" y="30780"/>
                    <a:pt x="48215" y="30849"/>
                  </a:cubicBezTo>
                  <a:cubicBezTo>
                    <a:pt x="48026" y="31570"/>
                    <a:pt x="47579" y="26864"/>
                    <a:pt x="47613" y="26452"/>
                  </a:cubicBezTo>
                  <a:cubicBezTo>
                    <a:pt x="47459" y="26452"/>
                    <a:pt x="47613" y="26263"/>
                    <a:pt x="47613" y="26160"/>
                  </a:cubicBezTo>
                  <a:cubicBezTo>
                    <a:pt x="47613" y="26057"/>
                    <a:pt x="47528" y="26160"/>
                    <a:pt x="47528" y="26160"/>
                  </a:cubicBezTo>
                  <a:cubicBezTo>
                    <a:pt x="47528" y="26555"/>
                    <a:pt x="47373" y="27362"/>
                    <a:pt x="47098" y="26606"/>
                  </a:cubicBezTo>
                  <a:cubicBezTo>
                    <a:pt x="47098" y="26606"/>
                    <a:pt x="46909" y="26332"/>
                    <a:pt x="46995" y="26383"/>
                  </a:cubicBezTo>
                  <a:lnTo>
                    <a:pt x="46995" y="26383"/>
                  </a:lnTo>
                  <a:cubicBezTo>
                    <a:pt x="46995" y="26538"/>
                    <a:pt x="46995" y="26383"/>
                    <a:pt x="46995" y="26383"/>
                  </a:cubicBezTo>
                  <a:cubicBezTo>
                    <a:pt x="46995" y="26383"/>
                    <a:pt x="47201" y="26074"/>
                    <a:pt x="47081" y="26040"/>
                  </a:cubicBezTo>
                  <a:cubicBezTo>
                    <a:pt x="47081" y="26383"/>
                    <a:pt x="46583" y="26040"/>
                    <a:pt x="46806" y="25833"/>
                  </a:cubicBezTo>
                  <a:cubicBezTo>
                    <a:pt x="46806" y="25833"/>
                    <a:pt x="46806" y="25937"/>
                    <a:pt x="46686" y="25971"/>
                  </a:cubicBezTo>
                  <a:cubicBezTo>
                    <a:pt x="46566" y="26005"/>
                    <a:pt x="46686" y="25885"/>
                    <a:pt x="46549" y="25971"/>
                  </a:cubicBezTo>
                  <a:cubicBezTo>
                    <a:pt x="46411" y="26057"/>
                    <a:pt x="46549" y="25696"/>
                    <a:pt x="46428" y="25559"/>
                  </a:cubicBezTo>
                  <a:cubicBezTo>
                    <a:pt x="46239" y="25730"/>
                    <a:pt x="46428" y="25318"/>
                    <a:pt x="46119" y="25438"/>
                  </a:cubicBezTo>
                  <a:cubicBezTo>
                    <a:pt x="46119" y="25438"/>
                    <a:pt x="45965" y="25524"/>
                    <a:pt x="45913" y="25610"/>
                  </a:cubicBezTo>
                  <a:cubicBezTo>
                    <a:pt x="45861" y="25696"/>
                    <a:pt x="45810" y="25610"/>
                    <a:pt x="45741" y="25610"/>
                  </a:cubicBezTo>
                  <a:cubicBezTo>
                    <a:pt x="45673" y="25610"/>
                    <a:pt x="45604" y="25610"/>
                    <a:pt x="45552" y="25765"/>
                  </a:cubicBezTo>
                  <a:cubicBezTo>
                    <a:pt x="45501" y="25919"/>
                    <a:pt x="45552" y="25765"/>
                    <a:pt x="45432" y="25765"/>
                  </a:cubicBezTo>
                  <a:cubicBezTo>
                    <a:pt x="45312" y="25765"/>
                    <a:pt x="45260" y="25885"/>
                    <a:pt x="45209" y="25679"/>
                  </a:cubicBezTo>
                  <a:cubicBezTo>
                    <a:pt x="45209" y="25782"/>
                    <a:pt x="44814" y="25679"/>
                    <a:pt x="44728" y="25679"/>
                  </a:cubicBezTo>
                  <a:cubicBezTo>
                    <a:pt x="44642" y="25679"/>
                    <a:pt x="44573" y="25679"/>
                    <a:pt x="44453" y="25679"/>
                  </a:cubicBezTo>
                  <a:cubicBezTo>
                    <a:pt x="44178" y="24683"/>
                    <a:pt x="44144" y="25541"/>
                    <a:pt x="43663" y="25404"/>
                  </a:cubicBezTo>
                  <a:cubicBezTo>
                    <a:pt x="43560" y="25404"/>
                    <a:pt x="43251" y="25284"/>
                    <a:pt x="43285" y="25146"/>
                  </a:cubicBezTo>
                  <a:cubicBezTo>
                    <a:pt x="43319" y="25009"/>
                    <a:pt x="42838" y="25146"/>
                    <a:pt x="42804" y="24803"/>
                  </a:cubicBezTo>
                  <a:cubicBezTo>
                    <a:pt x="42804" y="24803"/>
                    <a:pt x="42684" y="24803"/>
                    <a:pt x="42804" y="24803"/>
                  </a:cubicBezTo>
                  <a:cubicBezTo>
                    <a:pt x="42632" y="24803"/>
                    <a:pt x="42564" y="24185"/>
                    <a:pt x="42375" y="24425"/>
                  </a:cubicBezTo>
                  <a:cubicBezTo>
                    <a:pt x="42375" y="24339"/>
                    <a:pt x="42220" y="24425"/>
                    <a:pt x="42272" y="24270"/>
                  </a:cubicBezTo>
                  <a:cubicBezTo>
                    <a:pt x="42323" y="24116"/>
                    <a:pt x="42272" y="24270"/>
                    <a:pt x="42272" y="24270"/>
                  </a:cubicBezTo>
                  <a:cubicBezTo>
                    <a:pt x="42272" y="24270"/>
                    <a:pt x="42272" y="24494"/>
                    <a:pt x="42272" y="24270"/>
                  </a:cubicBezTo>
                  <a:cubicBezTo>
                    <a:pt x="42272" y="24047"/>
                    <a:pt x="42272" y="24580"/>
                    <a:pt x="42100" y="24597"/>
                  </a:cubicBezTo>
                  <a:lnTo>
                    <a:pt x="42220" y="24597"/>
                  </a:lnTo>
                  <a:lnTo>
                    <a:pt x="42220" y="24597"/>
                  </a:lnTo>
                  <a:cubicBezTo>
                    <a:pt x="42220" y="24597"/>
                    <a:pt x="42220" y="24700"/>
                    <a:pt x="42220" y="24734"/>
                  </a:cubicBezTo>
                  <a:cubicBezTo>
                    <a:pt x="42220" y="24769"/>
                    <a:pt x="42220" y="24837"/>
                    <a:pt x="42220" y="24734"/>
                  </a:cubicBezTo>
                  <a:cubicBezTo>
                    <a:pt x="42259" y="24896"/>
                    <a:pt x="42365" y="25033"/>
                    <a:pt x="42512" y="25112"/>
                  </a:cubicBezTo>
                  <a:cubicBezTo>
                    <a:pt x="42512" y="25112"/>
                    <a:pt x="42821" y="25438"/>
                    <a:pt x="42770" y="25610"/>
                  </a:cubicBezTo>
                  <a:lnTo>
                    <a:pt x="42770" y="25610"/>
                  </a:lnTo>
                  <a:cubicBezTo>
                    <a:pt x="42993" y="25851"/>
                    <a:pt x="43027" y="26314"/>
                    <a:pt x="43045" y="25782"/>
                  </a:cubicBezTo>
                  <a:cubicBezTo>
                    <a:pt x="43045" y="25645"/>
                    <a:pt x="43045" y="25438"/>
                    <a:pt x="43165" y="25627"/>
                  </a:cubicBezTo>
                  <a:cubicBezTo>
                    <a:pt x="43133" y="25786"/>
                    <a:pt x="43133" y="25950"/>
                    <a:pt x="43165" y="26108"/>
                  </a:cubicBezTo>
                  <a:cubicBezTo>
                    <a:pt x="43165" y="26108"/>
                    <a:pt x="43165" y="26297"/>
                    <a:pt x="43165" y="26211"/>
                  </a:cubicBezTo>
                  <a:lnTo>
                    <a:pt x="43165" y="26366"/>
                  </a:lnTo>
                  <a:cubicBezTo>
                    <a:pt x="43371" y="26177"/>
                    <a:pt x="43646" y="26366"/>
                    <a:pt x="43766" y="26091"/>
                  </a:cubicBezTo>
                  <a:lnTo>
                    <a:pt x="43766" y="26091"/>
                  </a:lnTo>
                  <a:cubicBezTo>
                    <a:pt x="43766" y="25833"/>
                    <a:pt x="44024" y="25593"/>
                    <a:pt x="44058" y="25318"/>
                  </a:cubicBezTo>
                  <a:lnTo>
                    <a:pt x="44058" y="25318"/>
                  </a:lnTo>
                  <a:cubicBezTo>
                    <a:pt x="44058" y="25318"/>
                    <a:pt x="44058" y="25146"/>
                    <a:pt x="44058" y="25215"/>
                  </a:cubicBezTo>
                  <a:cubicBezTo>
                    <a:pt x="44058" y="25284"/>
                    <a:pt x="44058" y="25559"/>
                    <a:pt x="44058" y="25507"/>
                  </a:cubicBezTo>
                  <a:cubicBezTo>
                    <a:pt x="44058" y="25851"/>
                    <a:pt x="44247" y="26280"/>
                    <a:pt x="44642" y="26091"/>
                  </a:cubicBezTo>
                  <a:cubicBezTo>
                    <a:pt x="44947" y="26440"/>
                    <a:pt x="44947" y="26961"/>
                    <a:pt x="44642" y="27311"/>
                  </a:cubicBezTo>
                  <a:cubicBezTo>
                    <a:pt x="44642" y="27105"/>
                    <a:pt x="44487" y="27757"/>
                    <a:pt x="44642" y="27877"/>
                  </a:cubicBezTo>
                  <a:cubicBezTo>
                    <a:pt x="44230" y="27877"/>
                    <a:pt x="44505" y="28290"/>
                    <a:pt x="44109" y="28376"/>
                  </a:cubicBezTo>
                  <a:cubicBezTo>
                    <a:pt x="44109" y="28496"/>
                    <a:pt x="44109" y="28599"/>
                    <a:pt x="44109" y="28719"/>
                  </a:cubicBezTo>
                  <a:cubicBezTo>
                    <a:pt x="43847" y="28757"/>
                    <a:pt x="43612" y="28900"/>
                    <a:pt x="43457" y="29114"/>
                  </a:cubicBezTo>
                  <a:cubicBezTo>
                    <a:pt x="43457" y="29475"/>
                    <a:pt x="42924" y="29595"/>
                    <a:pt x="42684" y="29767"/>
                  </a:cubicBezTo>
                  <a:cubicBezTo>
                    <a:pt x="42443" y="29939"/>
                    <a:pt x="42495" y="30042"/>
                    <a:pt x="42357" y="29990"/>
                  </a:cubicBezTo>
                  <a:cubicBezTo>
                    <a:pt x="42248" y="30193"/>
                    <a:pt x="42016" y="30299"/>
                    <a:pt x="41791" y="30248"/>
                  </a:cubicBezTo>
                  <a:cubicBezTo>
                    <a:pt x="41649" y="30457"/>
                    <a:pt x="41423" y="30595"/>
                    <a:pt x="41172" y="30626"/>
                  </a:cubicBezTo>
                  <a:cubicBezTo>
                    <a:pt x="41035" y="30317"/>
                    <a:pt x="41172" y="29904"/>
                    <a:pt x="40897" y="29629"/>
                  </a:cubicBezTo>
                  <a:cubicBezTo>
                    <a:pt x="41155" y="29011"/>
                    <a:pt x="40262" y="28204"/>
                    <a:pt x="39850" y="27706"/>
                  </a:cubicBezTo>
                  <a:cubicBezTo>
                    <a:pt x="39850" y="27293"/>
                    <a:pt x="39747" y="26589"/>
                    <a:pt x="39283" y="26606"/>
                  </a:cubicBezTo>
                  <a:cubicBezTo>
                    <a:pt x="39111" y="25799"/>
                    <a:pt x="38166" y="25370"/>
                    <a:pt x="38338" y="24751"/>
                  </a:cubicBezTo>
                  <a:cubicBezTo>
                    <a:pt x="38218" y="24975"/>
                    <a:pt x="38338" y="25249"/>
                    <a:pt x="38201" y="25438"/>
                  </a:cubicBezTo>
                  <a:cubicBezTo>
                    <a:pt x="37948" y="25233"/>
                    <a:pt x="37727" y="24989"/>
                    <a:pt x="37548" y="24717"/>
                  </a:cubicBezTo>
                  <a:cubicBezTo>
                    <a:pt x="37840" y="25370"/>
                    <a:pt x="38304" y="26022"/>
                    <a:pt x="38682" y="26692"/>
                  </a:cubicBezTo>
                  <a:lnTo>
                    <a:pt x="38682" y="26692"/>
                  </a:lnTo>
                  <a:cubicBezTo>
                    <a:pt x="38718" y="26746"/>
                    <a:pt x="38765" y="26793"/>
                    <a:pt x="38819" y="26830"/>
                  </a:cubicBezTo>
                  <a:cubicBezTo>
                    <a:pt x="38819" y="26830"/>
                    <a:pt x="38716" y="26830"/>
                    <a:pt x="38699" y="26830"/>
                  </a:cubicBezTo>
                  <a:cubicBezTo>
                    <a:pt x="38699" y="27328"/>
                    <a:pt x="39231" y="27311"/>
                    <a:pt x="39317" y="27826"/>
                  </a:cubicBezTo>
                  <a:cubicBezTo>
                    <a:pt x="39180" y="27826"/>
                    <a:pt x="39420" y="28187"/>
                    <a:pt x="39317" y="28376"/>
                  </a:cubicBezTo>
                  <a:cubicBezTo>
                    <a:pt x="39214" y="28565"/>
                    <a:pt x="39644" y="28719"/>
                    <a:pt x="39712" y="28891"/>
                  </a:cubicBezTo>
                  <a:cubicBezTo>
                    <a:pt x="39781" y="29063"/>
                    <a:pt x="39884" y="29561"/>
                    <a:pt x="40021" y="29715"/>
                  </a:cubicBezTo>
                  <a:cubicBezTo>
                    <a:pt x="40159" y="29870"/>
                    <a:pt x="40142" y="30007"/>
                    <a:pt x="40021" y="29801"/>
                  </a:cubicBezTo>
                  <a:cubicBezTo>
                    <a:pt x="39901" y="29595"/>
                    <a:pt x="40021" y="30042"/>
                    <a:pt x="40193" y="29939"/>
                  </a:cubicBezTo>
                  <a:cubicBezTo>
                    <a:pt x="40571" y="29939"/>
                    <a:pt x="40708" y="30591"/>
                    <a:pt x="40932" y="30626"/>
                  </a:cubicBezTo>
                  <a:cubicBezTo>
                    <a:pt x="41155" y="30660"/>
                    <a:pt x="40932" y="30746"/>
                    <a:pt x="41035" y="30746"/>
                  </a:cubicBezTo>
                  <a:cubicBezTo>
                    <a:pt x="41037" y="30889"/>
                    <a:pt x="40935" y="31013"/>
                    <a:pt x="40794" y="31038"/>
                  </a:cubicBezTo>
                  <a:cubicBezTo>
                    <a:pt x="41035" y="31038"/>
                    <a:pt x="41086" y="31364"/>
                    <a:pt x="41327" y="31450"/>
                  </a:cubicBezTo>
                  <a:cubicBezTo>
                    <a:pt x="41782" y="31205"/>
                    <a:pt x="42267" y="31020"/>
                    <a:pt x="42770" y="30901"/>
                  </a:cubicBezTo>
                  <a:cubicBezTo>
                    <a:pt x="42857" y="30834"/>
                    <a:pt x="42933" y="30752"/>
                    <a:pt x="42993" y="30660"/>
                  </a:cubicBezTo>
                  <a:cubicBezTo>
                    <a:pt x="43165" y="30660"/>
                    <a:pt x="42993" y="31021"/>
                    <a:pt x="42993" y="31210"/>
                  </a:cubicBezTo>
                  <a:cubicBezTo>
                    <a:pt x="42993" y="31399"/>
                    <a:pt x="42993" y="31210"/>
                    <a:pt x="42993" y="31210"/>
                  </a:cubicBezTo>
                  <a:cubicBezTo>
                    <a:pt x="42684" y="33580"/>
                    <a:pt x="39163" y="34989"/>
                    <a:pt x="38922" y="37033"/>
                  </a:cubicBezTo>
                  <a:cubicBezTo>
                    <a:pt x="38922" y="37033"/>
                    <a:pt x="38716" y="37204"/>
                    <a:pt x="38802" y="37307"/>
                  </a:cubicBezTo>
                  <a:cubicBezTo>
                    <a:pt x="38888" y="37410"/>
                    <a:pt x="38596" y="37874"/>
                    <a:pt x="38802" y="38012"/>
                  </a:cubicBezTo>
                  <a:cubicBezTo>
                    <a:pt x="38630" y="38407"/>
                    <a:pt x="38493" y="38991"/>
                    <a:pt x="38355" y="39248"/>
                  </a:cubicBezTo>
                  <a:cubicBezTo>
                    <a:pt x="38218" y="39506"/>
                    <a:pt x="38149" y="39369"/>
                    <a:pt x="38355" y="39351"/>
                  </a:cubicBezTo>
                  <a:cubicBezTo>
                    <a:pt x="38063" y="39781"/>
                    <a:pt x="37514" y="39901"/>
                    <a:pt x="37119" y="40193"/>
                  </a:cubicBezTo>
                  <a:lnTo>
                    <a:pt x="37119" y="40193"/>
                  </a:lnTo>
                  <a:cubicBezTo>
                    <a:pt x="36902" y="40432"/>
                    <a:pt x="36622" y="40604"/>
                    <a:pt x="36311" y="40691"/>
                  </a:cubicBezTo>
                  <a:cubicBezTo>
                    <a:pt x="36339" y="40751"/>
                    <a:pt x="36339" y="40820"/>
                    <a:pt x="36311" y="40880"/>
                  </a:cubicBezTo>
                  <a:cubicBezTo>
                    <a:pt x="36311" y="40880"/>
                    <a:pt x="36311" y="41000"/>
                    <a:pt x="36311" y="41035"/>
                  </a:cubicBezTo>
                  <a:cubicBezTo>
                    <a:pt x="36311" y="41069"/>
                    <a:pt x="36311" y="41292"/>
                    <a:pt x="36311" y="41395"/>
                  </a:cubicBezTo>
                  <a:cubicBezTo>
                    <a:pt x="36311" y="41498"/>
                    <a:pt x="36311" y="41310"/>
                    <a:pt x="36311" y="41292"/>
                  </a:cubicBezTo>
                  <a:lnTo>
                    <a:pt x="36311" y="41292"/>
                  </a:lnTo>
                  <a:lnTo>
                    <a:pt x="36311" y="41292"/>
                  </a:lnTo>
                  <a:cubicBezTo>
                    <a:pt x="36311" y="41447"/>
                    <a:pt x="36122" y="41567"/>
                    <a:pt x="36054" y="41705"/>
                  </a:cubicBezTo>
                  <a:lnTo>
                    <a:pt x="36054" y="41705"/>
                  </a:lnTo>
                  <a:cubicBezTo>
                    <a:pt x="35865" y="42117"/>
                    <a:pt x="35126" y="41997"/>
                    <a:pt x="35006" y="42392"/>
                  </a:cubicBezTo>
                  <a:lnTo>
                    <a:pt x="35126" y="42392"/>
                  </a:lnTo>
                  <a:cubicBezTo>
                    <a:pt x="35084" y="42471"/>
                    <a:pt x="35025" y="42542"/>
                    <a:pt x="34954" y="42598"/>
                  </a:cubicBezTo>
                  <a:lnTo>
                    <a:pt x="34954" y="42598"/>
                  </a:lnTo>
                  <a:cubicBezTo>
                    <a:pt x="34162" y="43425"/>
                    <a:pt x="33158" y="44019"/>
                    <a:pt x="32051" y="44315"/>
                  </a:cubicBezTo>
                  <a:cubicBezTo>
                    <a:pt x="31588" y="44161"/>
                    <a:pt x="31124" y="44453"/>
                    <a:pt x="30660" y="44418"/>
                  </a:cubicBezTo>
                  <a:cubicBezTo>
                    <a:pt x="30660" y="44333"/>
                    <a:pt x="30660" y="44418"/>
                    <a:pt x="30660" y="44418"/>
                  </a:cubicBezTo>
                  <a:cubicBezTo>
                    <a:pt x="30660" y="44418"/>
                    <a:pt x="30557" y="44333"/>
                    <a:pt x="30660" y="44418"/>
                  </a:cubicBezTo>
                  <a:cubicBezTo>
                    <a:pt x="30763" y="44504"/>
                    <a:pt x="30798" y="44230"/>
                    <a:pt x="30660" y="44092"/>
                  </a:cubicBezTo>
                  <a:cubicBezTo>
                    <a:pt x="30987" y="43938"/>
                    <a:pt x="30660" y="43508"/>
                    <a:pt x="30660" y="43199"/>
                  </a:cubicBezTo>
                  <a:cubicBezTo>
                    <a:pt x="30128" y="42392"/>
                    <a:pt x="30437" y="41189"/>
                    <a:pt x="29836" y="40296"/>
                  </a:cubicBezTo>
                  <a:cubicBezTo>
                    <a:pt x="29836" y="39369"/>
                    <a:pt x="31210" y="38956"/>
                    <a:pt x="30591" y="38046"/>
                  </a:cubicBezTo>
                  <a:cubicBezTo>
                    <a:pt x="30866" y="37840"/>
                    <a:pt x="30591" y="37428"/>
                    <a:pt x="30471" y="37204"/>
                  </a:cubicBezTo>
                  <a:lnTo>
                    <a:pt x="30574" y="37204"/>
                  </a:lnTo>
                  <a:cubicBezTo>
                    <a:pt x="30574" y="37204"/>
                    <a:pt x="30334" y="37204"/>
                    <a:pt x="30454" y="37050"/>
                  </a:cubicBezTo>
                  <a:cubicBezTo>
                    <a:pt x="30248" y="36449"/>
                    <a:pt x="29561" y="36242"/>
                    <a:pt x="29423" y="35607"/>
                  </a:cubicBezTo>
                  <a:cubicBezTo>
                    <a:pt x="29578" y="35607"/>
                    <a:pt x="29612" y="35487"/>
                    <a:pt x="29630" y="35298"/>
                  </a:cubicBezTo>
                  <a:cubicBezTo>
                    <a:pt x="29647" y="35109"/>
                    <a:pt x="29767" y="35298"/>
                    <a:pt x="29819" y="35298"/>
                  </a:cubicBezTo>
                  <a:cubicBezTo>
                    <a:pt x="29741" y="35301"/>
                    <a:pt x="29670" y="35252"/>
                    <a:pt x="29647" y="35177"/>
                  </a:cubicBezTo>
                  <a:cubicBezTo>
                    <a:pt x="29767" y="35177"/>
                    <a:pt x="29750" y="35057"/>
                    <a:pt x="29647" y="35040"/>
                  </a:cubicBezTo>
                  <a:cubicBezTo>
                    <a:pt x="29897" y="34793"/>
                    <a:pt x="29972" y="34419"/>
                    <a:pt x="29836" y="34095"/>
                  </a:cubicBezTo>
                  <a:cubicBezTo>
                    <a:pt x="29681" y="34198"/>
                    <a:pt x="29612" y="34095"/>
                    <a:pt x="29612" y="33906"/>
                  </a:cubicBezTo>
                  <a:cubicBezTo>
                    <a:pt x="29559" y="33957"/>
                    <a:pt x="29477" y="33957"/>
                    <a:pt x="29423" y="33906"/>
                  </a:cubicBezTo>
                  <a:cubicBezTo>
                    <a:pt x="29269" y="34095"/>
                    <a:pt x="28771" y="34078"/>
                    <a:pt x="28496" y="34044"/>
                  </a:cubicBezTo>
                  <a:cubicBezTo>
                    <a:pt x="28118" y="32807"/>
                    <a:pt x="26778" y="33529"/>
                    <a:pt x="25937" y="33821"/>
                  </a:cubicBezTo>
                  <a:cubicBezTo>
                    <a:pt x="24219" y="33305"/>
                    <a:pt x="23961" y="34490"/>
                    <a:pt x="22501" y="32687"/>
                  </a:cubicBezTo>
                  <a:cubicBezTo>
                    <a:pt x="22330" y="32687"/>
                    <a:pt x="22364" y="32429"/>
                    <a:pt x="22226" y="32361"/>
                  </a:cubicBezTo>
                  <a:cubicBezTo>
                    <a:pt x="22089" y="32292"/>
                    <a:pt x="22226" y="32240"/>
                    <a:pt x="22226" y="32137"/>
                  </a:cubicBezTo>
                  <a:cubicBezTo>
                    <a:pt x="22226" y="32034"/>
                    <a:pt x="21883" y="31897"/>
                    <a:pt x="21986" y="31828"/>
                  </a:cubicBezTo>
                  <a:cubicBezTo>
                    <a:pt x="21608" y="31828"/>
                    <a:pt x="21814" y="31485"/>
                    <a:pt x="21591" y="31536"/>
                  </a:cubicBezTo>
                  <a:cubicBezTo>
                    <a:pt x="21368" y="31588"/>
                    <a:pt x="21591" y="31450"/>
                    <a:pt x="21436" y="31450"/>
                  </a:cubicBezTo>
                  <a:lnTo>
                    <a:pt x="21436" y="31450"/>
                  </a:lnTo>
                  <a:lnTo>
                    <a:pt x="21436" y="31450"/>
                  </a:lnTo>
                  <a:cubicBezTo>
                    <a:pt x="21436" y="31450"/>
                    <a:pt x="21436" y="31450"/>
                    <a:pt x="21436" y="31347"/>
                  </a:cubicBezTo>
                  <a:cubicBezTo>
                    <a:pt x="21436" y="31244"/>
                    <a:pt x="21625" y="31347"/>
                    <a:pt x="21642" y="31347"/>
                  </a:cubicBezTo>
                  <a:cubicBezTo>
                    <a:pt x="21660" y="31347"/>
                    <a:pt x="21076" y="31347"/>
                    <a:pt x="21247" y="31158"/>
                  </a:cubicBezTo>
                  <a:cubicBezTo>
                    <a:pt x="21110" y="31158"/>
                    <a:pt x="21076" y="31158"/>
                    <a:pt x="21041" y="30986"/>
                  </a:cubicBezTo>
                  <a:cubicBezTo>
                    <a:pt x="21007" y="30815"/>
                    <a:pt x="21162" y="30986"/>
                    <a:pt x="21213" y="30986"/>
                  </a:cubicBezTo>
                  <a:cubicBezTo>
                    <a:pt x="21265" y="30986"/>
                    <a:pt x="21076" y="30986"/>
                    <a:pt x="21024" y="30986"/>
                  </a:cubicBezTo>
                  <a:cubicBezTo>
                    <a:pt x="20973" y="30986"/>
                    <a:pt x="21024" y="30849"/>
                    <a:pt x="21024" y="30780"/>
                  </a:cubicBezTo>
                  <a:cubicBezTo>
                    <a:pt x="21024" y="30712"/>
                    <a:pt x="21179" y="30935"/>
                    <a:pt x="21299" y="30780"/>
                  </a:cubicBezTo>
                  <a:cubicBezTo>
                    <a:pt x="21419" y="30626"/>
                    <a:pt x="21024" y="30694"/>
                    <a:pt x="21144" y="30626"/>
                  </a:cubicBezTo>
                  <a:lnTo>
                    <a:pt x="21144" y="30626"/>
                  </a:lnTo>
                  <a:cubicBezTo>
                    <a:pt x="21144" y="30626"/>
                    <a:pt x="20990" y="30368"/>
                    <a:pt x="20921" y="30299"/>
                  </a:cubicBezTo>
                  <a:cubicBezTo>
                    <a:pt x="21365" y="29847"/>
                    <a:pt x="21523" y="29187"/>
                    <a:pt x="21333" y="28582"/>
                  </a:cubicBezTo>
                  <a:cubicBezTo>
                    <a:pt x="21471" y="28582"/>
                    <a:pt x="21333" y="28393"/>
                    <a:pt x="21436" y="28358"/>
                  </a:cubicBezTo>
                  <a:cubicBezTo>
                    <a:pt x="21539" y="28324"/>
                    <a:pt x="21265" y="28255"/>
                    <a:pt x="21247" y="28135"/>
                  </a:cubicBezTo>
                  <a:lnTo>
                    <a:pt x="21247" y="28221"/>
                  </a:lnTo>
                  <a:cubicBezTo>
                    <a:pt x="21228" y="27927"/>
                    <a:pt x="21357" y="27644"/>
                    <a:pt x="21591" y="27465"/>
                  </a:cubicBezTo>
                  <a:cubicBezTo>
                    <a:pt x="21952" y="26297"/>
                    <a:pt x="23103" y="25833"/>
                    <a:pt x="23927" y="25043"/>
                  </a:cubicBezTo>
                  <a:cubicBezTo>
                    <a:pt x="23935" y="24883"/>
                    <a:pt x="23935" y="24723"/>
                    <a:pt x="23927" y="24562"/>
                  </a:cubicBezTo>
                  <a:cubicBezTo>
                    <a:pt x="23927" y="24373"/>
                    <a:pt x="24288" y="24288"/>
                    <a:pt x="24133" y="24081"/>
                  </a:cubicBezTo>
                  <a:cubicBezTo>
                    <a:pt x="24677" y="23812"/>
                    <a:pt x="25139" y="23403"/>
                    <a:pt x="25473" y="22896"/>
                  </a:cubicBezTo>
                  <a:cubicBezTo>
                    <a:pt x="25473" y="23240"/>
                    <a:pt x="26005" y="23223"/>
                    <a:pt x="26194" y="23102"/>
                  </a:cubicBezTo>
                  <a:cubicBezTo>
                    <a:pt x="26521" y="23497"/>
                    <a:pt x="27225" y="22828"/>
                    <a:pt x="27586" y="22725"/>
                  </a:cubicBezTo>
                  <a:cubicBezTo>
                    <a:pt x="27946" y="22621"/>
                    <a:pt x="28771" y="22725"/>
                    <a:pt x="29063" y="22587"/>
                  </a:cubicBezTo>
                  <a:cubicBezTo>
                    <a:pt x="29355" y="22450"/>
                    <a:pt x="29286" y="22828"/>
                    <a:pt x="29372" y="22587"/>
                  </a:cubicBezTo>
                  <a:cubicBezTo>
                    <a:pt x="29647" y="22828"/>
                    <a:pt x="29939" y="22450"/>
                    <a:pt x="30162" y="22587"/>
                  </a:cubicBezTo>
                  <a:cubicBezTo>
                    <a:pt x="30162" y="22398"/>
                    <a:pt x="30299" y="22725"/>
                    <a:pt x="30385" y="22776"/>
                  </a:cubicBezTo>
                  <a:cubicBezTo>
                    <a:pt x="30746" y="22415"/>
                    <a:pt x="30488" y="22862"/>
                    <a:pt x="30385" y="23017"/>
                  </a:cubicBezTo>
                  <a:cubicBezTo>
                    <a:pt x="31021" y="23446"/>
                    <a:pt x="29956" y="23618"/>
                    <a:pt x="30385" y="23910"/>
                  </a:cubicBezTo>
                  <a:cubicBezTo>
                    <a:pt x="30385" y="23910"/>
                    <a:pt x="30385" y="23910"/>
                    <a:pt x="30506" y="23910"/>
                  </a:cubicBezTo>
                  <a:cubicBezTo>
                    <a:pt x="30626" y="23910"/>
                    <a:pt x="30506" y="23824"/>
                    <a:pt x="30506" y="23910"/>
                  </a:cubicBezTo>
                  <a:cubicBezTo>
                    <a:pt x="30677" y="24322"/>
                    <a:pt x="31313" y="24013"/>
                    <a:pt x="31622" y="24236"/>
                  </a:cubicBezTo>
                  <a:cubicBezTo>
                    <a:pt x="34851" y="26469"/>
                    <a:pt x="32343" y="23566"/>
                    <a:pt x="34473" y="24236"/>
                  </a:cubicBezTo>
                  <a:cubicBezTo>
                    <a:pt x="34834" y="24580"/>
                    <a:pt x="35641" y="24477"/>
                    <a:pt x="36191" y="24700"/>
                  </a:cubicBezTo>
                  <a:cubicBezTo>
                    <a:pt x="36741" y="24923"/>
                    <a:pt x="36724" y="24597"/>
                    <a:pt x="37084" y="24494"/>
                  </a:cubicBezTo>
                  <a:cubicBezTo>
                    <a:pt x="36844" y="24580"/>
                    <a:pt x="37084" y="24494"/>
                    <a:pt x="37187" y="24494"/>
                  </a:cubicBezTo>
                  <a:cubicBezTo>
                    <a:pt x="37290" y="24494"/>
                    <a:pt x="37187" y="24494"/>
                    <a:pt x="37187" y="24494"/>
                  </a:cubicBezTo>
                  <a:cubicBezTo>
                    <a:pt x="37187" y="24494"/>
                    <a:pt x="37411" y="24494"/>
                    <a:pt x="37462" y="24494"/>
                  </a:cubicBezTo>
                  <a:cubicBezTo>
                    <a:pt x="37514" y="24494"/>
                    <a:pt x="37565" y="24614"/>
                    <a:pt x="37565" y="24665"/>
                  </a:cubicBezTo>
                  <a:cubicBezTo>
                    <a:pt x="37565" y="24717"/>
                    <a:pt x="37565" y="24562"/>
                    <a:pt x="37565" y="24494"/>
                  </a:cubicBezTo>
                  <a:cubicBezTo>
                    <a:pt x="38733" y="24889"/>
                    <a:pt x="38338" y="22776"/>
                    <a:pt x="38407" y="22381"/>
                  </a:cubicBezTo>
                  <a:cubicBezTo>
                    <a:pt x="38218" y="22536"/>
                    <a:pt x="37892" y="22381"/>
                    <a:pt x="37840" y="22656"/>
                  </a:cubicBezTo>
                  <a:cubicBezTo>
                    <a:pt x="37496" y="23051"/>
                    <a:pt x="36775" y="22106"/>
                    <a:pt x="36775" y="22656"/>
                  </a:cubicBezTo>
                  <a:cubicBezTo>
                    <a:pt x="36620" y="22656"/>
                    <a:pt x="36225" y="22828"/>
                    <a:pt x="36277" y="22536"/>
                  </a:cubicBezTo>
                  <a:cubicBezTo>
                    <a:pt x="36277" y="22536"/>
                    <a:pt x="36277" y="22536"/>
                    <a:pt x="36140" y="22536"/>
                  </a:cubicBezTo>
                  <a:cubicBezTo>
                    <a:pt x="36002" y="22536"/>
                    <a:pt x="35951" y="22690"/>
                    <a:pt x="35933" y="22536"/>
                  </a:cubicBezTo>
                  <a:lnTo>
                    <a:pt x="35727" y="22536"/>
                  </a:lnTo>
                  <a:cubicBezTo>
                    <a:pt x="35727" y="22450"/>
                    <a:pt x="35951" y="22536"/>
                    <a:pt x="35951" y="22398"/>
                  </a:cubicBezTo>
                  <a:cubicBezTo>
                    <a:pt x="35951" y="22261"/>
                    <a:pt x="35556" y="22501"/>
                    <a:pt x="35762" y="22398"/>
                  </a:cubicBezTo>
                  <a:cubicBezTo>
                    <a:pt x="35521" y="22244"/>
                    <a:pt x="35762" y="22106"/>
                    <a:pt x="35401" y="22020"/>
                  </a:cubicBezTo>
                  <a:cubicBezTo>
                    <a:pt x="35040" y="21934"/>
                    <a:pt x="35401" y="21883"/>
                    <a:pt x="35401" y="21831"/>
                  </a:cubicBezTo>
                  <a:cubicBezTo>
                    <a:pt x="35401" y="21780"/>
                    <a:pt x="35401" y="21952"/>
                    <a:pt x="35573" y="21831"/>
                  </a:cubicBezTo>
                  <a:lnTo>
                    <a:pt x="35573" y="21831"/>
                  </a:lnTo>
                  <a:cubicBezTo>
                    <a:pt x="35573" y="21831"/>
                    <a:pt x="35710" y="21831"/>
                    <a:pt x="35676" y="21694"/>
                  </a:cubicBezTo>
                  <a:cubicBezTo>
                    <a:pt x="35641" y="21557"/>
                    <a:pt x="35504" y="21522"/>
                    <a:pt x="35676" y="21488"/>
                  </a:cubicBezTo>
                  <a:cubicBezTo>
                    <a:pt x="35195" y="21660"/>
                    <a:pt x="35435" y="20938"/>
                    <a:pt x="35779" y="21179"/>
                  </a:cubicBezTo>
                  <a:cubicBezTo>
                    <a:pt x="35779" y="21041"/>
                    <a:pt x="36071" y="21179"/>
                    <a:pt x="36225" y="21179"/>
                  </a:cubicBezTo>
                  <a:cubicBezTo>
                    <a:pt x="35916" y="21058"/>
                    <a:pt x="36363" y="21076"/>
                    <a:pt x="36397" y="20990"/>
                  </a:cubicBezTo>
                  <a:cubicBezTo>
                    <a:pt x="35676" y="20766"/>
                    <a:pt x="36775" y="20869"/>
                    <a:pt x="36827" y="20784"/>
                  </a:cubicBezTo>
                  <a:cubicBezTo>
                    <a:pt x="36964" y="20406"/>
                    <a:pt x="37479" y="20457"/>
                    <a:pt x="37788" y="20371"/>
                  </a:cubicBezTo>
                  <a:cubicBezTo>
                    <a:pt x="37788" y="20543"/>
                    <a:pt x="37960" y="20560"/>
                    <a:pt x="38063" y="20371"/>
                  </a:cubicBezTo>
                  <a:cubicBezTo>
                    <a:pt x="38166" y="20182"/>
                    <a:pt x="38201" y="20663"/>
                    <a:pt x="38287" y="20526"/>
                  </a:cubicBezTo>
                  <a:cubicBezTo>
                    <a:pt x="40760" y="21024"/>
                    <a:pt x="38991" y="19324"/>
                    <a:pt x="37857" y="19049"/>
                  </a:cubicBezTo>
                  <a:cubicBezTo>
                    <a:pt x="37857" y="19049"/>
                    <a:pt x="37857" y="19049"/>
                    <a:pt x="37857" y="18911"/>
                  </a:cubicBezTo>
                  <a:cubicBezTo>
                    <a:pt x="37857" y="18774"/>
                    <a:pt x="38063" y="18911"/>
                    <a:pt x="37977" y="18791"/>
                  </a:cubicBezTo>
                  <a:cubicBezTo>
                    <a:pt x="37892" y="18671"/>
                    <a:pt x="38201" y="18637"/>
                    <a:pt x="37977" y="18551"/>
                  </a:cubicBezTo>
                  <a:cubicBezTo>
                    <a:pt x="37754" y="18465"/>
                    <a:pt x="37874" y="18551"/>
                    <a:pt x="37857" y="18448"/>
                  </a:cubicBezTo>
                  <a:cubicBezTo>
                    <a:pt x="37840" y="18345"/>
                    <a:pt x="38029" y="18448"/>
                    <a:pt x="38029" y="18448"/>
                  </a:cubicBezTo>
                  <a:cubicBezTo>
                    <a:pt x="38029" y="18448"/>
                    <a:pt x="38166" y="18310"/>
                    <a:pt x="38132" y="18224"/>
                  </a:cubicBezTo>
                  <a:cubicBezTo>
                    <a:pt x="38098" y="18138"/>
                    <a:pt x="37651" y="18224"/>
                    <a:pt x="37548" y="18499"/>
                  </a:cubicBezTo>
                  <a:cubicBezTo>
                    <a:pt x="37548" y="18499"/>
                    <a:pt x="37445" y="18585"/>
                    <a:pt x="37359" y="18499"/>
                  </a:cubicBezTo>
                  <a:cubicBezTo>
                    <a:pt x="37273" y="18413"/>
                    <a:pt x="37256" y="18499"/>
                    <a:pt x="37204" y="18499"/>
                  </a:cubicBezTo>
                  <a:cubicBezTo>
                    <a:pt x="37153" y="18499"/>
                    <a:pt x="37204" y="18774"/>
                    <a:pt x="37204" y="18705"/>
                  </a:cubicBezTo>
                  <a:cubicBezTo>
                    <a:pt x="37204" y="18637"/>
                    <a:pt x="37204" y="18585"/>
                    <a:pt x="37204" y="18568"/>
                  </a:cubicBezTo>
                  <a:cubicBezTo>
                    <a:pt x="37204" y="18551"/>
                    <a:pt x="36964" y="18722"/>
                    <a:pt x="36878" y="18791"/>
                  </a:cubicBezTo>
                  <a:cubicBezTo>
                    <a:pt x="36792" y="18860"/>
                    <a:pt x="37170" y="18791"/>
                    <a:pt x="37136" y="18946"/>
                  </a:cubicBezTo>
                  <a:cubicBezTo>
                    <a:pt x="37101" y="19100"/>
                    <a:pt x="37136" y="18946"/>
                    <a:pt x="37136" y="18946"/>
                  </a:cubicBezTo>
                  <a:cubicBezTo>
                    <a:pt x="37136" y="18946"/>
                    <a:pt x="37136" y="19066"/>
                    <a:pt x="37325" y="19049"/>
                  </a:cubicBezTo>
                  <a:cubicBezTo>
                    <a:pt x="37514" y="19032"/>
                    <a:pt x="37016" y="18825"/>
                    <a:pt x="37084" y="18705"/>
                  </a:cubicBezTo>
                  <a:cubicBezTo>
                    <a:pt x="37153" y="18585"/>
                    <a:pt x="37273" y="18980"/>
                    <a:pt x="37393" y="19014"/>
                  </a:cubicBezTo>
                  <a:cubicBezTo>
                    <a:pt x="37514" y="19049"/>
                    <a:pt x="37393" y="19014"/>
                    <a:pt x="37514" y="19014"/>
                  </a:cubicBezTo>
                  <a:cubicBezTo>
                    <a:pt x="37634" y="19014"/>
                    <a:pt x="37617" y="18929"/>
                    <a:pt x="37685" y="18929"/>
                  </a:cubicBezTo>
                  <a:cubicBezTo>
                    <a:pt x="37754" y="18929"/>
                    <a:pt x="37685" y="19152"/>
                    <a:pt x="37462" y="19100"/>
                  </a:cubicBezTo>
                  <a:cubicBezTo>
                    <a:pt x="37239" y="19049"/>
                    <a:pt x="36861" y="19650"/>
                    <a:pt x="36912" y="19100"/>
                  </a:cubicBezTo>
                  <a:cubicBezTo>
                    <a:pt x="36775" y="18980"/>
                    <a:pt x="36466" y="19100"/>
                    <a:pt x="36758" y="18860"/>
                  </a:cubicBezTo>
                  <a:cubicBezTo>
                    <a:pt x="37050" y="18619"/>
                    <a:pt x="36620" y="18602"/>
                    <a:pt x="36500" y="18740"/>
                  </a:cubicBezTo>
                  <a:cubicBezTo>
                    <a:pt x="36380" y="18877"/>
                    <a:pt x="36311" y="18740"/>
                    <a:pt x="36380" y="18619"/>
                  </a:cubicBezTo>
                  <a:cubicBezTo>
                    <a:pt x="36449" y="18499"/>
                    <a:pt x="36191" y="18619"/>
                    <a:pt x="36157" y="18619"/>
                  </a:cubicBezTo>
                  <a:cubicBezTo>
                    <a:pt x="36122" y="18619"/>
                    <a:pt x="36380" y="18619"/>
                    <a:pt x="36449" y="18619"/>
                  </a:cubicBezTo>
                  <a:cubicBezTo>
                    <a:pt x="36396" y="18670"/>
                    <a:pt x="36313" y="18670"/>
                    <a:pt x="36260" y="18619"/>
                  </a:cubicBezTo>
                  <a:cubicBezTo>
                    <a:pt x="36260" y="18791"/>
                    <a:pt x="36122" y="18619"/>
                    <a:pt x="36088" y="18740"/>
                  </a:cubicBezTo>
                  <a:cubicBezTo>
                    <a:pt x="36054" y="18860"/>
                    <a:pt x="36088" y="18929"/>
                    <a:pt x="35916" y="18946"/>
                  </a:cubicBezTo>
                  <a:cubicBezTo>
                    <a:pt x="35744" y="18963"/>
                    <a:pt x="35916" y="19221"/>
                    <a:pt x="35796" y="19083"/>
                  </a:cubicBezTo>
                  <a:cubicBezTo>
                    <a:pt x="35916" y="19392"/>
                    <a:pt x="35796" y="19409"/>
                    <a:pt x="35607" y="19598"/>
                  </a:cubicBezTo>
                  <a:cubicBezTo>
                    <a:pt x="35418" y="19787"/>
                    <a:pt x="35607" y="19856"/>
                    <a:pt x="35607" y="19993"/>
                  </a:cubicBezTo>
                  <a:cubicBezTo>
                    <a:pt x="35607" y="20131"/>
                    <a:pt x="35401" y="20097"/>
                    <a:pt x="35470" y="20251"/>
                  </a:cubicBezTo>
                  <a:cubicBezTo>
                    <a:pt x="35538" y="20406"/>
                    <a:pt x="35607" y="20440"/>
                    <a:pt x="35607" y="20698"/>
                  </a:cubicBezTo>
                  <a:cubicBezTo>
                    <a:pt x="35607" y="20955"/>
                    <a:pt x="36054" y="20835"/>
                    <a:pt x="35899" y="20990"/>
                  </a:cubicBezTo>
                  <a:cubicBezTo>
                    <a:pt x="35744" y="21144"/>
                    <a:pt x="35435" y="21144"/>
                    <a:pt x="35212" y="21333"/>
                  </a:cubicBezTo>
                  <a:cubicBezTo>
                    <a:pt x="35212" y="21230"/>
                    <a:pt x="35212" y="21179"/>
                    <a:pt x="35315" y="21144"/>
                  </a:cubicBezTo>
                  <a:cubicBezTo>
                    <a:pt x="35109" y="21144"/>
                    <a:pt x="34851" y="20887"/>
                    <a:pt x="34731" y="21144"/>
                  </a:cubicBezTo>
                  <a:cubicBezTo>
                    <a:pt x="34559" y="21144"/>
                    <a:pt x="34611" y="21144"/>
                    <a:pt x="34491" y="21230"/>
                  </a:cubicBezTo>
                  <a:cubicBezTo>
                    <a:pt x="34370" y="21316"/>
                    <a:pt x="34491" y="21333"/>
                    <a:pt x="34611" y="21385"/>
                  </a:cubicBezTo>
                  <a:cubicBezTo>
                    <a:pt x="34731" y="21436"/>
                    <a:pt x="34422" y="21299"/>
                    <a:pt x="34439" y="21385"/>
                  </a:cubicBezTo>
                  <a:cubicBezTo>
                    <a:pt x="34456" y="21471"/>
                    <a:pt x="34559" y="21385"/>
                    <a:pt x="34439" y="21471"/>
                  </a:cubicBezTo>
                  <a:cubicBezTo>
                    <a:pt x="34319" y="21557"/>
                    <a:pt x="34164" y="21350"/>
                    <a:pt x="34439" y="21471"/>
                  </a:cubicBezTo>
                  <a:cubicBezTo>
                    <a:pt x="34302" y="21471"/>
                    <a:pt x="34250" y="21333"/>
                    <a:pt x="34164" y="21282"/>
                  </a:cubicBezTo>
                  <a:cubicBezTo>
                    <a:pt x="34078" y="21230"/>
                    <a:pt x="33924" y="21402"/>
                    <a:pt x="34164" y="21522"/>
                  </a:cubicBezTo>
                  <a:cubicBezTo>
                    <a:pt x="34405" y="21642"/>
                    <a:pt x="34542" y="21986"/>
                    <a:pt x="34164" y="21728"/>
                  </a:cubicBezTo>
                  <a:cubicBezTo>
                    <a:pt x="34164" y="21728"/>
                    <a:pt x="34164" y="21728"/>
                    <a:pt x="34164" y="21728"/>
                  </a:cubicBezTo>
                  <a:cubicBezTo>
                    <a:pt x="34164" y="21728"/>
                    <a:pt x="34164" y="21849"/>
                    <a:pt x="34164" y="21831"/>
                  </a:cubicBezTo>
                  <a:cubicBezTo>
                    <a:pt x="34353" y="21969"/>
                    <a:pt x="34680" y="22020"/>
                    <a:pt x="34662" y="22295"/>
                  </a:cubicBezTo>
                  <a:cubicBezTo>
                    <a:pt x="34542" y="22295"/>
                    <a:pt x="34473" y="22175"/>
                    <a:pt x="34336" y="22295"/>
                  </a:cubicBezTo>
                  <a:cubicBezTo>
                    <a:pt x="34199" y="22415"/>
                    <a:pt x="34645" y="22536"/>
                    <a:pt x="34456" y="22467"/>
                  </a:cubicBezTo>
                  <a:cubicBezTo>
                    <a:pt x="34267" y="22398"/>
                    <a:pt x="34456" y="22467"/>
                    <a:pt x="34456" y="22467"/>
                  </a:cubicBezTo>
                  <a:cubicBezTo>
                    <a:pt x="34456" y="22467"/>
                    <a:pt x="34456" y="22707"/>
                    <a:pt x="34456" y="22776"/>
                  </a:cubicBezTo>
                  <a:cubicBezTo>
                    <a:pt x="34456" y="22845"/>
                    <a:pt x="34216" y="22587"/>
                    <a:pt x="34250" y="22776"/>
                  </a:cubicBezTo>
                  <a:cubicBezTo>
                    <a:pt x="34250" y="22621"/>
                    <a:pt x="34147" y="22639"/>
                    <a:pt x="34078" y="22518"/>
                  </a:cubicBezTo>
                  <a:cubicBezTo>
                    <a:pt x="34010" y="22398"/>
                    <a:pt x="34078" y="22604"/>
                    <a:pt x="34078" y="22656"/>
                  </a:cubicBezTo>
                  <a:cubicBezTo>
                    <a:pt x="33988" y="22604"/>
                    <a:pt x="33946" y="22498"/>
                    <a:pt x="33975" y="22398"/>
                  </a:cubicBezTo>
                  <a:cubicBezTo>
                    <a:pt x="33855" y="22295"/>
                    <a:pt x="33666" y="22226"/>
                    <a:pt x="33855" y="22089"/>
                  </a:cubicBezTo>
                  <a:cubicBezTo>
                    <a:pt x="34044" y="21952"/>
                    <a:pt x="34199" y="22261"/>
                    <a:pt x="34353" y="22089"/>
                  </a:cubicBezTo>
                  <a:cubicBezTo>
                    <a:pt x="34216" y="22089"/>
                    <a:pt x="34061" y="21917"/>
                    <a:pt x="33958" y="22089"/>
                  </a:cubicBezTo>
                  <a:cubicBezTo>
                    <a:pt x="33855" y="22261"/>
                    <a:pt x="33838" y="21969"/>
                    <a:pt x="33786" y="22089"/>
                  </a:cubicBezTo>
                  <a:cubicBezTo>
                    <a:pt x="33546" y="21849"/>
                    <a:pt x="33374" y="21471"/>
                    <a:pt x="33065" y="21316"/>
                  </a:cubicBezTo>
                  <a:cubicBezTo>
                    <a:pt x="33065" y="21127"/>
                    <a:pt x="33065" y="20921"/>
                    <a:pt x="33065" y="20732"/>
                  </a:cubicBezTo>
                  <a:cubicBezTo>
                    <a:pt x="32859" y="20732"/>
                    <a:pt x="32739" y="20457"/>
                    <a:pt x="32584" y="20320"/>
                  </a:cubicBezTo>
                  <a:cubicBezTo>
                    <a:pt x="32429" y="20182"/>
                    <a:pt x="32326" y="20320"/>
                    <a:pt x="32275" y="20320"/>
                  </a:cubicBezTo>
                  <a:cubicBezTo>
                    <a:pt x="32223" y="20320"/>
                    <a:pt x="32275" y="20320"/>
                    <a:pt x="32395" y="20320"/>
                  </a:cubicBezTo>
                  <a:cubicBezTo>
                    <a:pt x="32515" y="20320"/>
                    <a:pt x="32103" y="20062"/>
                    <a:pt x="31931" y="20131"/>
                  </a:cubicBezTo>
                  <a:cubicBezTo>
                    <a:pt x="31759" y="20200"/>
                    <a:pt x="31416" y="19839"/>
                    <a:pt x="31742" y="19856"/>
                  </a:cubicBezTo>
                  <a:cubicBezTo>
                    <a:pt x="31347" y="19616"/>
                    <a:pt x="31536" y="19135"/>
                    <a:pt x="31175" y="19633"/>
                  </a:cubicBezTo>
                  <a:cubicBezTo>
                    <a:pt x="31175" y="19530"/>
                    <a:pt x="31038" y="19409"/>
                    <a:pt x="31175" y="19306"/>
                  </a:cubicBezTo>
                  <a:cubicBezTo>
                    <a:pt x="31313" y="19203"/>
                    <a:pt x="30832" y="19306"/>
                    <a:pt x="30746" y="19427"/>
                  </a:cubicBezTo>
                  <a:cubicBezTo>
                    <a:pt x="30746" y="19942"/>
                    <a:pt x="31347" y="20268"/>
                    <a:pt x="31656" y="20681"/>
                  </a:cubicBezTo>
                  <a:cubicBezTo>
                    <a:pt x="31811" y="20681"/>
                    <a:pt x="32223" y="20681"/>
                    <a:pt x="31983" y="20887"/>
                  </a:cubicBezTo>
                  <a:cubicBezTo>
                    <a:pt x="32223" y="21024"/>
                    <a:pt x="32979" y="21161"/>
                    <a:pt x="32807" y="21539"/>
                  </a:cubicBezTo>
                  <a:cubicBezTo>
                    <a:pt x="32653" y="21539"/>
                    <a:pt x="32807" y="21282"/>
                    <a:pt x="32532" y="21333"/>
                  </a:cubicBezTo>
                  <a:cubicBezTo>
                    <a:pt x="32258" y="21385"/>
                    <a:pt x="32258" y="21539"/>
                    <a:pt x="32309" y="21625"/>
                  </a:cubicBezTo>
                  <a:cubicBezTo>
                    <a:pt x="32670" y="21728"/>
                    <a:pt x="32309" y="21934"/>
                    <a:pt x="32309" y="22141"/>
                  </a:cubicBezTo>
                  <a:cubicBezTo>
                    <a:pt x="32309" y="22347"/>
                    <a:pt x="31845" y="22415"/>
                    <a:pt x="32086" y="22141"/>
                  </a:cubicBezTo>
                  <a:cubicBezTo>
                    <a:pt x="32197" y="21856"/>
                    <a:pt x="32069" y="21534"/>
                    <a:pt x="31794" y="21402"/>
                  </a:cubicBezTo>
                  <a:cubicBezTo>
                    <a:pt x="31639" y="21402"/>
                    <a:pt x="31794" y="21282"/>
                    <a:pt x="31656" y="21230"/>
                  </a:cubicBezTo>
                  <a:cubicBezTo>
                    <a:pt x="31518" y="21226"/>
                    <a:pt x="31393" y="21147"/>
                    <a:pt x="31330" y="21024"/>
                  </a:cubicBezTo>
                  <a:cubicBezTo>
                    <a:pt x="30317" y="21024"/>
                    <a:pt x="30145" y="18980"/>
                    <a:pt x="29080" y="20217"/>
                  </a:cubicBezTo>
                  <a:cubicBezTo>
                    <a:pt x="29080" y="20423"/>
                    <a:pt x="28736" y="20217"/>
                    <a:pt x="28633" y="20114"/>
                  </a:cubicBezTo>
                  <a:cubicBezTo>
                    <a:pt x="27568" y="19993"/>
                    <a:pt x="28633" y="20921"/>
                    <a:pt x="27448" y="21093"/>
                  </a:cubicBezTo>
                  <a:cubicBezTo>
                    <a:pt x="27534" y="21093"/>
                    <a:pt x="27448" y="21265"/>
                    <a:pt x="27448" y="21213"/>
                  </a:cubicBezTo>
                  <a:cubicBezTo>
                    <a:pt x="26744" y="21763"/>
                    <a:pt x="27448" y="21728"/>
                    <a:pt x="27191" y="22003"/>
                  </a:cubicBezTo>
                  <a:cubicBezTo>
                    <a:pt x="26950" y="22003"/>
                    <a:pt x="27070" y="22450"/>
                    <a:pt x="26847" y="22398"/>
                  </a:cubicBezTo>
                  <a:cubicBezTo>
                    <a:pt x="26418" y="22862"/>
                    <a:pt x="25919" y="22398"/>
                    <a:pt x="25421" y="22896"/>
                  </a:cubicBezTo>
                  <a:cubicBezTo>
                    <a:pt x="25095" y="22896"/>
                    <a:pt x="25147" y="22192"/>
                    <a:pt x="24700" y="22501"/>
                  </a:cubicBezTo>
                  <a:cubicBezTo>
                    <a:pt x="24700" y="22501"/>
                    <a:pt x="24494" y="22364"/>
                    <a:pt x="24408" y="22501"/>
                  </a:cubicBezTo>
                  <a:cubicBezTo>
                    <a:pt x="24426" y="22310"/>
                    <a:pt x="24460" y="22120"/>
                    <a:pt x="24511" y="21934"/>
                  </a:cubicBezTo>
                  <a:cubicBezTo>
                    <a:pt x="24185" y="21934"/>
                    <a:pt x="24511" y="21934"/>
                    <a:pt x="24511" y="21763"/>
                  </a:cubicBezTo>
                  <a:cubicBezTo>
                    <a:pt x="24099" y="22020"/>
                    <a:pt x="24614" y="21299"/>
                    <a:pt x="24631" y="21144"/>
                  </a:cubicBezTo>
                  <a:cubicBezTo>
                    <a:pt x="24648" y="20990"/>
                    <a:pt x="24631" y="20595"/>
                    <a:pt x="24734" y="20457"/>
                  </a:cubicBezTo>
                  <a:lnTo>
                    <a:pt x="24734" y="20457"/>
                  </a:lnTo>
                  <a:cubicBezTo>
                    <a:pt x="24734" y="20457"/>
                    <a:pt x="24734" y="20457"/>
                    <a:pt x="24734" y="20337"/>
                  </a:cubicBezTo>
                  <a:cubicBezTo>
                    <a:pt x="24734" y="20217"/>
                    <a:pt x="24734" y="20337"/>
                    <a:pt x="24734" y="20234"/>
                  </a:cubicBezTo>
                  <a:cubicBezTo>
                    <a:pt x="24734" y="20131"/>
                    <a:pt x="24940" y="20097"/>
                    <a:pt x="25026" y="20045"/>
                  </a:cubicBezTo>
                  <a:cubicBezTo>
                    <a:pt x="25112" y="19993"/>
                    <a:pt x="25404" y="20045"/>
                    <a:pt x="25490" y="20045"/>
                  </a:cubicBezTo>
                  <a:cubicBezTo>
                    <a:pt x="25851" y="20045"/>
                    <a:pt x="26246" y="20217"/>
                    <a:pt x="26607" y="20131"/>
                  </a:cubicBezTo>
                  <a:cubicBezTo>
                    <a:pt x="27242" y="20629"/>
                    <a:pt x="26847" y="18911"/>
                    <a:pt x="27276" y="19564"/>
                  </a:cubicBezTo>
                  <a:cubicBezTo>
                    <a:pt x="27276" y="19461"/>
                    <a:pt x="27173" y="19306"/>
                    <a:pt x="27053" y="19289"/>
                  </a:cubicBezTo>
                  <a:cubicBezTo>
                    <a:pt x="27225" y="19066"/>
                    <a:pt x="26899" y="19014"/>
                    <a:pt x="26813" y="18860"/>
                  </a:cubicBezTo>
                  <a:cubicBezTo>
                    <a:pt x="26727" y="18705"/>
                    <a:pt x="26813" y="18619"/>
                    <a:pt x="26950" y="18722"/>
                  </a:cubicBezTo>
                  <a:cubicBezTo>
                    <a:pt x="26847" y="18568"/>
                    <a:pt x="26727" y="18825"/>
                    <a:pt x="26727" y="18551"/>
                  </a:cubicBezTo>
                  <a:cubicBezTo>
                    <a:pt x="26607" y="18551"/>
                    <a:pt x="26400" y="18345"/>
                    <a:pt x="26229" y="18465"/>
                  </a:cubicBezTo>
                  <a:cubicBezTo>
                    <a:pt x="26057" y="18585"/>
                    <a:pt x="26229" y="18465"/>
                    <a:pt x="26229" y="18345"/>
                  </a:cubicBezTo>
                  <a:cubicBezTo>
                    <a:pt x="26229" y="18224"/>
                    <a:pt x="26332" y="18190"/>
                    <a:pt x="26229" y="18345"/>
                  </a:cubicBezTo>
                  <a:cubicBezTo>
                    <a:pt x="26126" y="18499"/>
                    <a:pt x="26229" y="18345"/>
                    <a:pt x="26229" y="18345"/>
                  </a:cubicBezTo>
                  <a:cubicBezTo>
                    <a:pt x="25851" y="18224"/>
                    <a:pt x="26435" y="18207"/>
                    <a:pt x="26555" y="18121"/>
                  </a:cubicBezTo>
                  <a:cubicBezTo>
                    <a:pt x="26692" y="18293"/>
                    <a:pt x="26795" y="18121"/>
                    <a:pt x="27019" y="18241"/>
                  </a:cubicBezTo>
                  <a:cubicBezTo>
                    <a:pt x="26989" y="18096"/>
                    <a:pt x="26949" y="17952"/>
                    <a:pt x="26899" y="17812"/>
                  </a:cubicBezTo>
                  <a:cubicBezTo>
                    <a:pt x="26899" y="17812"/>
                    <a:pt x="27053" y="17812"/>
                    <a:pt x="27105" y="17812"/>
                  </a:cubicBezTo>
                  <a:cubicBezTo>
                    <a:pt x="27156" y="17812"/>
                    <a:pt x="27397" y="18001"/>
                    <a:pt x="27500" y="17812"/>
                  </a:cubicBezTo>
                  <a:cubicBezTo>
                    <a:pt x="27259" y="17623"/>
                    <a:pt x="27775" y="17709"/>
                    <a:pt x="27775" y="17606"/>
                  </a:cubicBezTo>
                  <a:cubicBezTo>
                    <a:pt x="27775" y="17503"/>
                    <a:pt x="27860" y="17383"/>
                    <a:pt x="27895" y="17280"/>
                  </a:cubicBezTo>
                  <a:cubicBezTo>
                    <a:pt x="27929" y="17177"/>
                    <a:pt x="28204" y="16988"/>
                    <a:pt x="28444" y="17125"/>
                  </a:cubicBezTo>
                  <a:cubicBezTo>
                    <a:pt x="28273" y="17125"/>
                    <a:pt x="28221" y="16919"/>
                    <a:pt x="28444" y="17125"/>
                  </a:cubicBezTo>
                  <a:cubicBezTo>
                    <a:pt x="28668" y="17331"/>
                    <a:pt x="28324" y="17005"/>
                    <a:pt x="28547" y="17022"/>
                  </a:cubicBezTo>
                  <a:cubicBezTo>
                    <a:pt x="28187" y="16764"/>
                    <a:pt x="28925" y="16112"/>
                    <a:pt x="29286" y="16438"/>
                  </a:cubicBezTo>
                  <a:cubicBezTo>
                    <a:pt x="29028" y="16249"/>
                    <a:pt x="29389" y="16112"/>
                    <a:pt x="29458" y="16438"/>
                  </a:cubicBezTo>
                  <a:cubicBezTo>
                    <a:pt x="29458" y="16197"/>
                    <a:pt x="29458" y="16438"/>
                    <a:pt x="29595" y="16438"/>
                  </a:cubicBezTo>
                  <a:cubicBezTo>
                    <a:pt x="29441" y="16026"/>
                    <a:pt x="29750" y="16232"/>
                    <a:pt x="29956" y="16301"/>
                  </a:cubicBezTo>
                  <a:cubicBezTo>
                    <a:pt x="29389" y="16043"/>
                    <a:pt x="29544" y="15493"/>
                    <a:pt x="29389" y="15115"/>
                  </a:cubicBezTo>
                  <a:cubicBezTo>
                    <a:pt x="29630" y="15115"/>
                    <a:pt x="29527" y="14961"/>
                    <a:pt x="29664" y="15115"/>
                  </a:cubicBezTo>
                  <a:cubicBezTo>
                    <a:pt x="29664" y="14634"/>
                    <a:pt x="29836" y="15115"/>
                    <a:pt x="30025" y="15115"/>
                  </a:cubicBezTo>
                  <a:cubicBezTo>
                    <a:pt x="30025" y="15373"/>
                    <a:pt x="29527" y="15528"/>
                    <a:pt x="29922" y="16009"/>
                  </a:cubicBezTo>
                  <a:cubicBezTo>
                    <a:pt x="29922" y="15888"/>
                    <a:pt x="30334" y="16009"/>
                    <a:pt x="30059" y="16094"/>
                  </a:cubicBezTo>
                  <a:cubicBezTo>
                    <a:pt x="30591" y="16094"/>
                    <a:pt x="30385" y="15768"/>
                    <a:pt x="30883" y="16094"/>
                  </a:cubicBezTo>
                  <a:cubicBezTo>
                    <a:pt x="31124" y="16472"/>
                    <a:pt x="31656" y="15356"/>
                    <a:pt x="32103" y="15768"/>
                  </a:cubicBezTo>
                  <a:cubicBezTo>
                    <a:pt x="31828" y="15768"/>
                    <a:pt x="32103" y="16043"/>
                    <a:pt x="32326" y="15768"/>
                  </a:cubicBezTo>
                  <a:cubicBezTo>
                    <a:pt x="32299" y="15829"/>
                    <a:pt x="32250" y="15878"/>
                    <a:pt x="32189" y="15905"/>
                  </a:cubicBezTo>
                  <a:cubicBezTo>
                    <a:pt x="34078" y="15820"/>
                    <a:pt x="31656" y="15270"/>
                    <a:pt x="32704" y="14497"/>
                  </a:cubicBezTo>
                  <a:cubicBezTo>
                    <a:pt x="33082" y="15081"/>
                    <a:pt x="33202" y="14686"/>
                    <a:pt x="33031" y="14222"/>
                  </a:cubicBezTo>
                  <a:cubicBezTo>
                    <a:pt x="33031" y="14428"/>
                    <a:pt x="32739" y="14222"/>
                    <a:pt x="32842" y="14068"/>
                  </a:cubicBezTo>
                  <a:cubicBezTo>
                    <a:pt x="32532" y="14068"/>
                    <a:pt x="32842" y="13758"/>
                    <a:pt x="32842" y="13690"/>
                  </a:cubicBezTo>
                  <a:cubicBezTo>
                    <a:pt x="32842" y="13621"/>
                    <a:pt x="33082" y="13690"/>
                    <a:pt x="32979" y="13690"/>
                  </a:cubicBezTo>
                  <a:lnTo>
                    <a:pt x="33615" y="13793"/>
                  </a:lnTo>
                  <a:cubicBezTo>
                    <a:pt x="33426" y="13501"/>
                    <a:pt x="33615" y="13690"/>
                    <a:pt x="33752" y="13466"/>
                  </a:cubicBezTo>
                  <a:cubicBezTo>
                    <a:pt x="33889" y="13243"/>
                    <a:pt x="33305" y="13363"/>
                    <a:pt x="33546" y="13192"/>
                  </a:cubicBezTo>
                  <a:cubicBezTo>
                    <a:pt x="33546" y="13192"/>
                    <a:pt x="33426" y="13295"/>
                    <a:pt x="33408" y="13192"/>
                  </a:cubicBezTo>
                  <a:cubicBezTo>
                    <a:pt x="33408" y="13346"/>
                    <a:pt x="33099" y="13363"/>
                    <a:pt x="33031" y="13312"/>
                  </a:cubicBezTo>
                  <a:cubicBezTo>
                    <a:pt x="32962" y="13260"/>
                    <a:pt x="33031" y="13312"/>
                    <a:pt x="33031" y="13312"/>
                  </a:cubicBezTo>
                  <a:cubicBezTo>
                    <a:pt x="33031" y="13312"/>
                    <a:pt x="33031" y="13552"/>
                    <a:pt x="33031" y="13312"/>
                  </a:cubicBezTo>
                  <a:cubicBezTo>
                    <a:pt x="33031" y="13449"/>
                    <a:pt x="32601" y="13466"/>
                    <a:pt x="32567" y="13621"/>
                  </a:cubicBezTo>
                  <a:cubicBezTo>
                    <a:pt x="32567" y="13312"/>
                    <a:pt x="32412" y="13415"/>
                    <a:pt x="32172" y="13260"/>
                  </a:cubicBezTo>
                  <a:cubicBezTo>
                    <a:pt x="31931" y="13106"/>
                    <a:pt x="31691" y="12144"/>
                    <a:pt x="31914" y="12058"/>
                  </a:cubicBezTo>
                  <a:cubicBezTo>
                    <a:pt x="32137" y="11972"/>
                    <a:pt x="31914" y="11972"/>
                    <a:pt x="32017" y="12058"/>
                  </a:cubicBezTo>
                  <a:cubicBezTo>
                    <a:pt x="32120" y="12144"/>
                    <a:pt x="32017" y="11921"/>
                    <a:pt x="32017" y="11817"/>
                  </a:cubicBezTo>
                  <a:cubicBezTo>
                    <a:pt x="32017" y="11714"/>
                    <a:pt x="32240" y="11354"/>
                    <a:pt x="32309" y="11457"/>
                  </a:cubicBezTo>
                  <a:cubicBezTo>
                    <a:pt x="32103" y="11010"/>
                    <a:pt x="31708" y="11148"/>
                    <a:pt x="31502" y="11182"/>
                  </a:cubicBezTo>
                  <a:cubicBezTo>
                    <a:pt x="31622" y="11354"/>
                    <a:pt x="31502" y="11577"/>
                    <a:pt x="31656" y="11714"/>
                  </a:cubicBezTo>
                  <a:cubicBezTo>
                    <a:pt x="31532" y="12056"/>
                    <a:pt x="31318" y="12359"/>
                    <a:pt x="31038" y="12590"/>
                  </a:cubicBezTo>
                  <a:cubicBezTo>
                    <a:pt x="31158" y="12676"/>
                    <a:pt x="31038" y="12848"/>
                    <a:pt x="31175" y="12968"/>
                  </a:cubicBezTo>
                  <a:cubicBezTo>
                    <a:pt x="30883" y="13123"/>
                    <a:pt x="32189" y="13999"/>
                    <a:pt x="31382" y="13793"/>
                  </a:cubicBezTo>
                  <a:cubicBezTo>
                    <a:pt x="31382" y="13793"/>
                    <a:pt x="30901" y="13793"/>
                    <a:pt x="31210" y="13913"/>
                  </a:cubicBezTo>
                  <a:cubicBezTo>
                    <a:pt x="31519" y="14033"/>
                    <a:pt x="31811" y="14119"/>
                    <a:pt x="31485" y="14050"/>
                  </a:cubicBezTo>
                  <a:cubicBezTo>
                    <a:pt x="31485" y="14050"/>
                    <a:pt x="31485" y="14257"/>
                    <a:pt x="31364" y="14188"/>
                  </a:cubicBezTo>
                  <a:cubicBezTo>
                    <a:pt x="31244" y="14119"/>
                    <a:pt x="31467" y="14325"/>
                    <a:pt x="31364" y="14342"/>
                  </a:cubicBezTo>
                  <a:cubicBezTo>
                    <a:pt x="31485" y="14342"/>
                    <a:pt x="31519" y="14600"/>
                    <a:pt x="31364" y="14514"/>
                  </a:cubicBezTo>
                  <a:cubicBezTo>
                    <a:pt x="31502" y="14789"/>
                    <a:pt x="31519" y="15510"/>
                    <a:pt x="31090" y="15236"/>
                  </a:cubicBezTo>
                  <a:cubicBezTo>
                    <a:pt x="30815" y="16301"/>
                    <a:pt x="30059" y="14153"/>
                    <a:pt x="30162" y="14050"/>
                  </a:cubicBezTo>
                  <a:cubicBezTo>
                    <a:pt x="29990" y="13947"/>
                    <a:pt x="29939" y="13844"/>
                    <a:pt x="29939" y="13810"/>
                  </a:cubicBezTo>
                  <a:cubicBezTo>
                    <a:pt x="29958" y="13906"/>
                    <a:pt x="29958" y="14006"/>
                    <a:pt x="29939" y="14102"/>
                  </a:cubicBezTo>
                  <a:cubicBezTo>
                    <a:pt x="29939" y="14102"/>
                    <a:pt x="29939" y="14102"/>
                    <a:pt x="29733" y="13965"/>
                  </a:cubicBezTo>
                  <a:cubicBezTo>
                    <a:pt x="29733" y="14119"/>
                    <a:pt x="29733" y="14360"/>
                    <a:pt x="29595" y="14291"/>
                  </a:cubicBezTo>
                  <a:cubicBezTo>
                    <a:pt x="29733" y="14463"/>
                    <a:pt x="29286" y="14583"/>
                    <a:pt x="29183" y="14428"/>
                  </a:cubicBezTo>
                  <a:cubicBezTo>
                    <a:pt x="29080" y="14549"/>
                    <a:pt x="28651" y="14050"/>
                    <a:pt x="29183" y="14102"/>
                  </a:cubicBezTo>
                  <a:cubicBezTo>
                    <a:pt x="28960" y="14102"/>
                    <a:pt x="29183" y="13999"/>
                    <a:pt x="29011" y="13879"/>
                  </a:cubicBezTo>
                  <a:cubicBezTo>
                    <a:pt x="29011" y="14188"/>
                    <a:pt x="28771" y="13690"/>
                    <a:pt x="29011" y="13879"/>
                  </a:cubicBezTo>
                  <a:cubicBezTo>
                    <a:pt x="29252" y="14068"/>
                    <a:pt x="29011" y="13879"/>
                    <a:pt x="29166" y="13776"/>
                  </a:cubicBezTo>
                  <a:cubicBezTo>
                    <a:pt x="28960" y="13776"/>
                    <a:pt x="29166" y="13449"/>
                    <a:pt x="29166" y="13655"/>
                  </a:cubicBezTo>
                  <a:cubicBezTo>
                    <a:pt x="29118" y="13609"/>
                    <a:pt x="29118" y="13533"/>
                    <a:pt x="29164" y="13485"/>
                  </a:cubicBezTo>
                  <a:cubicBezTo>
                    <a:pt x="29165" y="13485"/>
                    <a:pt x="29165" y="13484"/>
                    <a:pt x="29166" y="13484"/>
                  </a:cubicBezTo>
                  <a:cubicBezTo>
                    <a:pt x="28943" y="13569"/>
                    <a:pt x="28822" y="13724"/>
                    <a:pt x="28943" y="13484"/>
                  </a:cubicBezTo>
                  <a:cubicBezTo>
                    <a:pt x="28788" y="13484"/>
                    <a:pt x="28736" y="13569"/>
                    <a:pt x="28943" y="13381"/>
                  </a:cubicBezTo>
                  <a:cubicBezTo>
                    <a:pt x="28599" y="13243"/>
                    <a:pt x="29544" y="13484"/>
                    <a:pt x="29355" y="13157"/>
                  </a:cubicBezTo>
                  <a:cubicBezTo>
                    <a:pt x="29355" y="13329"/>
                    <a:pt x="28582" y="13295"/>
                    <a:pt x="28994" y="13157"/>
                  </a:cubicBezTo>
                  <a:cubicBezTo>
                    <a:pt x="28651" y="13157"/>
                    <a:pt x="28994" y="13037"/>
                    <a:pt x="29183" y="13020"/>
                  </a:cubicBezTo>
                  <a:cubicBezTo>
                    <a:pt x="28822" y="13020"/>
                    <a:pt x="28754" y="12831"/>
                    <a:pt x="29046" y="12917"/>
                  </a:cubicBezTo>
                  <a:cubicBezTo>
                    <a:pt x="28960" y="12917"/>
                    <a:pt x="29046" y="12779"/>
                    <a:pt x="29183" y="12917"/>
                  </a:cubicBezTo>
                  <a:lnTo>
                    <a:pt x="29183" y="12797"/>
                  </a:lnTo>
                  <a:cubicBezTo>
                    <a:pt x="29183" y="12797"/>
                    <a:pt x="29183" y="12797"/>
                    <a:pt x="29441" y="12797"/>
                  </a:cubicBezTo>
                  <a:cubicBezTo>
                    <a:pt x="29114" y="12797"/>
                    <a:pt x="29303" y="12590"/>
                    <a:pt x="29578" y="12797"/>
                  </a:cubicBezTo>
                  <a:cubicBezTo>
                    <a:pt x="29217" y="12505"/>
                    <a:pt x="29578" y="12797"/>
                    <a:pt x="29578" y="12676"/>
                  </a:cubicBezTo>
                  <a:cubicBezTo>
                    <a:pt x="29578" y="12556"/>
                    <a:pt x="29922" y="12213"/>
                    <a:pt x="29767" y="12676"/>
                  </a:cubicBezTo>
                  <a:cubicBezTo>
                    <a:pt x="30007" y="12539"/>
                    <a:pt x="29973" y="12539"/>
                    <a:pt x="30059" y="12298"/>
                  </a:cubicBezTo>
                  <a:cubicBezTo>
                    <a:pt x="30145" y="12058"/>
                    <a:pt x="29784" y="12814"/>
                    <a:pt x="29801" y="12419"/>
                  </a:cubicBezTo>
                  <a:cubicBezTo>
                    <a:pt x="29664" y="12522"/>
                    <a:pt x="29801" y="12161"/>
                    <a:pt x="29801" y="12195"/>
                  </a:cubicBezTo>
                  <a:cubicBezTo>
                    <a:pt x="29801" y="12230"/>
                    <a:pt x="29990" y="12006"/>
                    <a:pt x="30145" y="11766"/>
                  </a:cubicBezTo>
                  <a:cubicBezTo>
                    <a:pt x="29990" y="11886"/>
                    <a:pt x="30059" y="11525"/>
                    <a:pt x="30145" y="11611"/>
                  </a:cubicBezTo>
                  <a:cubicBezTo>
                    <a:pt x="30231" y="11697"/>
                    <a:pt x="30145" y="11440"/>
                    <a:pt x="30145" y="11525"/>
                  </a:cubicBezTo>
                  <a:cubicBezTo>
                    <a:pt x="30042" y="11319"/>
                    <a:pt x="30145" y="11440"/>
                    <a:pt x="30145" y="11337"/>
                  </a:cubicBezTo>
                  <a:cubicBezTo>
                    <a:pt x="29939" y="11337"/>
                    <a:pt x="30145" y="11233"/>
                    <a:pt x="30025" y="11148"/>
                  </a:cubicBezTo>
                  <a:cubicBezTo>
                    <a:pt x="29904" y="11062"/>
                    <a:pt x="30025" y="10821"/>
                    <a:pt x="30334" y="10976"/>
                  </a:cubicBezTo>
                  <a:cubicBezTo>
                    <a:pt x="30179" y="10890"/>
                    <a:pt x="30111" y="10735"/>
                    <a:pt x="30334" y="10838"/>
                  </a:cubicBezTo>
                  <a:cubicBezTo>
                    <a:pt x="30557" y="10941"/>
                    <a:pt x="30162" y="10701"/>
                    <a:pt x="30334" y="10684"/>
                  </a:cubicBezTo>
                  <a:cubicBezTo>
                    <a:pt x="30042" y="10684"/>
                    <a:pt x="30334" y="10684"/>
                    <a:pt x="30334" y="10478"/>
                  </a:cubicBezTo>
                  <a:cubicBezTo>
                    <a:pt x="30523" y="10478"/>
                    <a:pt x="30488" y="10478"/>
                    <a:pt x="30506" y="10478"/>
                  </a:cubicBezTo>
                  <a:cubicBezTo>
                    <a:pt x="30918" y="10564"/>
                    <a:pt x="30214" y="10323"/>
                    <a:pt x="30506" y="10323"/>
                  </a:cubicBezTo>
                  <a:cubicBezTo>
                    <a:pt x="30506" y="10323"/>
                    <a:pt x="30506" y="10220"/>
                    <a:pt x="30506" y="10220"/>
                  </a:cubicBezTo>
                  <a:cubicBezTo>
                    <a:pt x="30506" y="10220"/>
                    <a:pt x="30506" y="9911"/>
                    <a:pt x="30609" y="10117"/>
                  </a:cubicBezTo>
                  <a:cubicBezTo>
                    <a:pt x="30712" y="10323"/>
                    <a:pt x="30609" y="10117"/>
                    <a:pt x="30609" y="10117"/>
                  </a:cubicBezTo>
                  <a:cubicBezTo>
                    <a:pt x="30385" y="9980"/>
                    <a:pt x="30609" y="10014"/>
                    <a:pt x="30609" y="10117"/>
                  </a:cubicBezTo>
                  <a:cubicBezTo>
                    <a:pt x="30609" y="10220"/>
                    <a:pt x="30609" y="9773"/>
                    <a:pt x="30609" y="10117"/>
                  </a:cubicBezTo>
                  <a:cubicBezTo>
                    <a:pt x="30609" y="9670"/>
                    <a:pt x="30609" y="10237"/>
                    <a:pt x="30798" y="10117"/>
                  </a:cubicBezTo>
                  <a:cubicBezTo>
                    <a:pt x="30609" y="9773"/>
                    <a:pt x="31021" y="10117"/>
                    <a:pt x="30798" y="9739"/>
                  </a:cubicBezTo>
                  <a:cubicBezTo>
                    <a:pt x="30901" y="9739"/>
                    <a:pt x="31038" y="9911"/>
                    <a:pt x="31124" y="9894"/>
                  </a:cubicBezTo>
                  <a:cubicBezTo>
                    <a:pt x="31210" y="9877"/>
                    <a:pt x="31124" y="9602"/>
                    <a:pt x="31124" y="9619"/>
                  </a:cubicBezTo>
                  <a:cubicBezTo>
                    <a:pt x="31124" y="9636"/>
                    <a:pt x="30969" y="9464"/>
                    <a:pt x="31124" y="9619"/>
                  </a:cubicBezTo>
                  <a:cubicBezTo>
                    <a:pt x="31279" y="9773"/>
                    <a:pt x="31124" y="9499"/>
                    <a:pt x="31124" y="9619"/>
                  </a:cubicBezTo>
                  <a:cubicBezTo>
                    <a:pt x="31244" y="9447"/>
                    <a:pt x="31279" y="10426"/>
                    <a:pt x="31261" y="9619"/>
                  </a:cubicBezTo>
                  <a:cubicBezTo>
                    <a:pt x="31536" y="10134"/>
                    <a:pt x="31261" y="9516"/>
                    <a:pt x="31450" y="9499"/>
                  </a:cubicBezTo>
                  <a:cubicBezTo>
                    <a:pt x="31639" y="9481"/>
                    <a:pt x="31450" y="9653"/>
                    <a:pt x="31553" y="9842"/>
                  </a:cubicBezTo>
                  <a:cubicBezTo>
                    <a:pt x="31656" y="10031"/>
                    <a:pt x="31639" y="9842"/>
                    <a:pt x="31674" y="9842"/>
                  </a:cubicBezTo>
                  <a:cubicBezTo>
                    <a:pt x="31502" y="9499"/>
                    <a:pt x="31863" y="9688"/>
                    <a:pt x="31845" y="9842"/>
                  </a:cubicBezTo>
                  <a:cubicBezTo>
                    <a:pt x="32172" y="9842"/>
                    <a:pt x="32051" y="10134"/>
                    <a:pt x="31742" y="10031"/>
                  </a:cubicBezTo>
                  <a:cubicBezTo>
                    <a:pt x="31845" y="10031"/>
                    <a:pt x="31948" y="10031"/>
                    <a:pt x="32000" y="10220"/>
                  </a:cubicBezTo>
                  <a:cubicBezTo>
                    <a:pt x="32051" y="10409"/>
                    <a:pt x="32120" y="10083"/>
                    <a:pt x="32275" y="10220"/>
                  </a:cubicBezTo>
                  <a:cubicBezTo>
                    <a:pt x="32275" y="10100"/>
                    <a:pt x="32275" y="10117"/>
                    <a:pt x="32275" y="10048"/>
                  </a:cubicBezTo>
                  <a:cubicBezTo>
                    <a:pt x="32275" y="9980"/>
                    <a:pt x="32653" y="10306"/>
                    <a:pt x="32378" y="10048"/>
                  </a:cubicBezTo>
                  <a:cubicBezTo>
                    <a:pt x="32378" y="10237"/>
                    <a:pt x="32567" y="10048"/>
                    <a:pt x="32584" y="10220"/>
                  </a:cubicBezTo>
                  <a:cubicBezTo>
                    <a:pt x="32601" y="10392"/>
                    <a:pt x="33220" y="10220"/>
                    <a:pt x="33683" y="10529"/>
                  </a:cubicBezTo>
                  <a:cubicBezTo>
                    <a:pt x="33563" y="10392"/>
                    <a:pt x="34044" y="10735"/>
                    <a:pt x="33804" y="10529"/>
                  </a:cubicBezTo>
                  <a:cubicBezTo>
                    <a:pt x="34697" y="10838"/>
                    <a:pt x="34611" y="11852"/>
                    <a:pt x="33597" y="11354"/>
                  </a:cubicBezTo>
                  <a:cubicBezTo>
                    <a:pt x="33477" y="11354"/>
                    <a:pt x="33477" y="11354"/>
                    <a:pt x="33426" y="11354"/>
                  </a:cubicBezTo>
                  <a:cubicBezTo>
                    <a:pt x="33374" y="11354"/>
                    <a:pt x="32910" y="11096"/>
                    <a:pt x="33065" y="11354"/>
                  </a:cubicBezTo>
                  <a:cubicBezTo>
                    <a:pt x="33220" y="11611"/>
                    <a:pt x="33460" y="11491"/>
                    <a:pt x="33357" y="11663"/>
                  </a:cubicBezTo>
                  <a:cubicBezTo>
                    <a:pt x="33632" y="11663"/>
                    <a:pt x="34834" y="13277"/>
                    <a:pt x="34576" y="12333"/>
                  </a:cubicBezTo>
                  <a:cubicBezTo>
                    <a:pt x="34388" y="12505"/>
                    <a:pt x="34113" y="12058"/>
                    <a:pt x="34250" y="12006"/>
                  </a:cubicBezTo>
                  <a:cubicBezTo>
                    <a:pt x="35693" y="12917"/>
                    <a:pt x="33975" y="11148"/>
                    <a:pt x="34972" y="11474"/>
                  </a:cubicBezTo>
                  <a:cubicBezTo>
                    <a:pt x="34972" y="11337"/>
                    <a:pt x="35092" y="11474"/>
                    <a:pt x="35143" y="11474"/>
                  </a:cubicBezTo>
                  <a:cubicBezTo>
                    <a:pt x="34895" y="11040"/>
                    <a:pt x="34569" y="10656"/>
                    <a:pt x="34181" y="10340"/>
                  </a:cubicBezTo>
                  <a:cubicBezTo>
                    <a:pt x="34491" y="10340"/>
                    <a:pt x="34972" y="10443"/>
                    <a:pt x="34800" y="10753"/>
                  </a:cubicBezTo>
                  <a:cubicBezTo>
                    <a:pt x="35195" y="11354"/>
                    <a:pt x="35349" y="10753"/>
                    <a:pt x="35143" y="10529"/>
                  </a:cubicBezTo>
                  <a:cubicBezTo>
                    <a:pt x="35315" y="10529"/>
                    <a:pt x="35143" y="9945"/>
                    <a:pt x="35401" y="10289"/>
                  </a:cubicBezTo>
                  <a:cubicBezTo>
                    <a:pt x="35401" y="10186"/>
                    <a:pt x="35178" y="9980"/>
                    <a:pt x="35401" y="10151"/>
                  </a:cubicBezTo>
                  <a:cubicBezTo>
                    <a:pt x="35229" y="9705"/>
                    <a:pt x="35521" y="10151"/>
                    <a:pt x="35727" y="10306"/>
                  </a:cubicBezTo>
                  <a:cubicBezTo>
                    <a:pt x="35727" y="10203"/>
                    <a:pt x="35727" y="10169"/>
                    <a:pt x="35727" y="10306"/>
                  </a:cubicBezTo>
                  <a:cubicBezTo>
                    <a:pt x="35504" y="10048"/>
                    <a:pt x="35882" y="10134"/>
                    <a:pt x="35830" y="9842"/>
                  </a:cubicBezTo>
                  <a:cubicBezTo>
                    <a:pt x="35951" y="9997"/>
                    <a:pt x="36311" y="10272"/>
                    <a:pt x="36019" y="9945"/>
                  </a:cubicBezTo>
                  <a:cubicBezTo>
                    <a:pt x="36191" y="9945"/>
                    <a:pt x="35916" y="9791"/>
                    <a:pt x="36122" y="9945"/>
                  </a:cubicBezTo>
                  <a:cubicBezTo>
                    <a:pt x="36035" y="9882"/>
                    <a:pt x="35943" y="9824"/>
                    <a:pt x="35848" y="9773"/>
                  </a:cubicBezTo>
                  <a:lnTo>
                    <a:pt x="35848" y="9773"/>
                  </a:lnTo>
                  <a:cubicBezTo>
                    <a:pt x="35057" y="9155"/>
                    <a:pt x="36586" y="9619"/>
                    <a:pt x="36981" y="9894"/>
                  </a:cubicBezTo>
                  <a:cubicBezTo>
                    <a:pt x="36792" y="9619"/>
                    <a:pt x="36517" y="9567"/>
                    <a:pt x="36260" y="9361"/>
                  </a:cubicBezTo>
                  <a:lnTo>
                    <a:pt x="36260" y="9361"/>
                  </a:lnTo>
                  <a:cubicBezTo>
                    <a:pt x="36260" y="9361"/>
                    <a:pt x="36260" y="9361"/>
                    <a:pt x="36140" y="9361"/>
                  </a:cubicBezTo>
                  <a:lnTo>
                    <a:pt x="36140" y="9361"/>
                  </a:lnTo>
                  <a:lnTo>
                    <a:pt x="35882" y="9155"/>
                  </a:lnTo>
                  <a:cubicBezTo>
                    <a:pt x="36019" y="9155"/>
                    <a:pt x="35624" y="8983"/>
                    <a:pt x="35727" y="8983"/>
                  </a:cubicBezTo>
                  <a:cubicBezTo>
                    <a:pt x="35504" y="8880"/>
                    <a:pt x="34353" y="7918"/>
                    <a:pt x="34594" y="7884"/>
                  </a:cubicBezTo>
                  <a:cubicBezTo>
                    <a:pt x="35435" y="8193"/>
                    <a:pt x="36311" y="9086"/>
                    <a:pt x="37136" y="9602"/>
                  </a:cubicBezTo>
                  <a:lnTo>
                    <a:pt x="37136" y="9602"/>
                  </a:lnTo>
                  <a:cubicBezTo>
                    <a:pt x="37389" y="9800"/>
                    <a:pt x="37614" y="10031"/>
                    <a:pt x="37806" y="10289"/>
                  </a:cubicBezTo>
                  <a:lnTo>
                    <a:pt x="37806" y="10289"/>
                  </a:lnTo>
                  <a:cubicBezTo>
                    <a:pt x="37995" y="10409"/>
                    <a:pt x="37977" y="10581"/>
                    <a:pt x="37806" y="10289"/>
                  </a:cubicBezTo>
                  <a:cubicBezTo>
                    <a:pt x="37806" y="10289"/>
                    <a:pt x="37479" y="10289"/>
                    <a:pt x="37703" y="10426"/>
                  </a:cubicBezTo>
                  <a:cubicBezTo>
                    <a:pt x="38939" y="10701"/>
                    <a:pt x="37256" y="9619"/>
                    <a:pt x="37101" y="9275"/>
                  </a:cubicBezTo>
                  <a:cubicBezTo>
                    <a:pt x="37101" y="9275"/>
                    <a:pt x="37101" y="9275"/>
                    <a:pt x="37101" y="9275"/>
                  </a:cubicBezTo>
                  <a:cubicBezTo>
                    <a:pt x="36284" y="8916"/>
                    <a:pt x="35525" y="8435"/>
                    <a:pt x="34851" y="7850"/>
                  </a:cubicBezTo>
                  <a:cubicBezTo>
                    <a:pt x="35229" y="8021"/>
                    <a:pt x="35573" y="8399"/>
                    <a:pt x="35933" y="8451"/>
                  </a:cubicBezTo>
                  <a:cubicBezTo>
                    <a:pt x="35796" y="8262"/>
                    <a:pt x="36208" y="8571"/>
                    <a:pt x="36105" y="8451"/>
                  </a:cubicBezTo>
                  <a:cubicBezTo>
                    <a:pt x="35827" y="8436"/>
                    <a:pt x="35564" y="8320"/>
                    <a:pt x="35367" y="8125"/>
                  </a:cubicBezTo>
                  <a:cubicBezTo>
                    <a:pt x="35727" y="8279"/>
                    <a:pt x="35367" y="8125"/>
                    <a:pt x="35367" y="8039"/>
                  </a:cubicBezTo>
                  <a:lnTo>
                    <a:pt x="35367" y="8039"/>
                  </a:lnTo>
                  <a:cubicBezTo>
                    <a:pt x="34886" y="7455"/>
                    <a:pt x="37084" y="8880"/>
                    <a:pt x="36363" y="8331"/>
                  </a:cubicBezTo>
                  <a:cubicBezTo>
                    <a:pt x="36637" y="8531"/>
                    <a:pt x="36938" y="8693"/>
                    <a:pt x="37256" y="8812"/>
                  </a:cubicBezTo>
                  <a:cubicBezTo>
                    <a:pt x="36947" y="8605"/>
                    <a:pt x="37256" y="8691"/>
                    <a:pt x="37428" y="8812"/>
                  </a:cubicBezTo>
                  <a:cubicBezTo>
                    <a:pt x="37325" y="8709"/>
                    <a:pt x="37033" y="8588"/>
                    <a:pt x="37101" y="8709"/>
                  </a:cubicBezTo>
                  <a:cubicBezTo>
                    <a:pt x="36569" y="8468"/>
                    <a:pt x="36019" y="8056"/>
                    <a:pt x="35384" y="7798"/>
                  </a:cubicBezTo>
                  <a:cubicBezTo>
                    <a:pt x="35212" y="7798"/>
                    <a:pt x="34405" y="7403"/>
                    <a:pt x="34525" y="7231"/>
                  </a:cubicBezTo>
                  <a:cubicBezTo>
                    <a:pt x="34284" y="6922"/>
                    <a:pt x="34697" y="7334"/>
                    <a:pt x="34851" y="7317"/>
                  </a:cubicBezTo>
                  <a:cubicBezTo>
                    <a:pt x="34628" y="7317"/>
                    <a:pt x="34491" y="7042"/>
                    <a:pt x="34267" y="7008"/>
                  </a:cubicBezTo>
                  <a:cubicBezTo>
                    <a:pt x="34044" y="6974"/>
                    <a:pt x="34061" y="7008"/>
                    <a:pt x="34027" y="6922"/>
                  </a:cubicBezTo>
                  <a:cubicBezTo>
                    <a:pt x="33992" y="6836"/>
                    <a:pt x="34130" y="6922"/>
                    <a:pt x="34027" y="6922"/>
                  </a:cubicBezTo>
                  <a:cubicBezTo>
                    <a:pt x="33924" y="6922"/>
                    <a:pt x="33838" y="6836"/>
                    <a:pt x="33872" y="6922"/>
                  </a:cubicBezTo>
                  <a:cubicBezTo>
                    <a:pt x="33907" y="7008"/>
                    <a:pt x="33683" y="6802"/>
                    <a:pt x="33872" y="6922"/>
                  </a:cubicBezTo>
                  <a:lnTo>
                    <a:pt x="33615" y="6768"/>
                  </a:lnTo>
                  <a:cubicBezTo>
                    <a:pt x="33615" y="6768"/>
                    <a:pt x="33615" y="6768"/>
                    <a:pt x="33615" y="6768"/>
                  </a:cubicBezTo>
                  <a:lnTo>
                    <a:pt x="33168" y="6458"/>
                  </a:lnTo>
                  <a:lnTo>
                    <a:pt x="33168" y="6458"/>
                  </a:lnTo>
                  <a:cubicBezTo>
                    <a:pt x="33086" y="6395"/>
                    <a:pt x="33000" y="6338"/>
                    <a:pt x="32910" y="6287"/>
                  </a:cubicBezTo>
                  <a:lnTo>
                    <a:pt x="32910" y="6287"/>
                  </a:lnTo>
                  <a:lnTo>
                    <a:pt x="32910" y="6287"/>
                  </a:lnTo>
                  <a:lnTo>
                    <a:pt x="32910" y="6287"/>
                  </a:lnTo>
                  <a:lnTo>
                    <a:pt x="32687" y="6184"/>
                  </a:lnTo>
                  <a:lnTo>
                    <a:pt x="32687" y="6184"/>
                  </a:lnTo>
                  <a:cubicBezTo>
                    <a:pt x="32687" y="6184"/>
                    <a:pt x="32515" y="6184"/>
                    <a:pt x="32687" y="6184"/>
                  </a:cubicBezTo>
                  <a:lnTo>
                    <a:pt x="32687" y="6184"/>
                  </a:lnTo>
                  <a:lnTo>
                    <a:pt x="32687" y="6184"/>
                  </a:lnTo>
                  <a:lnTo>
                    <a:pt x="32962" y="6287"/>
                  </a:lnTo>
                  <a:lnTo>
                    <a:pt x="32739" y="6184"/>
                  </a:lnTo>
                  <a:lnTo>
                    <a:pt x="32893" y="6184"/>
                  </a:lnTo>
                  <a:lnTo>
                    <a:pt x="32807" y="6184"/>
                  </a:lnTo>
                  <a:cubicBezTo>
                    <a:pt x="32762" y="6174"/>
                    <a:pt x="32715" y="6174"/>
                    <a:pt x="32670" y="6184"/>
                  </a:cubicBezTo>
                  <a:lnTo>
                    <a:pt x="32670" y="6184"/>
                  </a:lnTo>
                  <a:cubicBezTo>
                    <a:pt x="32625" y="6193"/>
                    <a:pt x="32578" y="6193"/>
                    <a:pt x="32532" y="6184"/>
                  </a:cubicBezTo>
                  <a:lnTo>
                    <a:pt x="32876" y="6304"/>
                  </a:lnTo>
                  <a:cubicBezTo>
                    <a:pt x="32750" y="6242"/>
                    <a:pt x="32618" y="6196"/>
                    <a:pt x="32481" y="6166"/>
                  </a:cubicBezTo>
                  <a:lnTo>
                    <a:pt x="32481" y="6166"/>
                  </a:lnTo>
                  <a:cubicBezTo>
                    <a:pt x="32481" y="6166"/>
                    <a:pt x="32292" y="6166"/>
                    <a:pt x="32343" y="6166"/>
                  </a:cubicBezTo>
                  <a:cubicBezTo>
                    <a:pt x="32395" y="6166"/>
                    <a:pt x="32343" y="6166"/>
                    <a:pt x="32343" y="6166"/>
                  </a:cubicBezTo>
                  <a:lnTo>
                    <a:pt x="32343" y="6166"/>
                  </a:lnTo>
                  <a:lnTo>
                    <a:pt x="32206" y="6166"/>
                  </a:lnTo>
                  <a:lnTo>
                    <a:pt x="32206" y="6166"/>
                  </a:lnTo>
                  <a:lnTo>
                    <a:pt x="31742" y="6029"/>
                  </a:lnTo>
                  <a:lnTo>
                    <a:pt x="31742" y="6029"/>
                  </a:lnTo>
                  <a:cubicBezTo>
                    <a:pt x="31571" y="6029"/>
                    <a:pt x="30763" y="5720"/>
                    <a:pt x="30952" y="5754"/>
                  </a:cubicBezTo>
                  <a:lnTo>
                    <a:pt x="30952" y="5754"/>
                  </a:lnTo>
                  <a:lnTo>
                    <a:pt x="31055" y="5754"/>
                  </a:lnTo>
                  <a:lnTo>
                    <a:pt x="31055" y="5754"/>
                  </a:lnTo>
                  <a:cubicBezTo>
                    <a:pt x="31244" y="5754"/>
                    <a:pt x="31416" y="5857"/>
                    <a:pt x="31605" y="5909"/>
                  </a:cubicBezTo>
                  <a:lnTo>
                    <a:pt x="31416" y="5909"/>
                  </a:lnTo>
                  <a:lnTo>
                    <a:pt x="31588" y="5909"/>
                  </a:lnTo>
                  <a:lnTo>
                    <a:pt x="31485" y="5909"/>
                  </a:lnTo>
                  <a:cubicBezTo>
                    <a:pt x="31588" y="5909"/>
                    <a:pt x="31364" y="5909"/>
                    <a:pt x="31485" y="5909"/>
                  </a:cubicBezTo>
                  <a:lnTo>
                    <a:pt x="31485" y="5909"/>
                  </a:lnTo>
                  <a:cubicBezTo>
                    <a:pt x="31794" y="5995"/>
                    <a:pt x="32481" y="6201"/>
                    <a:pt x="31811" y="5909"/>
                  </a:cubicBezTo>
                  <a:lnTo>
                    <a:pt x="31811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2292" y="6046"/>
                  </a:lnTo>
                  <a:lnTo>
                    <a:pt x="32051" y="6046"/>
                  </a:lnTo>
                  <a:lnTo>
                    <a:pt x="32378" y="6046"/>
                  </a:lnTo>
                  <a:lnTo>
                    <a:pt x="32635" y="6046"/>
                  </a:lnTo>
                  <a:lnTo>
                    <a:pt x="32635" y="6046"/>
                  </a:lnTo>
                  <a:cubicBezTo>
                    <a:pt x="32412" y="6046"/>
                    <a:pt x="32635" y="6046"/>
                    <a:pt x="32773" y="6046"/>
                  </a:cubicBezTo>
                  <a:lnTo>
                    <a:pt x="32773" y="6046"/>
                  </a:lnTo>
                  <a:lnTo>
                    <a:pt x="32773" y="6046"/>
                  </a:lnTo>
                  <a:cubicBezTo>
                    <a:pt x="33198" y="6156"/>
                    <a:pt x="33612" y="6306"/>
                    <a:pt x="34010" y="6493"/>
                  </a:cubicBezTo>
                  <a:cubicBezTo>
                    <a:pt x="34010" y="6493"/>
                    <a:pt x="34010" y="6493"/>
                    <a:pt x="34010" y="6493"/>
                  </a:cubicBezTo>
                  <a:cubicBezTo>
                    <a:pt x="34010" y="6493"/>
                    <a:pt x="34456" y="6665"/>
                    <a:pt x="34645" y="6768"/>
                  </a:cubicBezTo>
                  <a:lnTo>
                    <a:pt x="34645" y="6768"/>
                  </a:lnTo>
                  <a:lnTo>
                    <a:pt x="35470" y="7163"/>
                  </a:lnTo>
                  <a:cubicBezTo>
                    <a:pt x="35212" y="7025"/>
                    <a:pt x="34954" y="6871"/>
                    <a:pt x="34662" y="6733"/>
                  </a:cubicBezTo>
                  <a:lnTo>
                    <a:pt x="34662" y="6733"/>
                  </a:lnTo>
                  <a:lnTo>
                    <a:pt x="34353" y="6596"/>
                  </a:lnTo>
                  <a:lnTo>
                    <a:pt x="34491" y="6596"/>
                  </a:lnTo>
                  <a:cubicBezTo>
                    <a:pt x="34491" y="6596"/>
                    <a:pt x="34044" y="6441"/>
                    <a:pt x="34250" y="6493"/>
                  </a:cubicBezTo>
                  <a:lnTo>
                    <a:pt x="34113" y="6493"/>
                  </a:lnTo>
                  <a:lnTo>
                    <a:pt x="34422" y="6596"/>
                  </a:lnTo>
                  <a:cubicBezTo>
                    <a:pt x="34327" y="6538"/>
                    <a:pt x="34222" y="6497"/>
                    <a:pt x="34113" y="6476"/>
                  </a:cubicBezTo>
                  <a:cubicBezTo>
                    <a:pt x="34287" y="6517"/>
                    <a:pt x="34459" y="6568"/>
                    <a:pt x="34628" y="6630"/>
                  </a:cubicBezTo>
                  <a:lnTo>
                    <a:pt x="34473" y="6630"/>
                  </a:lnTo>
                  <a:lnTo>
                    <a:pt x="34473" y="6630"/>
                  </a:lnTo>
                  <a:lnTo>
                    <a:pt x="33700" y="4827"/>
                  </a:lnTo>
                  <a:cubicBezTo>
                    <a:pt x="42679" y="7791"/>
                    <a:pt x="48892" y="15993"/>
                    <a:pt x="49314" y="25438"/>
                  </a:cubicBezTo>
                  <a:cubicBezTo>
                    <a:pt x="49301" y="25780"/>
                    <a:pt x="49255" y="26119"/>
                    <a:pt x="49177" y="26452"/>
                  </a:cubicBezTo>
                  <a:cubicBezTo>
                    <a:pt x="49245" y="26349"/>
                    <a:pt x="49159" y="26538"/>
                    <a:pt x="49159" y="26589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5" name="Google Shape;75;p48"/>
            <p:cNvSpPr/>
            <p:nvPr/>
          </p:nvSpPr>
          <p:spPr>
            <a:xfrm rot="-5400000">
              <a:off x="12026199" y="6563439"/>
              <a:ext cx="13277" cy="68070"/>
            </a:xfrm>
            <a:custGeom>
              <a:avLst/>
              <a:gdLst/>
              <a:ahLst/>
              <a:cxnLst/>
              <a:rect l="l" t="t" r="r" b="b"/>
              <a:pathLst>
                <a:path w="13277" h="68070" extrusionOk="0">
                  <a:moveTo>
                    <a:pt x="13277" y="12024"/>
                  </a:moveTo>
                  <a:lnTo>
                    <a:pt x="0" y="12024"/>
                  </a:lnTo>
                  <a:lnTo>
                    <a:pt x="0" y="0"/>
                  </a:lnTo>
                  <a:lnTo>
                    <a:pt x="13277" y="0"/>
                  </a:lnTo>
                  <a:close/>
                  <a:moveTo>
                    <a:pt x="0" y="17984"/>
                  </a:moveTo>
                  <a:lnTo>
                    <a:pt x="13277" y="17984"/>
                  </a:lnTo>
                  <a:lnTo>
                    <a:pt x="13277" y="68070"/>
                  </a:lnTo>
                  <a:lnTo>
                    <a:pt x="0" y="6807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6" name="Google Shape;76;p48"/>
            <p:cNvSpPr/>
            <p:nvPr/>
          </p:nvSpPr>
          <p:spPr>
            <a:xfrm rot="-5400000">
              <a:off x="12018640" y="6529825"/>
              <a:ext cx="45208" cy="51256"/>
            </a:xfrm>
            <a:custGeom>
              <a:avLst/>
              <a:gdLst/>
              <a:ahLst/>
              <a:cxnLst/>
              <a:rect l="l" t="t" r="r" b="b"/>
              <a:pathLst>
                <a:path w="45208" h="51256" extrusionOk="0">
                  <a:moveTo>
                    <a:pt x="40279" y="4038"/>
                  </a:moveTo>
                  <a:cubicBezTo>
                    <a:pt x="43565" y="6752"/>
                    <a:pt x="45209" y="11246"/>
                    <a:pt x="45209" y="17521"/>
                  </a:cubicBezTo>
                  <a:lnTo>
                    <a:pt x="45209" y="51256"/>
                  </a:lnTo>
                  <a:lnTo>
                    <a:pt x="31794" y="51256"/>
                  </a:lnTo>
                  <a:lnTo>
                    <a:pt x="31794" y="20785"/>
                  </a:lnTo>
                  <a:cubicBezTo>
                    <a:pt x="31892" y="18712"/>
                    <a:pt x="31535" y="16642"/>
                    <a:pt x="30746" y="14722"/>
                  </a:cubicBezTo>
                  <a:cubicBezTo>
                    <a:pt x="29458" y="12162"/>
                    <a:pt x="27036" y="10874"/>
                    <a:pt x="23446" y="10874"/>
                  </a:cubicBezTo>
                  <a:cubicBezTo>
                    <a:pt x="19509" y="10574"/>
                    <a:pt x="15832" y="12861"/>
                    <a:pt x="14360" y="16525"/>
                  </a:cubicBezTo>
                  <a:cubicBezTo>
                    <a:pt x="13437" y="18959"/>
                    <a:pt x="13005" y="21550"/>
                    <a:pt x="13089" y="24152"/>
                  </a:cubicBezTo>
                  <a:lnTo>
                    <a:pt x="13089" y="51256"/>
                  </a:lnTo>
                  <a:lnTo>
                    <a:pt x="0" y="51256"/>
                  </a:lnTo>
                  <a:lnTo>
                    <a:pt x="0" y="1272"/>
                  </a:lnTo>
                  <a:lnTo>
                    <a:pt x="12676" y="1272"/>
                  </a:lnTo>
                  <a:lnTo>
                    <a:pt x="12676" y="8607"/>
                  </a:lnTo>
                  <a:cubicBezTo>
                    <a:pt x="13939" y="6498"/>
                    <a:pt x="15548" y="4617"/>
                    <a:pt x="17434" y="3042"/>
                  </a:cubicBezTo>
                  <a:cubicBezTo>
                    <a:pt x="20409" y="938"/>
                    <a:pt x="23996" y="-125"/>
                    <a:pt x="27637" y="19"/>
                  </a:cubicBezTo>
                  <a:cubicBezTo>
                    <a:pt x="32194" y="-181"/>
                    <a:pt x="36674" y="1243"/>
                    <a:pt x="40279" y="403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7" name="Google Shape;77;p48"/>
            <p:cNvSpPr/>
            <p:nvPr/>
          </p:nvSpPr>
          <p:spPr>
            <a:xfrm rot="-5400000">
              <a:off x="12018195" y="6477145"/>
              <a:ext cx="28942" cy="68414"/>
            </a:xfrm>
            <a:custGeom>
              <a:avLst/>
              <a:gdLst/>
              <a:ahLst/>
              <a:cxnLst/>
              <a:rect l="l" t="t" r="r" b="b"/>
              <a:pathLst>
                <a:path w="28942" h="68414" extrusionOk="0">
                  <a:moveTo>
                    <a:pt x="25868" y="0"/>
                  </a:moveTo>
                  <a:lnTo>
                    <a:pt x="28616" y="206"/>
                  </a:lnTo>
                  <a:lnTo>
                    <a:pt x="28616" y="10941"/>
                  </a:lnTo>
                  <a:cubicBezTo>
                    <a:pt x="27390" y="10808"/>
                    <a:pt x="26157" y="10739"/>
                    <a:pt x="24923" y="10735"/>
                  </a:cubicBezTo>
                  <a:cubicBezTo>
                    <a:pt x="23616" y="10538"/>
                    <a:pt x="22290" y="10956"/>
                    <a:pt x="21333" y="11869"/>
                  </a:cubicBezTo>
                  <a:cubicBezTo>
                    <a:pt x="20704" y="12627"/>
                    <a:pt x="20358" y="13580"/>
                    <a:pt x="20354" y="14566"/>
                  </a:cubicBezTo>
                  <a:lnTo>
                    <a:pt x="20354" y="18791"/>
                  </a:lnTo>
                  <a:lnTo>
                    <a:pt x="28943" y="18791"/>
                  </a:lnTo>
                  <a:lnTo>
                    <a:pt x="28943" y="28032"/>
                  </a:lnTo>
                  <a:lnTo>
                    <a:pt x="20354" y="28032"/>
                  </a:lnTo>
                  <a:lnTo>
                    <a:pt x="20354" y="68414"/>
                  </a:lnTo>
                  <a:lnTo>
                    <a:pt x="7352" y="68414"/>
                  </a:lnTo>
                  <a:lnTo>
                    <a:pt x="7352" y="28032"/>
                  </a:lnTo>
                  <a:lnTo>
                    <a:pt x="0" y="28032"/>
                  </a:lnTo>
                  <a:lnTo>
                    <a:pt x="0" y="18791"/>
                  </a:lnTo>
                  <a:lnTo>
                    <a:pt x="7163" y="18791"/>
                  </a:lnTo>
                  <a:lnTo>
                    <a:pt x="7163" y="15579"/>
                  </a:lnTo>
                  <a:cubicBezTo>
                    <a:pt x="7163" y="10220"/>
                    <a:pt x="8067" y="6527"/>
                    <a:pt x="9877" y="4500"/>
                  </a:cubicBezTo>
                  <a:cubicBezTo>
                    <a:pt x="11783" y="1494"/>
                    <a:pt x="16352" y="0"/>
                    <a:pt x="23618" y="0"/>
                  </a:cubicBezTo>
                  <a:cubicBezTo>
                    <a:pt x="24442" y="0"/>
                    <a:pt x="25198" y="0"/>
                    <a:pt x="25868" y="0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8" name="Google Shape;78;p48"/>
            <p:cNvSpPr/>
            <p:nvPr/>
          </p:nvSpPr>
          <p:spPr>
            <a:xfrm rot="-5400000">
              <a:off x="12016830" y="6161182"/>
              <a:ext cx="49036" cy="51048"/>
            </a:xfrm>
            <a:custGeom>
              <a:avLst/>
              <a:gdLst/>
              <a:ahLst/>
              <a:cxnLst/>
              <a:rect l="l" t="t" r="r" b="b"/>
              <a:pathLst>
                <a:path w="49036" h="51048" extrusionOk="0">
                  <a:moveTo>
                    <a:pt x="42949" y="43542"/>
                  </a:moveTo>
                  <a:cubicBezTo>
                    <a:pt x="38907" y="48535"/>
                    <a:pt x="32763" y="51037"/>
                    <a:pt x="24519" y="51049"/>
                  </a:cubicBezTo>
                  <a:cubicBezTo>
                    <a:pt x="16274" y="51060"/>
                    <a:pt x="10125" y="48558"/>
                    <a:pt x="6071" y="43542"/>
                  </a:cubicBezTo>
                  <a:cubicBezTo>
                    <a:pt x="2000" y="38452"/>
                    <a:pt x="-145" y="32091"/>
                    <a:pt x="8" y="25576"/>
                  </a:cubicBezTo>
                  <a:cubicBezTo>
                    <a:pt x="-130" y="19058"/>
                    <a:pt x="2016" y="12697"/>
                    <a:pt x="6071" y="7592"/>
                  </a:cubicBezTo>
                  <a:cubicBezTo>
                    <a:pt x="10125" y="2519"/>
                    <a:pt x="16274" y="-11"/>
                    <a:pt x="24519" y="0"/>
                  </a:cubicBezTo>
                  <a:cubicBezTo>
                    <a:pt x="32763" y="12"/>
                    <a:pt x="38907" y="2542"/>
                    <a:pt x="42949" y="7592"/>
                  </a:cubicBezTo>
                  <a:cubicBezTo>
                    <a:pt x="47010" y="12695"/>
                    <a:pt x="49160" y="19056"/>
                    <a:pt x="49030" y="25576"/>
                  </a:cubicBezTo>
                  <a:cubicBezTo>
                    <a:pt x="49177" y="32093"/>
                    <a:pt x="47023" y="38454"/>
                    <a:pt x="42949" y="43542"/>
                  </a:cubicBezTo>
                  <a:close/>
                  <a:moveTo>
                    <a:pt x="32918" y="36672"/>
                  </a:moveTo>
                  <a:cubicBezTo>
                    <a:pt x="35077" y="33390"/>
                    <a:pt x="36115" y="29497"/>
                    <a:pt x="35872" y="25576"/>
                  </a:cubicBezTo>
                  <a:cubicBezTo>
                    <a:pt x="36123" y="21654"/>
                    <a:pt x="35086" y="17758"/>
                    <a:pt x="32918" y="14480"/>
                  </a:cubicBezTo>
                  <a:cubicBezTo>
                    <a:pt x="28893" y="9808"/>
                    <a:pt x="21844" y="9283"/>
                    <a:pt x="17172" y="13307"/>
                  </a:cubicBezTo>
                  <a:cubicBezTo>
                    <a:pt x="16753" y="13668"/>
                    <a:pt x="16360" y="14060"/>
                    <a:pt x="15999" y="14480"/>
                  </a:cubicBezTo>
                  <a:cubicBezTo>
                    <a:pt x="13826" y="17756"/>
                    <a:pt x="12782" y="21652"/>
                    <a:pt x="13027" y="25576"/>
                  </a:cubicBezTo>
                  <a:cubicBezTo>
                    <a:pt x="12782" y="29510"/>
                    <a:pt x="13824" y="33418"/>
                    <a:pt x="15999" y="36706"/>
                  </a:cubicBezTo>
                  <a:cubicBezTo>
                    <a:pt x="19994" y="41378"/>
                    <a:pt x="27020" y="41927"/>
                    <a:pt x="31692" y="37932"/>
                  </a:cubicBezTo>
                  <a:cubicBezTo>
                    <a:pt x="32131" y="37556"/>
                    <a:pt x="32542" y="37146"/>
                    <a:pt x="32918" y="36706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9" name="Google Shape;79;p48"/>
            <p:cNvSpPr/>
            <p:nvPr/>
          </p:nvSpPr>
          <p:spPr>
            <a:xfrm rot="-5400000">
              <a:off x="12005374" y="6370523"/>
              <a:ext cx="71791" cy="51205"/>
            </a:xfrm>
            <a:custGeom>
              <a:avLst/>
              <a:gdLst/>
              <a:ahLst/>
              <a:cxnLst/>
              <a:rect l="l" t="t" r="r" b="b"/>
              <a:pathLst>
                <a:path w="71791" h="51205" extrusionOk="0">
                  <a:moveTo>
                    <a:pt x="62643" y="1307"/>
                  </a:moveTo>
                  <a:cubicBezTo>
                    <a:pt x="64938" y="2282"/>
                    <a:pt x="66944" y="3832"/>
                    <a:pt x="68466" y="5808"/>
                  </a:cubicBezTo>
                  <a:cubicBezTo>
                    <a:pt x="69936" y="7685"/>
                    <a:pt x="70917" y="9898"/>
                    <a:pt x="71317" y="12249"/>
                  </a:cubicBezTo>
                  <a:cubicBezTo>
                    <a:pt x="71680" y="14693"/>
                    <a:pt x="71834" y="17164"/>
                    <a:pt x="71781" y="19635"/>
                  </a:cubicBezTo>
                  <a:lnTo>
                    <a:pt x="71781" y="51205"/>
                  </a:lnTo>
                  <a:lnTo>
                    <a:pt x="58349" y="51205"/>
                  </a:lnTo>
                  <a:lnTo>
                    <a:pt x="58349" y="19308"/>
                  </a:lnTo>
                  <a:cubicBezTo>
                    <a:pt x="58414" y="17701"/>
                    <a:pt x="58101" y="16101"/>
                    <a:pt x="57438" y="14636"/>
                  </a:cubicBezTo>
                  <a:cubicBezTo>
                    <a:pt x="56188" y="12289"/>
                    <a:pt x="53642" y="10931"/>
                    <a:pt x="50997" y="11201"/>
                  </a:cubicBezTo>
                  <a:cubicBezTo>
                    <a:pt x="47802" y="10957"/>
                    <a:pt x="44803" y="12763"/>
                    <a:pt x="43525" y="15701"/>
                  </a:cubicBezTo>
                  <a:cubicBezTo>
                    <a:pt x="42766" y="17522"/>
                    <a:pt x="42404" y="19483"/>
                    <a:pt x="42460" y="21455"/>
                  </a:cubicBezTo>
                  <a:lnTo>
                    <a:pt x="42460" y="51205"/>
                  </a:lnTo>
                  <a:lnTo>
                    <a:pt x="29269" y="51205"/>
                  </a:lnTo>
                  <a:lnTo>
                    <a:pt x="29269" y="21387"/>
                  </a:lnTo>
                  <a:cubicBezTo>
                    <a:pt x="29389" y="19189"/>
                    <a:pt x="29080" y="16990"/>
                    <a:pt x="28359" y="14911"/>
                  </a:cubicBezTo>
                  <a:cubicBezTo>
                    <a:pt x="27192" y="12446"/>
                    <a:pt x="24595" y="10986"/>
                    <a:pt x="21883" y="11270"/>
                  </a:cubicBezTo>
                  <a:cubicBezTo>
                    <a:pt x="18138" y="11270"/>
                    <a:pt x="15626" y="12484"/>
                    <a:pt x="14342" y="14911"/>
                  </a:cubicBezTo>
                  <a:cubicBezTo>
                    <a:pt x="13527" y="16854"/>
                    <a:pt x="13162" y="18956"/>
                    <a:pt x="13277" y="21060"/>
                  </a:cubicBezTo>
                  <a:lnTo>
                    <a:pt x="13277" y="51205"/>
                  </a:lnTo>
                  <a:lnTo>
                    <a:pt x="0" y="51205"/>
                  </a:lnTo>
                  <a:lnTo>
                    <a:pt x="0" y="1221"/>
                  </a:lnTo>
                  <a:lnTo>
                    <a:pt x="12728" y="1221"/>
                  </a:lnTo>
                  <a:lnTo>
                    <a:pt x="12728" y="8556"/>
                  </a:lnTo>
                  <a:cubicBezTo>
                    <a:pt x="13930" y="6449"/>
                    <a:pt x="15488" y="4567"/>
                    <a:pt x="17331" y="2991"/>
                  </a:cubicBezTo>
                  <a:cubicBezTo>
                    <a:pt x="23120" y="-769"/>
                    <a:pt x="30538" y="-929"/>
                    <a:pt x="36483" y="2578"/>
                  </a:cubicBezTo>
                  <a:cubicBezTo>
                    <a:pt x="38381" y="4179"/>
                    <a:pt x="39841" y="6236"/>
                    <a:pt x="40726" y="8556"/>
                  </a:cubicBezTo>
                  <a:cubicBezTo>
                    <a:pt x="42206" y="5843"/>
                    <a:pt x="44413" y="3595"/>
                    <a:pt x="47098" y="2063"/>
                  </a:cubicBezTo>
                  <a:cubicBezTo>
                    <a:pt x="49896" y="665"/>
                    <a:pt x="52988" y="-42"/>
                    <a:pt x="56116" y="2"/>
                  </a:cubicBezTo>
                  <a:cubicBezTo>
                    <a:pt x="58356" y="15"/>
                    <a:pt x="60571" y="458"/>
                    <a:pt x="62643" y="1307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0" name="Google Shape;80;p48"/>
            <p:cNvSpPr/>
            <p:nvPr/>
          </p:nvSpPr>
          <p:spPr>
            <a:xfrm rot="-5400000">
              <a:off x="12026199" y="6307354"/>
              <a:ext cx="13277" cy="68070"/>
            </a:xfrm>
            <a:custGeom>
              <a:avLst/>
              <a:gdLst/>
              <a:ahLst/>
              <a:cxnLst/>
              <a:rect l="l" t="t" r="r" b="b"/>
              <a:pathLst>
                <a:path w="13277" h="68070" extrusionOk="0">
                  <a:moveTo>
                    <a:pt x="13278" y="12024"/>
                  </a:moveTo>
                  <a:lnTo>
                    <a:pt x="0" y="12024"/>
                  </a:lnTo>
                  <a:lnTo>
                    <a:pt x="0" y="0"/>
                  </a:lnTo>
                  <a:lnTo>
                    <a:pt x="13278" y="0"/>
                  </a:lnTo>
                  <a:close/>
                  <a:moveTo>
                    <a:pt x="0" y="17984"/>
                  </a:moveTo>
                  <a:lnTo>
                    <a:pt x="13278" y="17984"/>
                  </a:lnTo>
                  <a:lnTo>
                    <a:pt x="13278" y="68070"/>
                  </a:lnTo>
                  <a:lnTo>
                    <a:pt x="0" y="6807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1" name="Google Shape;81;p48"/>
            <p:cNvSpPr/>
            <p:nvPr/>
          </p:nvSpPr>
          <p:spPr>
            <a:xfrm rot="-5400000">
              <a:off x="12018641" y="6273739"/>
              <a:ext cx="45208" cy="51255"/>
            </a:xfrm>
            <a:custGeom>
              <a:avLst/>
              <a:gdLst/>
              <a:ahLst/>
              <a:cxnLst/>
              <a:rect l="l" t="t" r="r" b="b"/>
              <a:pathLst>
                <a:path w="45208" h="51255" extrusionOk="0">
                  <a:moveTo>
                    <a:pt x="40296" y="4038"/>
                  </a:moveTo>
                  <a:cubicBezTo>
                    <a:pt x="43560" y="6752"/>
                    <a:pt x="45209" y="11252"/>
                    <a:pt x="45209" y="17521"/>
                  </a:cubicBezTo>
                  <a:lnTo>
                    <a:pt x="45209" y="51256"/>
                  </a:lnTo>
                  <a:lnTo>
                    <a:pt x="31794" y="51256"/>
                  </a:lnTo>
                  <a:lnTo>
                    <a:pt x="31794" y="20785"/>
                  </a:lnTo>
                  <a:cubicBezTo>
                    <a:pt x="31900" y="18711"/>
                    <a:pt x="31543" y="16639"/>
                    <a:pt x="30746" y="14722"/>
                  </a:cubicBezTo>
                  <a:cubicBezTo>
                    <a:pt x="29458" y="12162"/>
                    <a:pt x="27036" y="10874"/>
                    <a:pt x="23446" y="10874"/>
                  </a:cubicBezTo>
                  <a:cubicBezTo>
                    <a:pt x="19511" y="10565"/>
                    <a:pt x="15833" y="12857"/>
                    <a:pt x="14377" y="16525"/>
                  </a:cubicBezTo>
                  <a:cubicBezTo>
                    <a:pt x="13439" y="18955"/>
                    <a:pt x="13001" y="21549"/>
                    <a:pt x="13089" y="24151"/>
                  </a:cubicBezTo>
                  <a:lnTo>
                    <a:pt x="13089" y="51256"/>
                  </a:lnTo>
                  <a:lnTo>
                    <a:pt x="0" y="51256"/>
                  </a:lnTo>
                  <a:lnTo>
                    <a:pt x="0" y="1272"/>
                  </a:lnTo>
                  <a:lnTo>
                    <a:pt x="12676" y="1272"/>
                  </a:lnTo>
                  <a:lnTo>
                    <a:pt x="12676" y="8607"/>
                  </a:lnTo>
                  <a:cubicBezTo>
                    <a:pt x="13946" y="6502"/>
                    <a:pt x="15553" y="4622"/>
                    <a:pt x="17434" y="3042"/>
                  </a:cubicBezTo>
                  <a:cubicBezTo>
                    <a:pt x="20409" y="938"/>
                    <a:pt x="23996" y="-125"/>
                    <a:pt x="27637" y="18"/>
                  </a:cubicBezTo>
                  <a:cubicBezTo>
                    <a:pt x="32199" y="-181"/>
                    <a:pt x="36684" y="1243"/>
                    <a:pt x="40296" y="403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2" name="Google Shape;82;p48"/>
            <p:cNvSpPr/>
            <p:nvPr/>
          </p:nvSpPr>
          <p:spPr>
            <a:xfrm rot="-5400000">
              <a:off x="12017163" y="6218687"/>
              <a:ext cx="48082" cy="51510"/>
            </a:xfrm>
            <a:custGeom>
              <a:avLst/>
              <a:gdLst/>
              <a:ahLst/>
              <a:cxnLst/>
              <a:rect l="l" t="t" r="r" b="b"/>
              <a:pathLst>
                <a:path w="48082" h="51510" extrusionOk="0">
                  <a:moveTo>
                    <a:pt x="35384" y="2281"/>
                  </a:moveTo>
                  <a:cubicBezTo>
                    <a:pt x="38804" y="3821"/>
                    <a:pt x="41712" y="6306"/>
                    <a:pt x="43766" y="9444"/>
                  </a:cubicBezTo>
                  <a:cubicBezTo>
                    <a:pt x="45803" y="12448"/>
                    <a:pt x="47126" y="15880"/>
                    <a:pt x="47631" y="19475"/>
                  </a:cubicBezTo>
                  <a:cubicBezTo>
                    <a:pt x="48021" y="22665"/>
                    <a:pt x="48160" y="25881"/>
                    <a:pt x="48043" y="29094"/>
                  </a:cubicBezTo>
                  <a:lnTo>
                    <a:pt x="12711" y="29094"/>
                  </a:lnTo>
                  <a:cubicBezTo>
                    <a:pt x="12900" y="33955"/>
                    <a:pt x="14600" y="37373"/>
                    <a:pt x="17778" y="39400"/>
                  </a:cubicBezTo>
                  <a:cubicBezTo>
                    <a:pt x="19884" y="40669"/>
                    <a:pt x="22311" y="41306"/>
                    <a:pt x="24769" y="41237"/>
                  </a:cubicBezTo>
                  <a:cubicBezTo>
                    <a:pt x="27307" y="41354"/>
                    <a:pt x="29803" y="40563"/>
                    <a:pt x="31811" y="39004"/>
                  </a:cubicBezTo>
                  <a:cubicBezTo>
                    <a:pt x="32891" y="38080"/>
                    <a:pt x="33774" y="36947"/>
                    <a:pt x="34405" y="35672"/>
                  </a:cubicBezTo>
                  <a:lnTo>
                    <a:pt x="47407" y="35672"/>
                  </a:lnTo>
                  <a:cubicBezTo>
                    <a:pt x="46818" y="39021"/>
                    <a:pt x="45169" y="42092"/>
                    <a:pt x="42701" y="44432"/>
                  </a:cubicBezTo>
                  <a:cubicBezTo>
                    <a:pt x="38355" y="49156"/>
                    <a:pt x="32292" y="51509"/>
                    <a:pt x="24459" y="51509"/>
                  </a:cubicBezTo>
                  <a:cubicBezTo>
                    <a:pt x="18245" y="51584"/>
                    <a:pt x="12202" y="49474"/>
                    <a:pt x="7386" y="45549"/>
                  </a:cubicBezTo>
                  <a:cubicBezTo>
                    <a:pt x="2461" y="41564"/>
                    <a:pt x="0" y="35094"/>
                    <a:pt x="0" y="26139"/>
                  </a:cubicBezTo>
                  <a:cubicBezTo>
                    <a:pt x="0" y="17746"/>
                    <a:pt x="2228" y="11304"/>
                    <a:pt x="6682" y="6816"/>
                  </a:cubicBezTo>
                  <a:cubicBezTo>
                    <a:pt x="11252" y="2254"/>
                    <a:pt x="17508" y="-208"/>
                    <a:pt x="23961" y="14"/>
                  </a:cubicBezTo>
                  <a:cubicBezTo>
                    <a:pt x="27886" y="-52"/>
                    <a:pt x="31782" y="721"/>
                    <a:pt x="35384" y="2281"/>
                  </a:cubicBezTo>
                  <a:close/>
                  <a:moveTo>
                    <a:pt x="16490" y="13223"/>
                  </a:moveTo>
                  <a:cubicBezTo>
                    <a:pt x="14554" y="15309"/>
                    <a:pt x="13350" y="17967"/>
                    <a:pt x="13054" y="20797"/>
                  </a:cubicBezTo>
                  <a:lnTo>
                    <a:pt x="34886" y="20797"/>
                  </a:lnTo>
                  <a:cubicBezTo>
                    <a:pt x="34844" y="17880"/>
                    <a:pt x="33601" y="15108"/>
                    <a:pt x="31450" y="13137"/>
                  </a:cubicBezTo>
                  <a:cubicBezTo>
                    <a:pt x="29363" y="11367"/>
                    <a:pt x="26698" y="10426"/>
                    <a:pt x="23961" y="10491"/>
                  </a:cubicBezTo>
                  <a:cubicBezTo>
                    <a:pt x="21201" y="10337"/>
                    <a:pt x="18499" y="11325"/>
                    <a:pt x="16490" y="13223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83" name="Google Shape;83;p48"/>
          <p:cNvSpPr txBox="1"/>
          <p:nvPr/>
        </p:nvSpPr>
        <p:spPr>
          <a:xfrm rot="-5400000">
            <a:off x="11250971" y="5290633"/>
            <a:ext cx="1567737" cy="110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</a:pPr>
            <a:r>
              <a:rPr lang="en-US" sz="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Copyright © 2020. All rights reserved.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4" name="Google Shape;84;p48"/>
          <p:cNvSpPr txBox="1">
            <a:spLocks noGrp="1"/>
          </p:cNvSpPr>
          <p:nvPr>
            <p:ph type="ftr" idx="11"/>
          </p:nvPr>
        </p:nvSpPr>
        <p:spPr>
          <a:xfrm>
            <a:off x="550863" y="6465614"/>
            <a:ext cx="5220350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881960602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1_Title only (with background)">
  <p:cSld name="2_Title only (with background)">
    <p:bg>
      <p:bgPr>
        <a:solidFill>
          <a:schemeClr val="lt2"/>
        </a:solidFill>
        <a:effectLst/>
      </p:bgPr>
    </p:bg>
    <p:spTree>
      <p:nvGrpSpPr>
        <p:cNvPr id="1" name="Shape 70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7" name="Google Shape;707;p83"/>
          <p:cNvSpPr txBox="1">
            <a:spLocks noGrp="1"/>
          </p:cNvSpPr>
          <p:nvPr>
            <p:ph type="ftr" idx="11"/>
          </p:nvPr>
        </p:nvSpPr>
        <p:spPr>
          <a:xfrm>
            <a:off x="550863" y="6465614"/>
            <a:ext cx="488916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08" name="Google Shape;708;p83"/>
          <p:cNvSpPr txBox="1">
            <a:spLocks noGrp="1"/>
          </p:cNvSpPr>
          <p:nvPr>
            <p:ph type="sldNum" idx="12"/>
          </p:nvPr>
        </p:nvSpPr>
        <p:spPr>
          <a:xfrm>
            <a:off x="11490153" y="6465614"/>
            <a:ext cx="150682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marL="0" marR="0" lvl="0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grpSp>
        <p:nvGrpSpPr>
          <p:cNvPr id="709" name="Google Shape;709;p83"/>
          <p:cNvGrpSpPr/>
          <p:nvPr/>
        </p:nvGrpSpPr>
        <p:grpSpPr>
          <a:xfrm>
            <a:off x="11979441" y="4535495"/>
            <a:ext cx="110800" cy="2041948"/>
            <a:chOff x="11979441" y="4535495"/>
            <a:chExt cx="110800" cy="2041948"/>
          </a:xfrm>
        </p:grpSpPr>
        <p:grpSp>
          <p:nvGrpSpPr>
            <p:cNvPr id="710" name="Google Shape;710;p83"/>
            <p:cNvGrpSpPr/>
            <p:nvPr/>
          </p:nvGrpSpPr>
          <p:grpSpPr>
            <a:xfrm>
              <a:off x="11998460" y="6135518"/>
              <a:ext cx="68500" cy="441925"/>
              <a:chOff x="11998459" y="6162188"/>
              <a:chExt cx="68500" cy="441925"/>
            </a:xfrm>
          </p:grpSpPr>
          <p:sp>
            <p:nvSpPr>
              <p:cNvPr id="711" name="Google Shape;711;p83"/>
              <p:cNvSpPr/>
              <p:nvPr/>
            </p:nvSpPr>
            <p:spPr>
              <a:xfrm rot="-5400000">
                <a:off x="12063068" y="6476346"/>
                <a:ext cx="17" cy="1717"/>
              </a:xfrm>
              <a:custGeom>
                <a:avLst/>
                <a:gdLst/>
                <a:ahLst/>
                <a:cxnLst/>
                <a:rect l="l" t="t" r="r" b="b"/>
                <a:pathLst>
                  <a:path w="17" h="1717" extrusionOk="0">
                    <a:moveTo>
                      <a:pt x="0" y="0"/>
                    </a:moveTo>
                    <a:lnTo>
                      <a:pt x="17" y="0"/>
                    </a:lnTo>
                    <a:lnTo>
                      <a:pt x="17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B0F0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</a:pPr>
                <a:endParaRPr sz="1400" b="0" i="0" u="none" strike="noStrike" cap="none">
                  <a:solidFill>
                    <a:srgbClr val="B4B4B4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12" name="Google Shape;712;p83"/>
              <p:cNvSpPr/>
              <p:nvPr/>
            </p:nvSpPr>
            <p:spPr>
              <a:xfrm rot="-5400000">
                <a:off x="12023737" y="6455896"/>
                <a:ext cx="453" cy="271"/>
              </a:xfrm>
              <a:custGeom>
                <a:avLst/>
                <a:gdLst/>
                <a:ahLst/>
                <a:cxnLst/>
                <a:rect l="l" t="t" r="r" b="b"/>
                <a:pathLst>
                  <a:path w="453" h="271" extrusionOk="0">
                    <a:moveTo>
                      <a:pt x="0" y="0"/>
                    </a:moveTo>
                    <a:cubicBezTo>
                      <a:pt x="258" y="172"/>
                      <a:pt x="498" y="344"/>
                      <a:pt x="447" y="240"/>
                    </a:cubicBezTo>
                    <a:close/>
                  </a:path>
                </a:pathLst>
              </a:custGeom>
              <a:solidFill>
                <a:srgbClr val="00B0F0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</a:pPr>
                <a:endParaRPr sz="1400" b="0" i="0" u="none" strike="noStrike" cap="none">
                  <a:solidFill>
                    <a:srgbClr val="B4B4B4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13" name="Google Shape;713;p83"/>
              <p:cNvSpPr/>
              <p:nvPr/>
            </p:nvSpPr>
            <p:spPr>
              <a:xfrm rot="-5400000">
                <a:off x="12023907" y="6477766"/>
                <a:ext cx="15" cy="76"/>
              </a:xfrm>
              <a:custGeom>
                <a:avLst/>
                <a:gdLst/>
                <a:ahLst/>
                <a:cxnLst/>
                <a:rect l="l" t="t" r="r" b="b"/>
                <a:pathLst>
                  <a:path w="15" h="76" extrusionOk="0">
                    <a:moveTo>
                      <a:pt x="15" y="38"/>
                    </a:moveTo>
                    <a:cubicBezTo>
                      <a:pt x="15" y="38"/>
                      <a:pt x="15" y="-48"/>
                      <a:pt x="15" y="38"/>
                    </a:cubicBezTo>
                    <a:cubicBezTo>
                      <a:pt x="15" y="124"/>
                      <a:pt x="-19" y="38"/>
                      <a:pt x="15" y="38"/>
                    </a:cubicBezTo>
                    <a:close/>
                  </a:path>
                </a:pathLst>
              </a:custGeom>
              <a:solidFill>
                <a:srgbClr val="00B0F0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</a:pPr>
                <a:endParaRPr sz="1400" b="0" i="0" u="none" strike="noStrike" cap="none">
                  <a:solidFill>
                    <a:srgbClr val="B4B4B4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14" name="Google Shape;714;p83"/>
              <p:cNvSpPr/>
              <p:nvPr/>
            </p:nvSpPr>
            <p:spPr>
              <a:xfrm rot="-5400000">
                <a:off x="12021636" y="6473651"/>
                <a:ext cx="261" cy="103"/>
              </a:xfrm>
              <a:custGeom>
                <a:avLst/>
                <a:gdLst/>
                <a:ahLst/>
                <a:cxnLst/>
                <a:rect l="l" t="t" r="r" b="b"/>
                <a:pathLst>
                  <a:path w="261" h="103" extrusionOk="0">
                    <a:moveTo>
                      <a:pt x="262" y="0"/>
                    </a:moveTo>
                    <a:lnTo>
                      <a:pt x="56" y="103"/>
                    </a:lnTo>
                    <a:cubicBezTo>
                      <a:pt x="176" y="103"/>
                      <a:pt x="-116" y="103"/>
                      <a:pt x="56" y="103"/>
                    </a:cubicBezTo>
                    <a:close/>
                  </a:path>
                </a:pathLst>
              </a:custGeom>
              <a:solidFill>
                <a:srgbClr val="00B0F0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</a:pPr>
                <a:endParaRPr sz="1400" b="0" i="0" u="none" strike="noStrike" cap="none">
                  <a:solidFill>
                    <a:srgbClr val="B4B4B4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15" name="Google Shape;715;p83"/>
              <p:cNvSpPr/>
              <p:nvPr/>
            </p:nvSpPr>
            <p:spPr>
              <a:xfrm rot="-5400000">
                <a:off x="12015635" y="6442208"/>
                <a:ext cx="51323" cy="51323"/>
              </a:xfrm>
              <a:custGeom>
                <a:avLst/>
                <a:gdLst/>
                <a:ahLst/>
                <a:cxnLst/>
                <a:rect l="l" t="t" r="r" b="b"/>
                <a:pathLst>
                  <a:path w="51323" h="51323" extrusionOk="0">
                    <a:moveTo>
                      <a:pt x="25662" y="0"/>
                    </a:moveTo>
                    <a:cubicBezTo>
                      <a:pt x="11489" y="0"/>
                      <a:pt x="0" y="11489"/>
                      <a:pt x="0" y="25662"/>
                    </a:cubicBezTo>
                    <a:cubicBezTo>
                      <a:pt x="0" y="39834"/>
                      <a:pt x="11489" y="51323"/>
                      <a:pt x="25662" y="51323"/>
                    </a:cubicBezTo>
                    <a:cubicBezTo>
                      <a:pt x="39835" y="51323"/>
                      <a:pt x="51324" y="39834"/>
                      <a:pt x="51324" y="25662"/>
                    </a:cubicBezTo>
                    <a:cubicBezTo>
                      <a:pt x="51324" y="25645"/>
                      <a:pt x="51324" y="25627"/>
                      <a:pt x="51324" y="25610"/>
                    </a:cubicBezTo>
                    <a:cubicBezTo>
                      <a:pt x="51314" y="11457"/>
                      <a:pt x="39833" y="-9"/>
                      <a:pt x="25679" y="0"/>
                    </a:cubicBezTo>
                    <a:cubicBezTo>
                      <a:pt x="25673" y="0"/>
                      <a:pt x="25667" y="0"/>
                      <a:pt x="25662" y="0"/>
                    </a:cubicBezTo>
                    <a:close/>
                    <a:moveTo>
                      <a:pt x="26967" y="15648"/>
                    </a:moveTo>
                    <a:cubicBezTo>
                      <a:pt x="26864" y="15648"/>
                      <a:pt x="26967" y="15785"/>
                      <a:pt x="26967" y="15837"/>
                    </a:cubicBezTo>
                    <a:cubicBezTo>
                      <a:pt x="26894" y="15820"/>
                      <a:pt x="26817" y="15820"/>
                      <a:pt x="26744" y="15837"/>
                    </a:cubicBezTo>
                    <a:cubicBezTo>
                      <a:pt x="26899" y="15837"/>
                      <a:pt x="27139" y="16043"/>
                      <a:pt x="26933" y="16163"/>
                    </a:cubicBezTo>
                    <a:cubicBezTo>
                      <a:pt x="26727" y="16283"/>
                      <a:pt x="27019" y="16163"/>
                      <a:pt x="27036" y="16163"/>
                    </a:cubicBezTo>
                    <a:cubicBezTo>
                      <a:pt x="27173" y="15854"/>
                      <a:pt x="27586" y="16283"/>
                      <a:pt x="27294" y="16489"/>
                    </a:cubicBezTo>
                    <a:lnTo>
                      <a:pt x="27294" y="16489"/>
                    </a:lnTo>
                    <a:cubicBezTo>
                      <a:pt x="27294" y="16489"/>
                      <a:pt x="27294" y="16489"/>
                      <a:pt x="27294" y="16489"/>
                    </a:cubicBezTo>
                    <a:lnTo>
                      <a:pt x="27294" y="16489"/>
                    </a:lnTo>
                    <a:cubicBezTo>
                      <a:pt x="27294" y="16489"/>
                      <a:pt x="27191" y="16489"/>
                      <a:pt x="27156" y="16489"/>
                    </a:cubicBezTo>
                    <a:cubicBezTo>
                      <a:pt x="27122" y="16489"/>
                      <a:pt x="27156" y="16489"/>
                      <a:pt x="27156" y="16593"/>
                    </a:cubicBezTo>
                    <a:cubicBezTo>
                      <a:pt x="27156" y="16696"/>
                      <a:pt x="27276" y="16593"/>
                      <a:pt x="27156" y="16593"/>
                    </a:cubicBezTo>
                    <a:cubicBezTo>
                      <a:pt x="27036" y="16593"/>
                      <a:pt x="27294" y="16593"/>
                      <a:pt x="27379" y="16593"/>
                    </a:cubicBezTo>
                    <a:cubicBezTo>
                      <a:pt x="27465" y="16593"/>
                      <a:pt x="27276" y="16713"/>
                      <a:pt x="27276" y="16799"/>
                    </a:cubicBezTo>
                    <a:cubicBezTo>
                      <a:pt x="27276" y="16885"/>
                      <a:pt x="26795" y="16936"/>
                      <a:pt x="26744" y="16799"/>
                    </a:cubicBezTo>
                    <a:cubicBezTo>
                      <a:pt x="26692" y="16661"/>
                      <a:pt x="26297" y="16799"/>
                      <a:pt x="26074" y="16902"/>
                    </a:cubicBezTo>
                    <a:cubicBezTo>
                      <a:pt x="25851" y="17005"/>
                      <a:pt x="26074" y="17125"/>
                      <a:pt x="25868" y="16988"/>
                    </a:cubicBezTo>
                    <a:cubicBezTo>
                      <a:pt x="25662" y="16850"/>
                      <a:pt x="25610" y="16988"/>
                      <a:pt x="25559" y="17142"/>
                    </a:cubicBezTo>
                    <a:cubicBezTo>
                      <a:pt x="25507" y="17297"/>
                      <a:pt x="25559" y="17142"/>
                      <a:pt x="25404" y="17142"/>
                    </a:cubicBezTo>
                    <a:cubicBezTo>
                      <a:pt x="25553" y="17029"/>
                      <a:pt x="25690" y="16902"/>
                      <a:pt x="25816" y="16764"/>
                    </a:cubicBezTo>
                    <a:cubicBezTo>
                      <a:pt x="25816" y="16593"/>
                      <a:pt x="26057" y="16764"/>
                      <a:pt x="26194" y="16764"/>
                    </a:cubicBezTo>
                    <a:cubicBezTo>
                      <a:pt x="26332" y="16764"/>
                      <a:pt x="26297" y="16610"/>
                      <a:pt x="26349" y="16541"/>
                    </a:cubicBezTo>
                    <a:cubicBezTo>
                      <a:pt x="26400" y="16472"/>
                      <a:pt x="26091" y="16764"/>
                      <a:pt x="26005" y="16627"/>
                    </a:cubicBezTo>
                    <a:cubicBezTo>
                      <a:pt x="25919" y="16489"/>
                      <a:pt x="25748" y="16627"/>
                      <a:pt x="25902" y="16627"/>
                    </a:cubicBezTo>
                    <a:cubicBezTo>
                      <a:pt x="26057" y="16627"/>
                      <a:pt x="25765" y="16627"/>
                      <a:pt x="25662" y="16627"/>
                    </a:cubicBezTo>
                    <a:lnTo>
                      <a:pt x="25662" y="16627"/>
                    </a:lnTo>
                    <a:cubicBezTo>
                      <a:pt x="25662" y="16627"/>
                      <a:pt x="25662" y="16627"/>
                      <a:pt x="25662" y="16627"/>
                    </a:cubicBezTo>
                    <a:cubicBezTo>
                      <a:pt x="25919" y="16541"/>
                      <a:pt x="26040" y="16472"/>
                      <a:pt x="26005" y="16215"/>
                    </a:cubicBezTo>
                    <a:lnTo>
                      <a:pt x="25834" y="16215"/>
                    </a:lnTo>
                    <a:cubicBezTo>
                      <a:pt x="25954" y="16094"/>
                      <a:pt x="26126" y="15940"/>
                      <a:pt x="26297" y="16060"/>
                    </a:cubicBezTo>
                    <a:cubicBezTo>
                      <a:pt x="26160" y="15888"/>
                      <a:pt x="26297" y="16060"/>
                      <a:pt x="26297" y="16060"/>
                    </a:cubicBezTo>
                    <a:cubicBezTo>
                      <a:pt x="26297" y="16060"/>
                      <a:pt x="26194" y="15837"/>
                      <a:pt x="26297" y="15785"/>
                    </a:cubicBezTo>
                    <a:cubicBezTo>
                      <a:pt x="26400" y="15734"/>
                      <a:pt x="26297" y="15648"/>
                      <a:pt x="26194" y="15785"/>
                    </a:cubicBezTo>
                    <a:lnTo>
                      <a:pt x="26194" y="15785"/>
                    </a:lnTo>
                    <a:cubicBezTo>
                      <a:pt x="26057" y="15785"/>
                      <a:pt x="26194" y="15476"/>
                      <a:pt x="26194" y="15493"/>
                    </a:cubicBezTo>
                    <a:cubicBezTo>
                      <a:pt x="26023" y="15493"/>
                      <a:pt x="25988" y="15613"/>
                      <a:pt x="25834" y="15493"/>
                    </a:cubicBezTo>
                    <a:cubicBezTo>
                      <a:pt x="25679" y="15373"/>
                      <a:pt x="25834" y="15493"/>
                      <a:pt x="25834" y="15596"/>
                    </a:cubicBezTo>
                    <a:cubicBezTo>
                      <a:pt x="25834" y="15699"/>
                      <a:pt x="25662" y="15459"/>
                      <a:pt x="25713" y="15596"/>
                    </a:cubicBezTo>
                    <a:cubicBezTo>
                      <a:pt x="25765" y="15734"/>
                      <a:pt x="25713" y="15493"/>
                      <a:pt x="25713" y="15459"/>
                    </a:cubicBezTo>
                    <a:lnTo>
                      <a:pt x="25713" y="15459"/>
                    </a:lnTo>
                    <a:cubicBezTo>
                      <a:pt x="25713" y="15459"/>
                      <a:pt x="25713" y="15287"/>
                      <a:pt x="25816" y="15236"/>
                    </a:cubicBezTo>
                    <a:cubicBezTo>
                      <a:pt x="25919" y="15184"/>
                      <a:pt x="25713" y="15029"/>
                      <a:pt x="25816" y="15064"/>
                    </a:cubicBezTo>
                    <a:cubicBezTo>
                      <a:pt x="25919" y="15098"/>
                      <a:pt x="25816" y="15064"/>
                      <a:pt x="25816" y="14961"/>
                    </a:cubicBezTo>
                    <a:cubicBezTo>
                      <a:pt x="25816" y="14858"/>
                      <a:pt x="25816" y="15047"/>
                      <a:pt x="25816" y="15081"/>
                    </a:cubicBezTo>
                    <a:lnTo>
                      <a:pt x="25816" y="15081"/>
                    </a:lnTo>
                    <a:cubicBezTo>
                      <a:pt x="25816" y="15081"/>
                      <a:pt x="25816" y="15081"/>
                      <a:pt x="25816" y="15081"/>
                    </a:cubicBezTo>
                    <a:cubicBezTo>
                      <a:pt x="25816" y="15081"/>
                      <a:pt x="25816" y="15081"/>
                      <a:pt x="25816" y="15081"/>
                    </a:cubicBezTo>
                    <a:cubicBezTo>
                      <a:pt x="25812" y="15173"/>
                      <a:pt x="25812" y="15264"/>
                      <a:pt x="25816" y="15356"/>
                    </a:cubicBezTo>
                    <a:cubicBezTo>
                      <a:pt x="25713" y="15356"/>
                      <a:pt x="25816" y="15218"/>
                      <a:pt x="25816" y="15167"/>
                    </a:cubicBezTo>
                    <a:cubicBezTo>
                      <a:pt x="25816" y="15115"/>
                      <a:pt x="25816" y="14858"/>
                      <a:pt x="25919" y="14823"/>
                    </a:cubicBezTo>
                    <a:cubicBezTo>
                      <a:pt x="26023" y="14789"/>
                      <a:pt x="25919" y="14823"/>
                      <a:pt x="25919" y="14823"/>
                    </a:cubicBezTo>
                    <a:cubicBezTo>
                      <a:pt x="25919" y="14823"/>
                      <a:pt x="25799" y="14978"/>
                      <a:pt x="25731" y="14823"/>
                    </a:cubicBezTo>
                    <a:cubicBezTo>
                      <a:pt x="25662" y="14669"/>
                      <a:pt x="25731" y="14823"/>
                      <a:pt x="25731" y="14823"/>
                    </a:cubicBezTo>
                    <a:cubicBezTo>
                      <a:pt x="25731" y="14823"/>
                      <a:pt x="25731" y="14686"/>
                      <a:pt x="25868" y="14737"/>
                    </a:cubicBezTo>
                    <a:cubicBezTo>
                      <a:pt x="26005" y="14789"/>
                      <a:pt x="25868" y="14737"/>
                      <a:pt x="25868" y="14737"/>
                    </a:cubicBezTo>
                    <a:cubicBezTo>
                      <a:pt x="25868" y="14737"/>
                      <a:pt x="25868" y="14737"/>
                      <a:pt x="25868" y="14737"/>
                    </a:cubicBezTo>
                    <a:cubicBezTo>
                      <a:pt x="25868" y="14737"/>
                      <a:pt x="25868" y="14737"/>
                      <a:pt x="25868" y="14737"/>
                    </a:cubicBezTo>
                    <a:cubicBezTo>
                      <a:pt x="25868" y="14737"/>
                      <a:pt x="25868" y="14737"/>
                      <a:pt x="25868" y="14737"/>
                    </a:cubicBezTo>
                    <a:lnTo>
                      <a:pt x="25868" y="14737"/>
                    </a:lnTo>
                    <a:lnTo>
                      <a:pt x="25868" y="14652"/>
                    </a:lnTo>
                    <a:cubicBezTo>
                      <a:pt x="25868" y="14652"/>
                      <a:pt x="25868" y="14652"/>
                      <a:pt x="25868" y="14652"/>
                    </a:cubicBezTo>
                    <a:cubicBezTo>
                      <a:pt x="25868" y="14652"/>
                      <a:pt x="25868" y="14566"/>
                      <a:pt x="25868" y="14514"/>
                    </a:cubicBezTo>
                    <a:lnTo>
                      <a:pt x="25868" y="14514"/>
                    </a:lnTo>
                    <a:cubicBezTo>
                      <a:pt x="25868" y="14514"/>
                      <a:pt x="25868" y="14514"/>
                      <a:pt x="25868" y="14514"/>
                    </a:cubicBezTo>
                    <a:cubicBezTo>
                      <a:pt x="25868" y="14514"/>
                      <a:pt x="25868" y="14514"/>
                      <a:pt x="25971" y="14514"/>
                    </a:cubicBezTo>
                    <a:cubicBezTo>
                      <a:pt x="25976" y="14486"/>
                      <a:pt x="25976" y="14457"/>
                      <a:pt x="25971" y="14428"/>
                    </a:cubicBezTo>
                    <a:cubicBezTo>
                      <a:pt x="25971" y="14428"/>
                      <a:pt x="26091" y="14085"/>
                      <a:pt x="26126" y="14291"/>
                    </a:cubicBezTo>
                    <a:cubicBezTo>
                      <a:pt x="26160" y="14497"/>
                      <a:pt x="26126" y="14291"/>
                      <a:pt x="26126" y="14291"/>
                    </a:cubicBezTo>
                    <a:cubicBezTo>
                      <a:pt x="26538" y="14136"/>
                      <a:pt x="26435" y="14291"/>
                      <a:pt x="26126" y="14531"/>
                    </a:cubicBezTo>
                    <a:lnTo>
                      <a:pt x="26126" y="14531"/>
                    </a:lnTo>
                    <a:cubicBezTo>
                      <a:pt x="25902" y="14737"/>
                      <a:pt x="26366" y="14531"/>
                      <a:pt x="26486" y="14531"/>
                    </a:cubicBezTo>
                    <a:cubicBezTo>
                      <a:pt x="26607" y="14531"/>
                      <a:pt x="26486" y="15029"/>
                      <a:pt x="26263" y="14995"/>
                    </a:cubicBezTo>
                    <a:cubicBezTo>
                      <a:pt x="26040" y="14961"/>
                      <a:pt x="26263" y="14995"/>
                      <a:pt x="26263" y="14995"/>
                    </a:cubicBezTo>
                    <a:cubicBezTo>
                      <a:pt x="26263" y="14995"/>
                      <a:pt x="26108" y="15133"/>
                      <a:pt x="26005" y="14995"/>
                    </a:cubicBezTo>
                    <a:cubicBezTo>
                      <a:pt x="26064" y="15057"/>
                      <a:pt x="26162" y="15059"/>
                      <a:pt x="26224" y="15000"/>
                    </a:cubicBezTo>
                    <a:cubicBezTo>
                      <a:pt x="26226" y="14998"/>
                      <a:pt x="26227" y="14997"/>
                      <a:pt x="26229" y="14995"/>
                    </a:cubicBezTo>
                    <a:cubicBezTo>
                      <a:pt x="26486" y="15098"/>
                      <a:pt x="26503" y="15373"/>
                      <a:pt x="26589" y="15579"/>
                    </a:cubicBezTo>
                    <a:cubicBezTo>
                      <a:pt x="26675" y="15785"/>
                      <a:pt x="26830" y="15545"/>
                      <a:pt x="26967" y="15613"/>
                    </a:cubicBezTo>
                    <a:close/>
                    <a:moveTo>
                      <a:pt x="18138" y="47476"/>
                    </a:moveTo>
                    <a:lnTo>
                      <a:pt x="18138" y="47476"/>
                    </a:lnTo>
                    <a:lnTo>
                      <a:pt x="18138" y="47476"/>
                    </a:lnTo>
                    <a:lnTo>
                      <a:pt x="18138" y="47476"/>
                    </a:lnTo>
                    <a:lnTo>
                      <a:pt x="18224" y="47476"/>
                    </a:lnTo>
                    <a:lnTo>
                      <a:pt x="18224" y="47476"/>
                    </a:lnTo>
                    <a:lnTo>
                      <a:pt x="17984" y="47338"/>
                    </a:lnTo>
                    <a:lnTo>
                      <a:pt x="17984" y="47338"/>
                    </a:lnTo>
                    <a:lnTo>
                      <a:pt x="17984" y="47338"/>
                    </a:lnTo>
                    <a:lnTo>
                      <a:pt x="18070" y="47338"/>
                    </a:lnTo>
                    <a:lnTo>
                      <a:pt x="18070" y="47338"/>
                    </a:lnTo>
                    <a:lnTo>
                      <a:pt x="18070" y="47338"/>
                    </a:lnTo>
                    <a:lnTo>
                      <a:pt x="17795" y="47218"/>
                    </a:lnTo>
                    <a:lnTo>
                      <a:pt x="17795" y="47218"/>
                    </a:lnTo>
                    <a:cubicBezTo>
                      <a:pt x="17795" y="47218"/>
                      <a:pt x="17795" y="47218"/>
                      <a:pt x="17795" y="47218"/>
                    </a:cubicBezTo>
                    <a:cubicBezTo>
                      <a:pt x="17762" y="47203"/>
                      <a:pt x="17725" y="47203"/>
                      <a:pt x="17692" y="47218"/>
                    </a:cubicBezTo>
                    <a:lnTo>
                      <a:pt x="17692" y="47218"/>
                    </a:lnTo>
                    <a:lnTo>
                      <a:pt x="17692" y="47218"/>
                    </a:lnTo>
                    <a:lnTo>
                      <a:pt x="17692" y="47218"/>
                    </a:lnTo>
                    <a:lnTo>
                      <a:pt x="17864" y="47218"/>
                    </a:lnTo>
                    <a:lnTo>
                      <a:pt x="17658" y="47218"/>
                    </a:lnTo>
                    <a:lnTo>
                      <a:pt x="17658" y="47218"/>
                    </a:lnTo>
                    <a:lnTo>
                      <a:pt x="17417" y="47115"/>
                    </a:lnTo>
                    <a:lnTo>
                      <a:pt x="17417" y="47115"/>
                    </a:lnTo>
                    <a:lnTo>
                      <a:pt x="17417" y="47115"/>
                    </a:lnTo>
                    <a:lnTo>
                      <a:pt x="17280" y="47115"/>
                    </a:lnTo>
                    <a:lnTo>
                      <a:pt x="17469" y="47218"/>
                    </a:lnTo>
                    <a:lnTo>
                      <a:pt x="17194" y="47081"/>
                    </a:lnTo>
                    <a:lnTo>
                      <a:pt x="17194" y="47081"/>
                    </a:lnTo>
                    <a:lnTo>
                      <a:pt x="17366" y="47081"/>
                    </a:lnTo>
                    <a:lnTo>
                      <a:pt x="17228" y="47081"/>
                    </a:lnTo>
                    <a:lnTo>
                      <a:pt x="17366" y="47081"/>
                    </a:lnTo>
                    <a:lnTo>
                      <a:pt x="17108" y="46961"/>
                    </a:lnTo>
                    <a:lnTo>
                      <a:pt x="17108" y="46961"/>
                    </a:lnTo>
                    <a:lnTo>
                      <a:pt x="17005" y="46961"/>
                    </a:lnTo>
                    <a:lnTo>
                      <a:pt x="17005" y="46961"/>
                    </a:lnTo>
                    <a:lnTo>
                      <a:pt x="16782" y="46858"/>
                    </a:lnTo>
                    <a:lnTo>
                      <a:pt x="16782" y="46858"/>
                    </a:lnTo>
                    <a:lnTo>
                      <a:pt x="16696" y="46858"/>
                    </a:lnTo>
                    <a:lnTo>
                      <a:pt x="16696" y="46858"/>
                    </a:lnTo>
                    <a:cubicBezTo>
                      <a:pt x="16557" y="46803"/>
                      <a:pt x="16425" y="46733"/>
                      <a:pt x="16301" y="46651"/>
                    </a:cubicBezTo>
                    <a:lnTo>
                      <a:pt x="16301" y="46651"/>
                    </a:lnTo>
                    <a:lnTo>
                      <a:pt x="16129" y="46548"/>
                    </a:lnTo>
                    <a:lnTo>
                      <a:pt x="16283" y="46651"/>
                    </a:lnTo>
                    <a:lnTo>
                      <a:pt x="15940" y="46462"/>
                    </a:lnTo>
                    <a:lnTo>
                      <a:pt x="15940" y="46462"/>
                    </a:lnTo>
                    <a:lnTo>
                      <a:pt x="15837" y="46462"/>
                    </a:lnTo>
                    <a:lnTo>
                      <a:pt x="15837" y="46462"/>
                    </a:lnTo>
                    <a:lnTo>
                      <a:pt x="15665" y="46359"/>
                    </a:lnTo>
                    <a:lnTo>
                      <a:pt x="15665" y="46359"/>
                    </a:lnTo>
                    <a:lnTo>
                      <a:pt x="15665" y="46359"/>
                    </a:lnTo>
                    <a:lnTo>
                      <a:pt x="15665" y="46359"/>
                    </a:lnTo>
                    <a:lnTo>
                      <a:pt x="15510" y="46274"/>
                    </a:lnTo>
                    <a:lnTo>
                      <a:pt x="15510" y="46274"/>
                    </a:lnTo>
                    <a:lnTo>
                      <a:pt x="15339" y="46153"/>
                    </a:lnTo>
                    <a:lnTo>
                      <a:pt x="15339" y="46153"/>
                    </a:lnTo>
                    <a:lnTo>
                      <a:pt x="15201" y="46153"/>
                    </a:lnTo>
                    <a:lnTo>
                      <a:pt x="15201" y="46153"/>
                    </a:lnTo>
                    <a:cubicBezTo>
                      <a:pt x="15162" y="46164"/>
                      <a:pt x="15120" y="46164"/>
                      <a:pt x="15081" y="46153"/>
                    </a:cubicBezTo>
                    <a:lnTo>
                      <a:pt x="15081" y="46153"/>
                    </a:lnTo>
                    <a:lnTo>
                      <a:pt x="15218" y="46239"/>
                    </a:lnTo>
                    <a:lnTo>
                      <a:pt x="15081" y="46153"/>
                    </a:lnTo>
                    <a:lnTo>
                      <a:pt x="15081" y="46153"/>
                    </a:lnTo>
                    <a:lnTo>
                      <a:pt x="14961" y="46153"/>
                    </a:lnTo>
                    <a:lnTo>
                      <a:pt x="14961" y="46153"/>
                    </a:lnTo>
                    <a:lnTo>
                      <a:pt x="14823" y="46067"/>
                    </a:lnTo>
                    <a:cubicBezTo>
                      <a:pt x="14890" y="46095"/>
                      <a:pt x="14953" y="46130"/>
                      <a:pt x="15012" y="46170"/>
                    </a:cubicBezTo>
                    <a:cubicBezTo>
                      <a:pt x="15012" y="46170"/>
                      <a:pt x="15150" y="46274"/>
                      <a:pt x="15184" y="46274"/>
                    </a:cubicBezTo>
                    <a:lnTo>
                      <a:pt x="14720" y="45947"/>
                    </a:lnTo>
                    <a:lnTo>
                      <a:pt x="14720" y="45947"/>
                    </a:lnTo>
                    <a:cubicBezTo>
                      <a:pt x="14446" y="45724"/>
                      <a:pt x="14136" y="45535"/>
                      <a:pt x="13879" y="45312"/>
                    </a:cubicBezTo>
                    <a:lnTo>
                      <a:pt x="13982" y="45312"/>
                    </a:lnTo>
                    <a:lnTo>
                      <a:pt x="13827" y="45191"/>
                    </a:lnTo>
                    <a:lnTo>
                      <a:pt x="13827" y="45191"/>
                    </a:lnTo>
                    <a:cubicBezTo>
                      <a:pt x="13827" y="45191"/>
                      <a:pt x="13827" y="45191"/>
                      <a:pt x="13724" y="45191"/>
                    </a:cubicBezTo>
                    <a:lnTo>
                      <a:pt x="13724" y="45191"/>
                    </a:lnTo>
                    <a:lnTo>
                      <a:pt x="13724" y="45191"/>
                    </a:lnTo>
                    <a:lnTo>
                      <a:pt x="13724" y="45191"/>
                    </a:lnTo>
                    <a:cubicBezTo>
                      <a:pt x="13500" y="45056"/>
                      <a:pt x="13292" y="44895"/>
                      <a:pt x="13106" y="44710"/>
                    </a:cubicBezTo>
                    <a:lnTo>
                      <a:pt x="13106" y="44710"/>
                    </a:lnTo>
                    <a:cubicBezTo>
                      <a:pt x="12865" y="44453"/>
                      <a:pt x="12573" y="44264"/>
                      <a:pt x="12316" y="44023"/>
                    </a:cubicBezTo>
                    <a:cubicBezTo>
                      <a:pt x="12316" y="44023"/>
                      <a:pt x="12316" y="44023"/>
                      <a:pt x="12316" y="44023"/>
                    </a:cubicBezTo>
                    <a:cubicBezTo>
                      <a:pt x="11271" y="42931"/>
                      <a:pt x="10350" y="41727"/>
                      <a:pt x="9567" y="40434"/>
                    </a:cubicBezTo>
                    <a:lnTo>
                      <a:pt x="9567" y="40434"/>
                    </a:lnTo>
                    <a:cubicBezTo>
                      <a:pt x="9215" y="39466"/>
                      <a:pt x="8691" y="38570"/>
                      <a:pt x="8021" y="37788"/>
                    </a:cubicBezTo>
                    <a:lnTo>
                      <a:pt x="8021" y="37788"/>
                    </a:lnTo>
                    <a:cubicBezTo>
                      <a:pt x="6949" y="36560"/>
                      <a:pt x="6200" y="35084"/>
                      <a:pt x="5840" y="33494"/>
                    </a:cubicBezTo>
                    <a:cubicBezTo>
                      <a:pt x="5840" y="33494"/>
                      <a:pt x="5840" y="33494"/>
                      <a:pt x="5840" y="33580"/>
                    </a:cubicBezTo>
                    <a:cubicBezTo>
                      <a:pt x="5850" y="33546"/>
                      <a:pt x="5850" y="33511"/>
                      <a:pt x="5840" y="33477"/>
                    </a:cubicBezTo>
                    <a:cubicBezTo>
                      <a:pt x="5840" y="33477"/>
                      <a:pt x="5840" y="33580"/>
                      <a:pt x="5840" y="33614"/>
                    </a:cubicBezTo>
                    <a:cubicBezTo>
                      <a:pt x="5600" y="33202"/>
                      <a:pt x="5685" y="28461"/>
                      <a:pt x="5222" y="30299"/>
                    </a:cubicBezTo>
                    <a:cubicBezTo>
                      <a:pt x="5222" y="30299"/>
                      <a:pt x="5222" y="30093"/>
                      <a:pt x="5222" y="30042"/>
                    </a:cubicBezTo>
                    <a:cubicBezTo>
                      <a:pt x="5222" y="29990"/>
                      <a:pt x="5222" y="30042"/>
                      <a:pt x="5222" y="30128"/>
                    </a:cubicBezTo>
                    <a:cubicBezTo>
                      <a:pt x="5222" y="30213"/>
                      <a:pt x="5222" y="29887"/>
                      <a:pt x="5067" y="29784"/>
                    </a:cubicBezTo>
                    <a:cubicBezTo>
                      <a:pt x="4913" y="29681"/>
                      <a:pt x="5067" y="29784"/>
                      <a:pt x="5067" y="29784"/>
                    </a:cubicBezTo>
                    <a:lnTo>
                      <a:pt x="5067" y="29784"/>
                    </a:lnTo>
                    <a:cubicBezTo>
                      <a:pt x="5067" y="29784"/>
                      <a:pt x="5067" y="29612"/>
                      <a:pt x="5067" y="29544"/>
                    </a:cubicBezTo>
                    <a:cubicBezTo>
                      <a:pt x="5067" y="29475"/>
                      <a:pt x="5067" y="29664"/>
                      <a:pt x="5067" y="29715"/>
                    </a:cubicBezTo>
                    <a:cubicBezTo>
                      <a:pt x="5067" y="29458"/>
                      <a:pt x="4947" y="29166"/>
                      <a:pt x="4844" y="28908"/>
                    </a:cubicBezTo>
                    <a:cubicBezTo>
                      <a:pt x="4844" y="28994"/>
                      <a:pt x="4844" y="29080"/>
                      <a:pt x="4844" y="29183"/>
                    </a:cubicBezTo>
                    <a:cubicBezTo>
                      <a:pt x="4689" y="28753"/>
                      <a:pt x="4672" y="28290"/>
                      <a:pt x="4552" y="27843"/>
                    </a:cubicBezTo>
                    <a:cubicBezTo>
                      <a:pt x="4552" y="27929"/>
                      <a:pt x="4552" y="27843"/>
                      <a:pt x="4552" y="27740"/>
                    </a:cubicBezTo>
                    <a:cubicBezTo>
                      <a:pt x="4552" y="27637"/>
                      <a:pt x="4552" y="27740"/>
                      <a:pt x="4552" y="27740"/>
                    </a:cubicBezTo>
                    <a:cubicBezTo>
                      <a:pt x="4552" y="27740"/>
                      <a:pt x="4552" y="27740"/>
                      <a:pt x="4552" y="27740"/>
                    </a:cubicBezTo>
                    <a:cubicBezTo>
                      <a:pt x="4552" y="27740"/>
                      <a:pt x="4552" y="27740"/>
                      <a:pt x="4552" y="27740"/>
                    </a:cubicBezTo>
                    <a:cubicBezTo>
                      <a:pt x="4343" y="27287"/>
                      <a:pt x="4226" y="26796"/>
                      <a:pt x="4208" y="26297"/>
                    </a:cubicBezTo>
                    <a:cubicBezTo>
                      <a:pt x="4218" y="26366"/>
                      <a:pt x="4218" y="26435"/>
                      <a:pt x="4208" y="26503"/>
                    </a:cubicBezTo>
                    <a:cubicBezTo>
                      <a:pt x="4218" y="26435"/>
                      <a:pt x="4218" y="26366"/>
                      <a:pt x="4208" y="26297"/>
                    </a:cubicBezTo>
                    <a:lnTo>
                      <a:pt x="4208" y="26297"/>
                    </a:lnTo>
                    <a:cubicBezTo>
                      <a:pt x="4208" y="26297"/>
                      <a:pt x="4208" y="26297"/>
                      <a:pt x="4208" y="26297"/>
                    </a:cubicBezTo>
                    <a:lnTo>
                      <a:pt x="4208" y="26297"/>
                    </a:lnTo>
                    <a:lnTo>
                      <a:pt x="4208" y="26297"/>
                    </a:lnTo>
                    <a:cubicBezTo>
                      <a:pt x="4208" y="26297"/>
                      <a:pt x="4208" y="26297"/>
                      <a:pt x="4208" y="26400"/>
                    </a:cubicBezTo>
                    <a:cubicBezTo>
                      <a:pt x="4208" y="26503"/>
                      <a:pt x="4208" y="26400"/>
                      <a:pt x="4208" y="26400"/>
                    </a:cubicBezTo>
                    <a:lnTo>
                      <a:pt x="4208" y="26400"/>
                    </a:lnTo>
                    <a:lnTo>
                      <a:pt x="4208" y="26400"/>
                    </a:lnTo>
                    <a:cubicBezTo>
                      <a:pt x="4208" y="26314"/>
                      <a:pt x="4208" y="26194"/>
                      <a:pt x="4208" y="26091"/>
                    </a:cubicBezTo>
                    <a:lnTo>
                      <a:pt x="4208" y="26091"/>
                    </a:lnTo>
                    <a:cubicBezTo>
                      <a:pt x="4200" y="26034"/>
                      <a:pt x="4200" y="25976"/>
                      <a:pt x="4208" y="25919"/>
                    </a:cubicBezTo>
                    <a:lnTo>
                      <a:pt x="4208" y="25919"/>
                    </a:lnTo>
                    <a:cubicBezTo>
                      <a:pt x="4191" y="25679"/>
                      <a:pt x="4191" y="25438"/>
                      <a:pt x="4208" y="25198"/>
                    </a:cubicBezTo>
                    <a:lnTo>
                      <a:pt x="4208" y="25198"/>
                    </a:lnTo>
                    <a:cubicBezTo>
                      <a:pt x="4208" y="25198"/>
                      <a:pt x="4208" y="25112"/>
                      <a:pt x="4208" y="25078"/>
                    </a:cubicBezTo>
                    <a:lnTo>
                      <a:pt x="4208" y="25078"/>
                    </a:lnTo>
                    <a:cubicBezTo>
                      <a:pt x="4764" y="15747"/>
                      <a:pt x="10928" y="7687"/>
                      <a:pt x="19787" y="4706"/>
                    </a:cubicBezTo>
                    <a:lnTo>
                      <a:pt x="19787" y="4706"/>
                    </a:lnTo>
                    <a:lnTo>
                      <a:pt x="19994" y="4706"/>
                    </a:lnTo>
                    <a:lnTo>
                      <a:pt x="19994" y="4706"/>
                    </a:lnTo>
                    <a:lnTo>
                      <a:pt x="20217" y="4706"/>
                    </a:lnTo>
                    <a:lnTo>
                      <a:pt x="20062" y="4706"/>
                    </a:lnTo>
                    <a:lnTo>
                      <a:pt x="20337" y="4706"/>
                    </a:lnTo>
                    <a:lnTo>
                      <a:pt x="20234" y="4706"/>
                    </a:lnTo>
                    <a:lnTo>
                      <a:pt x="20234" y="4706"/>
                    </a:lnTo>
                    <a:lnTo>
                      <a:pt x="20423" y="4706"/>
                    </a:lnTo>
                    <a:lnTo>
                      <a:pt x="20423" y="4706"/>
                    </a:lnTo>
                    <a:lnTo>
                      <a:pt x="21711" y="4414"/>
                    </a:lnTo>
                    <a:lnTo>
                      <a:pt x="21711" y="4414"/>
                    </a:lnTo>
                    <a:lnTo>
                      <a:pt x="22038" y="4414"/>
                    </a:lnTo>
                    <a:lnTo>
                      <a:pt x="21814" y="4414"/>
                    </a:lnTo>
                    <a:lnTo>
                      <a:pt x="21814" y="4414"/>
                    </a:lnTo>
                    <a:lnTo>
                      <a:pt x="22415" y="4414"/>
                    </a:lnTo>
                    <a:lnTo>
                      <a:pt x="22415" y="4414"/>
                    </a:lnTo>
                    <a:lnTo>
                      <a:pt x="22106" y="4414"/>
                    </a:lnTo>
                    <a:lnTo>
                      <a:pt x="22398" y="4414"/>
                    </a:lnTo>
                    <a:lnTo>
                      <a:pt x="22398" y="4414"/>
                    </a:lnTo>
                    <a:lnTo>
                      <a:pt x="22690" y="4414"/>
                    </a:lnTo>
                    <a:lnTo>
                      <a:pt x="22587" y="4414"/>
                    </a:lnTo>
                    <a:lnTo>
                      <a:pt x="22484" y="4414"/>
                    </a:lnTo>
                    <a:lnTo>
                      <a:pt x="22725" y="4414"/>
                    </a:lnTo>
                    <a:lnTo>
                      <a:pt x="22347" y="4414"/>
                    </a:lnTo>
                    <a:lnTo>
                      <a:pt x="22244" y="4414"/>
                    </a:lnTo>
                    <a:lnTo>
                      <a:pt x="22055" y="4414"/>
                    </a:lnTo>
                    <a:lnTo>
                      <a:pt x="22415" y="4414"/>
                    </a:lnTo>
                    <a:lnTo>
                      <a:pt x="22020" y="4414"/>
                    </a:lnTo>
                    <a:lnTo>
                      <a:pt x="22020" y="4414"/>
                    </a:lnTo>
                    <a:lnTo>
                      <a:pt x="21608" y="4414"/>
                    </a:lnTo>
                    <a:lnTo>
                      <a:pt x="21608" y="4414"/>
                    </a:lnTo>
                    <a:lnTo>
                      <a:pt x="21213" y="4500"/>
                    </a:lnTo>
                    <a:lnTo>
                      <a:pt x="21385" y="4500"/>
                    </a:lnTo>
                    <a:lnTo>
                      <a:pt x="21385" y="4500"/>
                    </a:lnTo>
                    <a:cubicBezTo>
                      <a:pt x="21251" y="4544"/>
                      <a:pt x="21113" y="4572"/>
                      <a:pt x="20973" y="4586"/>
                    </a:cubicBezTo>
                    <a:lnTo>
                      <a:pt x="21144" y="4586"/>
                    </a:lnTo>
                    <a:lnTo>
                      <a:pt x="20955" y="4586"/>
                    </a:lnTo>
                    <a:lnTo>
                      <a:pt x="20955" y="4586"/>
                    </a:lnTo>
                    <a:lnTo>
                      <a:pt x="20835" y="4586"/>
                    </a:lnTo>
                    <a:lnTo>
                      <a:pt x="20835" y="4586"/>
                    </a:lnTo>
                    <a:lnTo>
                      <a:pt x="20835" y="4586"/>
                    </a:lnTo>
                    <a:cubicBezTo>
                      <a:pt x="20835" y="4586"/>
                      <a:pt x="20835" y="4586"/>
                      <a:pt x="20835" y="4586"/>
                    </a:cubicBezTo>
                    <a:lnTo>
                      <a:pt x="20835" y="4586"/>
                    </a:lnTo>
                    <a:lnTo>
                      <a:pt x="20663" y="4586"/>
                    </a:lnTo>
                    <a:lnTo>
                      <a:pt x="20663" y="4586"/>
                    </a:lnTo>
                    <a:lnTo>
                      <a:pt x="20663" y="4586"/>
                    </a:lnTo>
                    <a:lnTo>
                      <a:pt x="20663" y="4586"/>
                    </a:lnTo>
                    <a:lnTo>
                      <a:pt x="20560" y="4586"/>
                    </a:lnTo>
                    <a:lnTo>
                      <a:pt x="20560" y="4586"/>
                    </a:lnTo>
                    <a:lnTo>
                      <a:pt x="20114" y="4706"/>
                    </a:lnTo>
                    <a:lnTo>
                      <a:pt x="20114" y="4706"/>
                    </a:lnTo>
                    <a:lnTo>
                      <a:pt x="19787" y="4827"/>
                    </a:lnTo>
                    <a:lnTo>
                      <a:pt x="19787" y="4827"/>
                    </a:lnTo>
                    <a:lnTo>
                      <a:pt x="19392" y="4947"/>
                    </a:lnTo>
                    <a:lnTo>
                      <a:pt x="19392" y="4947"/>
                    </a:lnTo>
                    <a:lnTo>
                      <a:pt x="19100" y="5153"/>
                    </a:lnTo>
                    <a:lnTo>
                      <a:pt x="19100" y="5153"/>
                    </a:lnTo>
                    <a:lnTo>
                      <a:pt x="18997" y="5153"/>
                    </a:lnTo>
                    <a:lnTo>
                      <a:pt x="18997" y="5153"/>
                    </a:lnTo>
                    <a:lnTo>
                      <a:pt x="18430" y="5359"/>
                    </a:lnTo>
                    <a:lnTo>
                      <a:pt x="18568" y="5359"/>
                    </a:lnTo>
                    <a:lnTo>
                      <a:pt x="18568" y="5359"/>
                    </a:lnTo>
                    <a:cubicBezTo>
                      <a:pt x="18763" y="5286"/>
                      <a:pt x="18964" y="5229"/>
                      <a:pt x="19169" y="5187"/>
                    </a:cubicBezTo>
                    <a:lnTo>
                      <a:pt x="19169" y="5187"/>
                    </a:lnTo>
                    <a:lnTo>
                      <a:pt x="19341" y="5187"/>
                    </a:lnTo>
                    <a:lnTo>
                      <a:pt x="19461" y="5187"/>
                    </a:lnTo>
                    <a:lnTo>
                      <a:pt x="19186" y="5187"/>
                    </a:lnTo>
                    <a:lnTo>
                      <a:pt x="19186" y="5187"/>
                    </a:lnTo>
                    <a:lnTo>
                      <a:pt x="19032" y="5187"/>
                    </a:lnTo>
                    <a:lnTo>
                      <a:pt x="19032" y="5187"/>
                    </a:lnTo>
                    <a:lnTo>
                      <a:pt x="18911" y="5187"/>
                    </a:lnTo>
                    <a:lnTo>
                      <a:pt x="18911" y="5187"/>
                    </a:lnTo>
                    <a:lnTo>
                      <a:pt x="18740" y="5187"/>
                    </a:lnTo>
                    <a:lnTo>
                      <a:pt x="18740" y="5187"/>
                    </a:lnTo>
                    <a:lnTo>
                      <a:pt x="18894" y="5187"/>
                    </a:lnTo>
                    <a:lnTo>
                      <a:pt x="18894" y="5187"/>
                    </a:lnTo>
                    <a:lnTo>
                      <a:pt x="19049" y="5187"/>
                    </a:lnTo>
                    <a:lnTo>
                      <a:pt x="19049" y="5187"/>
                    </a:lnTo>
                    <a:lnTo>
                      <a:pt x="18860" y="5187"/>
                    </a:lnTo>
                    <a:cubicBezTo>
                      <a:pt x="18997" y="5187"/>
                      <a:pt x="19392" y="5067"/>
                      <a:pt x="19032" y="5187"/>
                    </a:cubicBezTo>
                    <a:lnTo>
                      <a:pt x="19186" y="5187"/>
                    </a:lnTo>
                    <a:lnTo>
                      <a:pt x="19289" y="5187"/>
                    </a:lnTo>
                    <a:lnTo>
                      <a:pt x="19650" y="5084"/>
                    </a:lnTo>
                    <a:cubicBezTo>
                      <a:pt x="19252" y="5196"/>
                      <a:pt x="18862" y="5334"/>
                      <a:pt x="18482" y="5497"/>
                    </a:cubicBezTo>
                    <a:lnTo>
                      <a:pt x="18654" y="5497"/>
                    </a:lnTo>
                    <a:lnTo>
                      <a:pt x="18654" y="5497"/>
                    </a:lnTo>
                    <a:cubicBezTo>
                      <a:pt x="18654" y="5497"/>
                      <a:pt x="18860" y="5497"/>
                      <a:pt x="18740" y="5497"/>
                    </a:cubicBezTo>
                    <a:lnTo>
                      <a:pt x="18894" y="5497"/>
                    </a:lnTo>
                    <a:lnTo>
                      <a:pt x="18894" y="5497"/>
                    </a:lnTo>
                    <a:lnTo>
                      <a:pt x="19032" y="5497"/>
                    </a:lnTo>
                    <a:cubicBezTo>
                      <a:pt x="18929" y="5497"/>
                      <a:pt x="18808" y="5497"/>
                      <a:pt x="18722" y="5617"/>
                    </a:cubicBezTo>
                    <a:lnTo>
                      <a:pt x="18722" y="5617"/>
                    </a:lnTo>
                    <a:lnTo>
                      <a:pt x="18585" y="5617"/>
                    </a:lnTo>
                    <a:lnTo>
                      <a:pt x="18585" y="5617"/>
                    </a:lnTo>
                    <a:lnTo>
                      <a:pt x="18413" y="5617"/>
                    </a:lnTo>
                    <a:cubicBezTo>
                      <a:pt x="18505" y="5624"/>
                      <a:pt x="18597" y="5624"/>
                      <a:pt x="18688" y="5617"/>
                    </a:cubicBezTo>
                    <a:cubicBezTo>
                      <a:pt x="18396" y="5771"/>
                      <a:pt x="18035" y="5909"/>
                      <a:pt x="17743" y="6098"/>
                    </a:cubicBezTo>
                    <a:lnTo>
                      <a:pt x="17743" y="6098"/>
                    </a:lnTo>
                    <a:lnTo>
                      <a:pt x="17554" y="6201"/>
                    </a:lnTo>
                    <a:lnTo>
                      <a:pt x="17743" y="6201"/>
                    </a:lnTo>
                    <a:lnTo>
                      <a:pt x="17743" y="6201"/>
                    </a:lnTo>
                    <a:cubicBezTo>
                      <a:pt x="17743" y="6201"/>
                      <a:pt x="17743" y="6201"/>
                      <a:pt x="17743" y="6201"/>
                    </a:cubicBezTo>
                    <a:cubicBezTo>
                      <a:pt x="17557" y="6309"/>
                      <a:pt x="17362" y="6402"/>
                      <a:pt x="17159" y="6476"/>
                    </a:cubicBezTo>
                    <a:cubicBezTo>
                      <a:pt x="17159" y="6476"/>
                      <a:pt x="17159" y="6476"/>
                      <a:pt x="17159" y="6476"/>
                    </a:cubicBezTo>
                    <a:cubicBezTo>
                      <a:pt x="17159" y="6476"/>
                      <a:pt x="17056" y="6476"/>
                      <a:pt x="17039" y="6476"/>
                    </a:cubicBezTo>
                    <a:lnTo>
                      <a:pt x="17039" y="6476"/>
                    </a:lnTo>
                    <a:cubicBezTo>
                      <a:pt x="16976" y="6499"/>
                      <a:pt x="16918" y="6534"/>
                      <a:pt x="16867" y="6579"/>
                    </a:cubicBezTo>
                    <a:lnTo>
                      <a:pt x="16867" y="6579"/>
                    </a:lnTo>
                    <a:cubicBezTo>
                      <a:pt x="16867" y="6579"/>
                      <a:pt x="16627" y="6750"/>
                      <a:pt x="16730" y="6716"/>
                    </a:cubicBezTo>
                    <a:lnTo>
                      <a:pt x="16730" y="6716"/>
                    </a:lnTo>
                    <a:lnTo>
                      <a:pt x="16730" y="6716"/>
                    </a:lnTo>
                    <a:lnTo>
                      <a:pt x="16730" y="6716"/>
                    </a:lnTo>
                    <a:cubicBezTo>
                      <a:pt x="16730" y="6716"/>
                      <a:pt x="16730" y="6716"/>
                      <a:pt x="16730" y="6716"/>
                    </a:cubicBezTo>
                    <a:lnTo>
                      <a:pt x="16885" y="6716"/>
                    </a:lnTo>
                    <a:lnTo>
                      <a:pt x="16627" y="6853"/>
                    </a:lnTo>
                    <a:lnTo>
                      <a:pt x="16627" y="6853"/>
                    </a:lnTo>
                    <a:cubicBezTo>
                      <a:pt x="16627" y="6853"/>
                      <a:pt x="16455" y="6853"/>
                      <a:pt x="16386" y="6991"/>
                    </a:cubicBezTo>
                    <a:cubicBezTo>
                      <a:pt x="16318" y="7128"/>
                      <a:pt x="16507" y="6991"/>
                      <a:pt x="16558" y="6991"/>
                    </a:cubicBezTo>
                    <a:cubicBezTo>
                      <a:pt x="16389" y="7066"/>
                      <a:pt x="16228" y="7158"/>
                      <a:pt x="16077" y="7266"/>
                    </a:cubicBezTo>
                    <a:lnTo>
                      <a:pt x="16077" y="7266"/>
                    </a:lnTo>
                    <a:lnTo>
                      <a:pt x="16077" y="7266"/>
                    </a:lnTo>
                    <a:cubicBezTo>
                      <a:pt x="16317" y="7116"/>
                      <a:pt x="16570" y="6989"/>
                      <a:pt x="16833" y="6888"/>
                    </a:cubicBezTo>
                    <a:lnTo>
                      <a:pt x="16833" y="6888"/>
                    </a:lnTo>
                    <a:cubicBezTo>
                      <a:pt x="16833" y="6888"/>
                      <a:pt x="16833" y="6888"/>
                      <a:pt x="16833" y="6888"/>
                    </a:cubicBezTo>
                    <a:lnTo>
                      <a:pt x="16833" y="6888"/>
                    </a:lnTo>
                    <a:lnTo>
                      <a:pt x="16936" y="6888"/>
                    </a:lnTo>
                    <a:lnTo>
                      <a:pt x="16833" y="6888"/>
                    </a:lnTo>
                    <a:cubicBezTo>
                      <a:pt x="16833" y="6888"/>
                      <a:pt x="16988" y="6785"/>
                      <a:pt x="17056" y="6785"/>
                    </a:cubicBezTo>
                    <a:lnTo>
                      <a:pt x="17056" y="6785"/>
                    </a:lnTo>
                    <a:cubicBezTo>
                      <a:pt x="17056" y="6785"/>
                      <a:pt x="17314" y="6682"/>
                      <a:pt x="17159" y="6785"/>
                    </a:cubicBezTo>
                    <a:lnTo>
                      <a:pt x="17039" y="6785"/>
                    </a:lnTo>
                    <a:cubicBezTo>
                      <a:pt x="17073" y="6775"/>
                      <a:pt x="17109" y="6775"/>
                      <a:pt x="17142" y="6785"/>
                    </a:cubicBezTo>
                    <a:lnTo>
                      <a:pt x="17022" y="6785"/>
                    </a:lnTo>
                    <a:lnTo>
                      <a:pt x="17022" y="6785"/>
                    </a:lnTo>
                    <a:cubicBezTo>
                      <a:pt x="17022" y="6785"/>
                      <a:pt x="17022" y="6785"/>
                      <a:pt x="16885" y="6785"/>
                    </a:cubicBezTo>
                    <a:cubicBezTo>
                      <a:pt x="16747" y="6785"/>
                      <a:pt x="17074" y="6785"/>
                      <a:pt x="17005" y="6785"/>
                    </a:cubicBezTo>
                    <a:cubicBezTo>
                      <a:pt x="17104" y="6745"/>
                      <a:pt x="17215" y="6745"/>
                      <a:pt x="17314" y="6785"/>
                    </a:cubicBezTo>
                    <a:lnTo>
                      <a:pt x="17314" y="6785"/>
                    </a:lnTo>
                    <a:cubicBezTo>
                      <a:pt x="17125" y="6922"/>
                      <a:pt x="16902" y="7025"/>
                      <a:pt x="16696" y="7145"/>
                    </a:cubicBezTo>
                    <a:lnTo>
                      <a:pt x="16696" y="7145"/>
                    </a:lnTo>
                    <a:lnTo>
                      <a:pt x="16696" y="7145"/>
                    </a:lnTo>
                    <a:lnTo>
                      <a:pt x="16696" y="7145"/>
                    </a:lnTo>
                    <a:cubicBezTo>
                      <a:pt x="16696" y="7145"/>
                      <a:pt x="16696" y="7145"/>
                      <a:pt x="16696" y="7145"/>
                    </a:cubicBezTo>
                    <a:lnTo>
                      <a:pt x="16696" y="7145"/>
                    </a:lnTo>
                    <a:lnTo>
                      <a:pt x="16696" y="7145"/>
                    </a:lnTo>
                    <a:lnTo>
                      <a:pt x="16455" y="7300"/>
                    </a:lnTo>
                    <a:lnTo>
                      <a:pt x="16455" y="7300"/>
                    </a:lnTo>
                    <a:cubicBezTo>
                      <a:pt x="16455" y="7300"/>
                      <a:pt x="16455" y="7300"/>
                      <a:pt x="16455" y="7386"/>
                    </a:cubicBezTo>
                    <a:lnTo>
                      <a:pt x="16610" y="7386"/>
                    </a:lnTo>
                    <a:lnTo>
                      <a:pt x="16610" y="7386"/>
                    </a:lnTo>
                    <a:lnTo>
                      <a:pt x="16610" y="7489"/>
                    </a:lnTo>
                    <a:cubicBezTo>
                      <a:pt x="16610" y="7489"/>
                      <a:pt x="16610" y="7489"/>
                      <a:pt x="16610" y="7489"/>
                    </a:cubicBezTo>
                    <a:lnTo>
                      <a:pt x="16610" y="7489"/>
                    </a:lnTo>
                    <a:cubicBezTo>
                      <a:pt x="16953" y="7266"/>
                      <a:pt x="16713" y="7489"/>
                      <a:pt x="16610" y="7592"/>
                    </a:cubicBezTo>
                    <a:cubicBezTo>
                      <a:pt x="16730" y="7592"/>
                      <a:pt x="16833" y="7386"/>
                      <a:pt x="16970" y="7334"/>
                    </a:cubicBezTo>
                    <a:lnTo>
                      <a:pt x="16970" y="7334"/>
                    </a:lnTo>
                    <a:cubicBezTo>
                      <a:pt x="16970" y="7334"/>
                      <a:pt x="17280" y="7145"/>
                      <a:pt x="17108" y="7334"/>
                    </a:cubicBezTo>
                    <a:lnTo>
                      <a:pt x="17245" y="7334"/>
                    </a:lnTo>
                    <a:lnTo>
                      <a:pt x="17142" y="7334"/>
                    </a:lnTo>
                    <a:cubicBezTo>
                      <a:pt x="17142" y="7334"/>
                      <a:pt x="17142" y="7334"/>
                      <a:pt x="17142" y="7334"/>
                    </a:cubicBezTo>
                    <a:cubicBezTo>
                      <a:pt x="17142" y="7334"/>
                      <a:pt x="17022" y="7334"/>
                      <a:pt x="16988" y="7437"/>
                    </a:cubicBezTo>
                    <a:lnTo>
                      <a:pt x="16988" y="7437"/>
                    </a:lnTo>
                    <a:cubicBezTo>
                      <a:pt x="16988" y="7437"/>
                      <a:pt x="16885" y="7437"/>
                      <a:pt x="16867" y="7437"/>
                    </a:cubicBezTo>
                    <a:cubicBezTo>
                      <a:pt x="17211" y="7317"/>
                      <a:pt x="16747" y="7437"/>
                      <a:pt x="16610" y="7575"/>
                    </a:cubicBezTo>
                    <a:lnTo>
                      <a:pt x="16610" y="7575"/>
                    </a:lnTo>
                    <a:lnTo>
                      <a:pt x="16421" y="7678"/>
                    </a:lnTo>
                    <a:lnTo>
                      <a:pt x="16421" y="7678"/>
                    </a:lnTo>
                    <a:lnTo>
                      <a:pt x="16283" y="7678"/>
                    </a:lnTo>
                    <a:cubicBezTo>
                      <a:pt x="16438" y="7678"/>
                      <a:pt x="16283" y="7678"/>
                      <a:pt x="16283" y="7678"/>
                    </a:cubicBezTo>
                    <a:lnTo>
                      <a:pt x="16283" y="7678"/>
                    </a:lnTo>
                    <a:lnTo>
                      <a:pt x="16129" y="7678"/>
                    </a:lnTo>
                    <a:lnTo>
                      <a:pt x="16129" y="7678"/>
                    </a:lnTo>
                    <a:lnTo>
                      <a:pt x="16129" y="7678"/>
                    </a:lnTo>
                    <a:lnTo>
                      <a:pt x="16129" y="7678"/>
                    </a:lnTo>
                    <a:cubicBezTo>
                      <a:pt x="16026" y="7678"/>
                      <a:pt x="15923" y="7833"/>
                      <a:pt x="15820" y="7867"/>
                    </a:cubicBezTo>
                    <a:cubicBezTo>
                      <a:pt x="15717" y="7901"/>
                      <a:pt x="15974" y="7764"/>
                      <a:pt x="16043" y="7747"/>
                    </a:cubicBezTo>
                    <a:cubicBezTo>
                      <a:pt x="16112" y="7729"/>
                      <a:pt x="16043" y="7747"/>
                      <a:pt x="16043" y="7747"/>
                    </a:cubicBezTo>
                    <a:cubicBezTo>
                      <a:pt x="16131" y="7705"/>
                      <a:pt x="16223" y="7670"/>
                      <a:pt x="16318" y="7644"/>
                    </a:cubicBezTo>
                    <a:lnTo>
                      <a:pt x="16198" y="7644"/>
                    </a:lnTo>
                    <a:cubicBezTo>
                      <a:pt x="16386" y="7558"/>
                      <a:pt x="16558" y="7420"/>
                      <a:pt x="16747" y="7352"/>
                    </a:cubicBezTo>
                    <a:lnTo>
                      <a:pt x="16747" y="7352"/>
                    </a:lnTo>
                    <a:lnTo>
                      <a:pt x="16747" y="7352"/>
                    </a:lnTo>
                    <a:cubicBezTo>
                      <a:pt x="16976" y="7288"/>
                      <a:pt x="17195" y="7196"/>
                      <a:pt x="17400" y="7077"/>
                    </a:cubicBezTo>
                    <a:cubicBezTo>
                      <a:pt x="17400" y="7077"/>
                      <a:pt x="17400" y="7077"/>
                      <a:pt x="17262" y="7077"/>
                    </a:cubicBezTo>
                    <a:lnTo>
                      <a:pt x="17262" y="7077"/>
                    </a:lnTo>
                    <a:cubicBezTo>
                      <a:pt x="17366" y="7077"/>
                      <a:pt x="17761" y="6836"/>
                      <a:pt x="17520" y="6991"/>
                    </a:cubicBezTo>
                    <a:cubicBezTo>
                      <a:pt x="17692" y="6991"/>
                      <a:pt x="17692" y="6819"/>
                      <a:pt x="17846" y="6768"/>
                    </a:cubicBezTo>
                    <a:cubicBezTo>
                      <a:pt x="17692" y="6768"/>
                      <a:pt x="17846" y="6768"/>
                      <a:pt x="17846" y="6768"/>
                    </a:cubicBezTo>
                    <a:lnTo>
                      <a:pt x="17846" y="6768"/>
                    </a:lnTo>
                    <a:cubicBezTo>
                      <a:pt x="18036" y="6628"/>
                      <a:pt x="18252" y="6528"/>
                      <a:pt x="18482" y="6476"/>
                    </a:cubicBezTo>
                    <a:lnTo>
                      <a:pt x="18482" y="6476"/>
                    </a:lnTo>
                    <a:cubicBezTo>
                      <a:pt x="18662" y="6364"/>
                      <a:pt x="18859" y="6282"/>
                      <a:pt x="19066" y="6235"/>
                    </a:cubicBezTo>
                    <a:lnTo>
                      <a:pt x="18911" y="6321"/>
                    </a:lnTo>
                    <a:cubicBezTo>
                      <a:pt x="19100" y="6321"/>
                      <a:pt x="19238" y="6149"/>
                      <a:pt x="19427" y="6115"/>
                    </a:cubicBezTo>
                    <a:lnTo>
                      <a:pt x="19238" y="6252"/>
                    </a:lnTo>
                    <a:cubicBezTo>
                      <a:pt x="20286" y="5617"/>
                      <a:pt x="22038" y="4998"/>
                      <a:pt x="20303" y="5909"/>
                    </a:cubicBezTo>
                    <a:cubicBezTo>
                      <a:pt x="20578" y="5823"/>
                      <a:pt x="21230" y="5411"/>
                      <a:pt x="21024" y="5651"/>
                    </a:cubicBezTo>
                    <a:cubicBezTo>
                      <a:pt x="21780" y="5393"/>
                      <a:pt x="20629" y="6012"/>
                      <a:pt x="20303" y="6149"/>
                    </a:cubicBezTo>
                    <a:cubicBezTo>
                      <a:pt x="20698" y="6012"/>
                      <a:pt x="20303" y="6149"/>
                      <a:pt x="20303" y="6149"/>
                    </a:cubicBezTo>
                    <a:cubicBezTo>
                      <a:pt x="20303" y="6149"/>
                      <a:pt x="20560" y="5977"/>
                      <a:pt x="20406" y="6149"/>
                    </a:cubicBezTo>
                    <a:cubicBezTo>
                      <a:pt x="20663" y="5857"/>
                      <a:pt x="20921" y="6149"/>
                      <a:pt x="20492" y="6235"/>
                    </a:cubicBezTo>
                    <a:cubicBezTo>
                      <a:pt x="20448" y="6218"/>
                      <a:pt x="20398" y="6218"/>
                      <a:pt x="20354" y="6235"/>
                    </a:cubicBezTo>
                    <a:cubicBezTo>
                      <a:pt x="20612" y="6235"/>
                      <a:pt x="20251" y="6321"/>
                      <a:pt x="20165" y="6355"/>
                    </a:cubicBezTo>
                    <a:cubicBezTo>
                      <a:pt x="20818" y="6149"/>
                      <a:pt x="19616" y="6647"/>
                      <a:pt x="20337" y="6355"/>
                    </a:cubicBezTo>
                    <a:cubicBezTo>
                      <a:pt x="19427" y="6750"/>
                      <a:pt x="20749" y="6355"/>
                      <a:pt x="19856" y="6716"/>
                    </a:cubicBezTo>
                    <a:cubicBezTo>
                      <a:pt x="19856" y="6819"/>
                      <a:pt x="19856" y="6716"/>
                      <a:pt x="20097" y="6716"/>
                    </a:cubicBezTo>
                    <a:cubicBezTo>
                      <a:pt x="19967" y="6814"/>
                      <a:pt x="19822" y="6889"/>
                      <a:pt x="19667" y="6939"/>
                    </a:cubicBezTo>
                    <a:cubicBezTo>
                      <a:pt x="19564" y="6939"/>
                      <a:pt x="20423" y="6939"/>
                      <a:pt x="19495" y="7145"/>
                    </a:cubicBezTo>
                    <a:cubicBezTo>
                      <a:pt x="19392" y="7145"/>
                      <a:pt x="19959" y="7145"/>
                      <a:pt x="19358" y="7266"/>
                    </a:cubicBezTo>
                    <a:cubicBezTo>
                      <a:pt x="19856" y="7094"/>
                      <a:pt x="19925" y="7266"/>
                      <a:pt x="19358" y="7352"/>
                    </a:cubicBezTo>
                    <a:cubicBezTo>
                      <a:pt x="19581" y="7541"/>
                      <a:pt x="19255" y="7592"/>
                      <a:pt x="19358" y="7523"/>
                    </a:cubicBezTo>
                    <a:cubicBezTo>
                      <a:pt x="19083" y="7523"/>
                      <a:pt x="19358" y="7747"/>
                      <a:pt x="19049" y="7626"/>
                    </a:cubicBezTo>
                    <a:cubicBezTo>
                      <a:pt x="18860" y="7953"/>
                      <a:pt x="19186" y="7764"/>
                      <a:pt x="18860" y="7918"/>
                    </a:cubicBezTo>
                    <a:cubicBezTo>
                      <a:pt x="19118" y="7833"/>
                      <a:pt x="18654" y="8193"/>
                      <a:pt x="18860" y="8039"/>
                    </a:cubicBezTo>
                    <a:cubicBezTo>
                      <a:pt x="18534" y="8365"/>
                      <a:pt x="19152" y="7850"/>
                      <a:pt x="18705" y="8399"/>
                    </a:cubicBezTo>
                    <a:cubicBezTo>
                      <a:pt x="18482" y="8520"/>
                      <a:pt x="19066" y="8399"/>
                      <a:pt x="18551" y="8588"/>
                    </a:cubicBezTo>
                    <a:cubicBezTo>
                      <a:pt x="18929" y="8434"/>
                      <a:pt x="18637" y="8966"/>
                      <a:pt x="18396" y="8829"/>
                    </a:cubicBezTo>
                    <a:cubicBezTo>
                      <a:pt x="18396" y="8966"/>
                      <a:pt x="18242" y="9069"/>
                      <a:pt x="18190" y="8966"/>
                    </a:cubicBezTo>
                    <a:cubicBezTo>
                      <a:pt x="18138" y="8863"/>
                      <a:pt x="18018" y="9155"/>
                      <a:pt x="18190" y="8966"/>
                    </a:cubicBezTo>
                    <a:cubicBezTo>
                      <a:pt x="18362" y="8777"/>
                      <a:pt x="17692" y="9447"/>
                      <a:pt x="17846" y="9155"/>
                    </a:cubicBezTo>
                    <a:cubicBezTo>
                      <a:pt x="17709" y="8966"/>
                      <a:pt x="18173" y="8709"/>
                      <a:pt x="18224" y="8605"/>
                    </a:cubicBezTo>
                    <a:cubicBezTo>
                      <a:pt x="17915" y="8777"/>
                      <a:pt x="18104" y="8605"/>
                      <a:pt x="18224" y="8434"/>
                    </a:cubicBezTo>
                    <a:cubicBezTo>
                      <a:pt x="18345" y="8262"/>
                      <a:pt x="17967" y="8640"/>
                      <a:pt x="18053" y="8434"/>
                    </a:cubicBezTo>
                    <a:cubicBezTo>
                      <a:pt x="17761" y="8709"/>
                      <a:pt x="17589" y="8743"/>
                      <a:pt x="17486" y="9155"/>
                    </a:cubicBezTo>
                    <a:cubicBezTo>
                      <a:pt x="17383" y="9567"/>
                      <a:pt x="16816" y="10065"/>
                      <a:pt x="16747" y="9842"/>
                    </a:cubicBezTo>
                    <a:cubicBezTo>
                      <a:pt x="16678" y="9619"/>
                      <a:pt x="16867" y="9722"/>
                      <a:pt x="16747" y="9396"/>
                    </a:cubicBezTo>
                    <a:cubicBezTo>
                      <a:pt x="16524" y="9791"/>
                      <a:pt x="16524" y="10306"/>
                      <a:pt x="16524" y="10306"/>
                    </a:cubicBezTo>
                    <a:cubicBezTo>
                      <a:pt x="15820" y="10461"/>
                      <a:pt x="16644" y="9104"/>
                      <a:pt x="16799" y="9069"/>
                    </a:cubicBezTo>
                    <a:cubicBezTo>
                      <a:pt x="16524" y="9172"/>
                      <a:pt x="16799" y="9069"/>
                      <a:pt x="16558" y="9069"/>
                    </a:cubicBezTo>
                    <a:cubicBezTo>
                      <a:pt x="16678" y="8897"/>
                      <a:pt x="16386" y="9155"/>
                      <a:pt x="16301" y="9069"/>
                    </a:cubicBezTo>
                    <a:cubicBezTo>
                      <a:pt x="16215" y="8983"/>
                      <a:pt x="17005" y="8382"/>
                      <a:pt x="16850" y="8794"/>
                    </a:cubicBezTo>
                    <a:cubicBezTo>
                      <a:pt x="18310" y="8485"/>
                      <a:pt x="19203" y="7077"/>
                      <a:pt x="19530" y="6733"/>
                    </a:cubicBezTo>
                    <a:cubicBezTo>
                      <a:pt x="19032" y="7145"/>
                      <a:pt x="19169" y="6733"/>
                      <a:pt x="18980" y="6733"/>
                    </a:cubicBezTo>
                    <a:cubicBezTo>
                      <a:pt x="18791" y="6733"/>
                      <a:pt x="19238" y="6579"/>
                      <a:pt x="18980" y="6561"/>
                    </a:cubicBezTo>
                    <a:cubicBezTo>
                      <a:pt x="19203" y="6321"/>
                      <a:pt x="18980" y="6561"/>
                      <a:pt x="18980" y="6373"/>
                    </a:cubicBezTo>
                    <a:lnTo>
                      <a:pt x="19083" y="6373"/>
                    </a:lnTo>
                    <a:lnTo>
                      <a:pt x="18929" y="6458"/>
                    </a:lnTo>
                    <a:cubicBezTo>
                      <a:pt x="18671" y="6579"/>
                      <a:pt x="18430" y="6733"/>
                      <a:pt x="18173" y="6871"/>
                    </a:cubicBezTo>
                    <a:lnTo>
                      <a:pt x="18173" y="6871"/>
                    </a:lnTo>
                    <a:lnTo>
                      <a:pt x="18293" y="6871"/>
                    </a:lnTo>
                    <a:lnTo>
                      <a:pt x="18242" y="6871"/>
                    </a:lnTo>
                    <a:lnTo>
                      <a:pt x="18242" y="6871"/>
                    </a:lnTo>
                    <a:cubicBezTo>
                      <a:pt x="18242" y="6957"/>
                      <a:pt x="17984" y="6871"/>
                      <a:pt x="17898" y="7025"/>
                    </a:cubicBezTo>
                    <a:lnTo>
                      <a:pt x="17898" y="7025"/>
                    </a:lnTo>
                    <a:lnTo>
                      <a:pt x="17898" y="7025"/>
                    </a:lnTo>
                    <a:lnTo>
                      <a:pt x="18001" y="7025"/>
                    </a:lnTo>
                    <a:cubicBezTo>
                      <a:pt x="18001" y="7025"/>
                      <a:pt x="18001" y="7025"/>
                      <a:pt x="18001" y="7025"/>
                    </a:cubicBezTo>
                    <a:lnTo>
                      <a:pt x="18001" y="7025"/>
                    </a:lnTo>
                    <a:cubicBezTo>
                      <a:pt x="18001" y="7025"/>
                      <a:pt x="17881" y="7025"/>
                      <a:pt x="17829" y="7025"/>
                    </a:cubicBezTo>
                    <a:lnTo>
                      <a:pt x="17829" y="7025"/>
                    </a:lnTo>
                    <a:lnTo>
                      <a:pt x="17829" y="7025"/>
                    </a:lnTo>
                    <a:cubicBezTo>
                      <a:pt x="17623" y="7180"/>
                      <a:pt x="17400" y="7300"/>
                      <a:pt x="17177" y="7437"/>
                    </a:cubicBezTo>
                    <a:lnTo>
                      <a:pt x="17434" y="7334"/>
                    </a:lnTo>
                    <a:lnTo>
                      <a:pt x="17434" y="7334"/>
                    </a:lnTo>
                    <a:lnTo>
                      <a:pt x="17864" y="7111"/>
                    </a:lnTo>
                    <a:cubicBezTo>
                      <a:pt x="17702" y="7258"/>
                      <a:pt x="17523" y="7385"/>
                      <a:pt x="17331" y="7489"/>
                    </a:cubicBezTo>
                    <a:lnTo>
                      <a:pt x="17331" y="7489"/>
                    </a:lnTo>
                    <a:cubicBezTo>
                      <a:pt x="17075" y="7607"/>
                      <a:pt x="16843" y="7770"/>
                      <a:pt x="16644" y="7970"/>
                    </a:cubicBezTo>
                    <a:cubicBezTo>
                      <a:pt x="16644" y="7970"/>
                      <a:pt x="16747" y="7884"/>
                      <a:pt x="16799" y="7884"/>
                    </a:cubicBezTo>
                    <a:lnTo>
                      <a:pt x="16799" y="7884"/>
                    </a:lnTo>
                    <a:lnTo>
                      <a:pt x="17675" y="7437"/>
                    </a:lnTo>
                    <a:lnTo>
                      <a:pt x="17675" y="7437"/>
                    </a:lnTo>
                    <a:lnTo>
                      <a:pt x="17675" y="7437"/>
                    </a:lnTo>
                    <a:cubicBezTo>
                      <a:pt x="17675" y="7437"/>
                      <a:pt x="17675" y="7334"/>
                      <a:pt x="17812" y="7352"/>
                    </a:cubicBezTo>
                    <a:lnTo>
                      <a:pt x="17812" y="7352"/>
                    </a:lnTo>
                    <a:cubicBezTo>
                      <a:pt x="17812" y="7352"/>
                      <a:pt x="17812" y="7352"/>
                      <a:pt x="17932" y="7352"/>
                    </a:cubicBezTo>
                    <a:lnTo>
                      <a:pt x="17932" y="7352"/>
                    </a:lnTo>
                    <a:lnTo>
                      <a:pt x="18362" y="7111"/>
                    </a:lnTo>
                    <a:cubicBezTo>
                      <a:pt x="18362" y="7111"/>
                      <a:pt x="18362" y="7111"/>
                      <a:pt x="18362" y="7266"/>
                    </a:cubicBezTo>
                    <a:lnTo>
                      <a:pt x="18362" y="7266"/>
                    </a:lnTo>
                    <a:cubicBezTo>
                      <a:pt x="18341" y="7321"/>
                      <a:pt x="18297" y="7365"/>
                      <a:pt x="18242" y="7386"/>
                    </a:cubicBezTo>
                    <a:cubicBezTo>
                      <a:pt x="18242" y="7300"/>
                      <a:pt x="18242" y="7472"/>
                      <a:pt x="18104" y="7489"/>
                    </a:cubicBezTo>
                    <a:cubicBezTo>
                      <a:pt x="17967" y="7506"/>
                      <a:pt x="17967" y="7626"/>
                      <a:pt x="17898" y="7626"/>
                    </a:cubicBezTo>
                    <a:cubicBezTo>
                      <a:pt x="17829" y="7626"/>
                      <a:pt x="17898" y="7626"/>
                      <a:pt x="17898" y="7626"/>
                    </a:cubicBezTo>
                    <a:lnTo>
                      <a:pt x="17898" y="7626"/>
                    </a:lnTo>
                    <a:cubicBezTo>
                      <a:pt x="17898" y="7626"/>
                      <a:pt x="17606" y="7764"/>
                      <a:pt x="17692" y="7626"/>
                    </a:cubicBezTo>
                    <a:lnTo>
                      <a:pt x="17692" y="7626"/>
                    </a:lnTo>
                    <a:cubicBezTo>
                      <a:pt x="17692" y="7626"/>
                      <a:pt x="17692" y="7712"/>
                      <a:pt x="17537" y="7729"/>
                    </a:cubicBezTo>
                    <a:lnTo>
                      <a:pt x="17537" y="7729"/>
                    </a:lnTo>
                    <a:cubicBezTo>
                      <a:pt x="17537" y="7729"/>
                      <a:pt x="17417" y="7729"/>
                      <a:pt x="17537" y="7729"/>
                    </a:cubicBezTo>
                    <a:cubicBezTo>
                      <a:pt x="17222" y="8004"/>
                      <a:pt x="16845" y="8199"/>
                      <a:pt x="16438" y="8296"/>
                    </a:cubicBezTo>
                    <a:cubicBezTo>
                      <a:pt x="16466" y="8278"/>
                      <a:pt x="16495" y="8261"/>
                      <a:pt x="16524" y="8245"/>
                    </a:cubicBezTo>
                    <a:lnTo>
                      <a:pt x="16524" y="8245"/>
                    </a:lnTo>
                    <a:lnTo>
                      <a:pt x="16661" y="8125"/>
                    </a:lnTo>
                    <a:lnTo>
                      <a:pt x="16661" y="8125"/>
                    </a:lnTo>
                    <a:cubicBezTo>
                      <a:pt x="16661" y="8125"/>
                      <a:pt x="16490" y="8210"/>
                      <a:pt x="16661" y="8125"/>
                    </a:cubicBezTo>
                    <a:cubicBezTo>
                      <a:pt x="16557" y="8250"/>
                      <a:pt x="16436" y="8360"/>
                      <a:pt x="16301" y="8451"/>
                    </a:cubicBezTo>
                    <a:lnTo>
                      <a:pt x="16404" y="8296"/>
                    </a:lnTo>
                    <a:cubicBezTo>
                      <a:pt x="16404" y="8296"/>
                      <a:pt x="16404" y="8382"/>
                      <a:pt x="16283" y="8399"/>
                    </a:cubicBezTo>
                    <a:cubicBezTo>
                      <a:pt x="16163" y="8417"/>
                      <a:pt x="16283" y="8399"/>
                      <a:pt x="16283" y="8399"/>
                    </a:cubicBezTo>
                    <a:lnTo>
                      <a:pt x="16283" y="8399"/>
                    </a:lnTo>
                    <a:lnTo>
                      <a:pt x="16438" y="8279"/>
                    </a:lnTo>
                    <a:cubicBezTo>
                      <a:pt x="16438" y="8279"/>
                      <a:pt x="16335" y="8279"/>
                      <a:pt x="16438" y="8279"/>
                    </a:cubicBezTo>
                    <a:lnTo>
                      <a:pt x="16438" y="8279"/>
                    </a:lnTo>
                    <a:lnTo>
                      <a:pt x="16438" y="8279"/>
                    </a:lnTo>
                    <a:cubicBezTo>
                      <a:pt x="16260" y="8438"/>
                      <a:pt x="16057" y="8566"/>
                      <a:pt x="15837" y="8657"/>
                    </a:cubicBezTo>
                    <a:lnTo>
                      <a:pt x="15837" y="8657"/>
                    </a:lnTo>
                    <a:cubicBezTo>
                      <a:pt x="15510" y="8846"/>
                      <a:pt x="15837" y="8520"/>
                      <a:pt x="15837" y="8365"/>
                    </a:cubicBezTo>
                    <a:cubicBezTo>
                      <a:pt x="15545" y="8537"/>
                      <a:pt x="15614" y="8846"/>
                      <a:pt x="15287" y="8932"/>
                    </a:cubicBezTo>
                    <a:lnTo>
                      <a:pt x="15287" y="8932"/>
                    </a:lnTo>
                    <a:lnTo>
                      <a:pt x="14841" y="9138"/>
                    </a:lnTo>
                    <a:cubicBezTo>
                      <a:pt x="14841" y="9138"/>
                      <a:pt x="14841" y="9138"/>
                      <a:pt x="14841" y="9138"/>
                    </a:cubicBezTo>
                    <a:lnTo>
                      <a:pt x="14841" y="9138"/>
                    </a:lnTo>
                    <a:lnTo>
                      <a:pt x="14841" y="9138"/>
                    </a:lnTo>
                    <a:cubicBezTo>
                      <a:pt x="14841" y="9138"/>
                      <a:pt x="14841" y="9138"/>
                      <a:pt x="14961" y="9035"/>
                    </a:cubicBezTo>
                    <a:cubicBezTo>
                      <a:pt x="15081" y="8932"/>
                      <a:pt x="14841" y="9035"/>
                      <a:pt x="14806" y="9121"/>
                    </a:cubicBezTo>
                    <a:cubicBezTo>
                      <a:pt x="14849" y="9096"/>
                      <a:pt x="14884" y="9060"/>
                      <a:pt x="14909" y="9018"/>
                    </a:cubicBezTo>
                    <a:cubicBezTo>
                      <a:pt x="14909" y="9018"/>
                      <a:pt x="14514" y="9344"/>
                      <a:pt x="14686" y="9138"/>
                    </a:cubicBezTo>
                    <a:lnTo>
                      <a:pt x="14531" y="9258"/>
                    </a:lnTo>
                    <a:cubicBezTo>
                      <a:pt x="14601" y="9111"/>
                      <a:pt x="14687" y="8973"/>
                      <a:pt x="14789" y="8846"/>
                    </a:cubicBezTo>
                    <a:lnTo>
                      <a:pt x="14789" y="8846"/>
                    </a:lnTo>
                    <a:lnTo>
                      <a:pt x="14789" y="8846"/>
                    </a:lnTo>
                    <a:lnTo>
                      <a:pt x="14703" y="8949"/>
                    </a:lnTo>
                    <a:cubicBezTo>
                      <a:pt x="14909" y="8794"/>
                      <a:pt x="14600" y="9138"/>
                      <a:pt x="14549" y="9121"/>
                    </a:cubicBezTo>
                    <a:lnTo>
                      <a:pt x="14686" y="9121"/>
                    </a:lnTo>
                    <a:cubicBezTo>
                      <a:pt x="14549" y="9361"/>
                      <a:pt x="13999" y="9653"/>
                      <a:pt x="14411" y="9121"/>
                    </a:cubicBezTo>
                    <a:cubicBezTo>
                      <a:pt x="14274" y="9207"/>
                      <a:pt x="14205" y="9361"/>
                      <a:pt x="14085" y="9447"/>
                    </a:cubicBezTo>
                    <a:lnTo>
                      <a:pt x="14085" y="9447"/>
                    </a:lnTo>
                    <a:lnTo>
                      <a:pt x="14085" y="9447"/>
                    </a:lnTo>
                    <a:lnTo>
                      <a:pt x="14085" y="9447"/>
                    </a:lnTo>
                    <a:lnTo>
                      <a:pt x="13930" y="9585"/>
                    </a:lnTo>
                    <a:cubicBezTo>
                      <a:pt x="13930" y="9585"/>
                      <a:pt x="13930" y="9585"/>
                      <a:pt x="13930" y="9585"/>
                    </a:cubicBezTo>
                    <a:cubicBezTo>
                      <a:pt x="13930" y="9585"/>
                      <a:pt x="13810" y="9585"/>
                      <a:pt x="13776" y="9585"/>
                    </a:cubicBezTo>
                    <a:cubicBezTo>
                      <a:pt x="13741" y="9585"/>
                      <a:pt x="13260" y="9911"/>
                      <a:pt x="13123" y="9945"/>
                    </a:cubicBezTo>
                    <a:lnTo>
                      <a:pt x="13123" y="9945"/>
                    </a:lnTo>
                    <a:cubicBezTo>
                      <a:pt x="12737" y="10291"/>
                      <a:pt x="12330" y="10612"/>
                      <a:pt x="11903" y="10907"/>
                    </a:cubicBezTo>
                    <a:cubicBezTo>
                      <a:pt x="12900" y="10254"/>
                      <a:pt x="11749" y="11405"/>
                      <a:pt x="11525" y="11405"/>
                    </a:cubicBezTo>
                    <a:cubicBezTo>
                      <a:pt x="11972" y="11405"/>
                      <a:pt x="11732" y="11783"/>
                      <a:pt x="11525" y="12092"/>
                    </a:cubicBezTo>
                    <a:lnTo>
                      <a:pt x="11525" y="12092"/>
                    </a:lnTo>
                    <a:cubicBezTo>
                      <a:pt x="11512" y="12253"/>
                      <a:pt x="11471" y="12409"/>
                      <a:pt x="11405" y="12556"/>
                    </a:cubicBezTo>
                    <a:cubicBezTo>
                      <a:pt x="11525" y="12556"/>
                      <a:pt x="11508" y="12693"/>
                      <a:pt x="11629" y="12693"/>
                    </a:cubicBezTo>
                    <a:lnTo>
                      <a:pt x="11629" y="12693"/>
                    </a:lnTo>
                    <a:cubicBezTo>
                      <a:pt x="11143" y="13178"/>
                      <a:pt x="10727" y="13727"/>
                      <a:pt x="10392" y="14325"/>
                    </a:cubicBezTo>
                    <a:cubicBezTo>
                      <a:pt x="10598" y="14325"/>
                      <a:pt x="10546" y="14325"/>
                      <a:pt x="10753" y="14188"/>
                    </a:cubicBezTo>
                    <a:cubicBezTo>
                      <a:pt x="10753" y="14274"/>
                      <a:pt x="10546" y="14445"/>
                      <a:pt x="10649" y="14514"/>
                    </a:cubicBezTo>
                    <a:cubicBezTo>
                      <a:pt x="11067" y="13670"/>
                      <a:pt x="11757" y="12992"/>
                      <a:pt x="12608" y="12590"/>
                    </a:cubicBezTo>
                    <a:cubicBezTo>
                      <a:pt x="13106" y="12024"/>
                      <a:pt x="13484" y="11337"/>
                      <a:pt x="13999" y="11148"/>
                    </a:cubicBezTo>
                    <a:lnTo>
                      <a:pt x="13999" y="11148"/>
                    </a:lnTo>
                    <a:cubicBezTo>
                      <a:pt x="14085" y="11148"/>
                      <a:pt x="14119" y="10976"/>
                      <a:pt x="14205" y="10976"/>
                    </a:cubicBezTo>
                    <a:cubicBezTo>
                      <a:pt x="14291" y="10976"/>
                      <a:pt x="14205" y="10873"/>
                      <a:pt x="14325" y="10856"/>
                    </a:cubicBezTo>
                    <a:cubicBezTo>
                      <a:pt x="14446" y="10838"/>
                      <a:pt x="15493" y="9808"/>
                      <a:pt x="15081" y="10409"/>
                    </a:cubicBezTo>
                    <a:cubicBezTo>
                      <a:pt x="15081" y="10409"/>
                      <a:pt x="15253" y="10409"/>
                      <a:pt x="15201" y="10409"/>
                    </a:cubicBezTo>
                    <a:lnTo>
                      <a:pt x="15201" y="10409"/>
                    </a:lnTo>
                    <a:cubicBezTo>
                      <a:pt x="15510" y="10409"/>
                      <a:pt x="15201" y="10409"/>
                      <a:pt x="15304" y="10564"/>
                    </a:cubicBezTo>
                    <a:cubicBezTo>
                      <a:pt x="15407" y="10718"/>
                      <a:pt x="15201" y="10649"/>
                      <a:pt x="15167" y="10701"/>
                    </a:cubicBezTo>
                    <a:lnTo>
                      <a:pt x="15167" y="10701"/>
                    </a:lnTo>
                    <a:cubicBezTo>
                      <a:pt x="15167" y="10701"/>
                      <a:pt x="15167" y="10804"/>
                      <a:pt x="15167" y="10856"/>
                    </a:cubicBezTo>
                    <a:lnTo>
                      <a:pt x="15167" y="10856"/>
                    </a:lnTo>
                    <a:cubicBezTo>
                      <a:pt x="15167" y="10856"/>
                      <a:pt x="15167" y="10941"/>
                      <a:pt x="15167" y="10941"/>
                    </a:cubicBezTo>
                    <a:lnTo>
                      <a:pt x="15167" y="10941"/>
                    </a:lnTo>
                    <a:cubicBezTo>
                      <a:pt x="15167" y="10941"/>
                      <a:pt x="15167" y="11027"/>
                      <a:pt x="15047" y="11079"/>
                    </a:cubicBezTo>
                    <a:lnTo>
                      <a:pt x="15047" y="11079"/>
                    </a:lnTo>
                    <a:lnTo>
                      <a:pt x="15047" y="11079"/>
                    </a:lnTo>
                    <a:lnTo>
                      <a:pt x="15047" y="11079"/>
                    </a:lnTo>
                    <a:lnTo>
                      <a:pt x="15047" y="11079"/>
                    </a:lnTo>
                    <a:lnTo>
                      <a:pt x="15047" y="11079"/>
                    </a:lnTo>
                    <a:cubicBezTo>
                      <a:pt x="15201" y="11079"/>
                      <a:pt x="15047" y="11165"/>
                      <a:pt x="15047" y="11216"/>
                    </a:cubicBezTo>
                    <a:cubicBezTo>
                      <a:pt x="15047" y="11268"/>
                      <a:pt x="15150" y="11113"/>
                      <a:pt x="15201" y="11130"/>
                    </a:cubicBezTo>
                    <a:cubicBezTo>
                      <a:pt x="15253" y="11148"/>
                      <a:pt x="14909" y="11337"/>
                      <a:pt x="14789" y="11508"/>
                    </a:cubicBezTo>
                    <a:lnTo>
                      <a:pt x="14789" y="11508"/>
                    </a:lnTo>
                    <a:cubicBezTo>
                      <a:pt x="14789" y="11508"/>
                      <a:pt x="14652" y="11629"/>
                      <a:pt x="14583" y="11508"/>
                    </a:cubicBezTo>
                    <a:cubicBezTo>
                      <a:pt x="14772" y="11680"/>
                      <a:pt x="14308" y="12041"/>
                      <a:pt x="14325" y="11989"/>
                    </a:cubicBezTo>
                    <a:cubicBezTo>
                      <a:pt x="14342" y="11938"/>
                      <a:pt x="14325" y="12144"/>
                      <a:pt x="14325" y="11989"/>
                    </a:cubicBezTo>
                    <a:cubicBezTo>
                      <a:pt x="14325" y="11835"/>
                      <a:pt x="14119" y="12264"/>
                      <a:pt x="14016" y="12367"/>
                    </a:cubicBezTo>
                    <a:cubicBezTo>
                      <a:pt x="14291" y="12178"/>
                      <a:pt x="14360" y="12144"/>
                      <a:pt x="14016" y="12367"/>
                    </a:cubicBezTo>
                    <a:cubicBezTo>
                      <a:pt x="14016" y="12367"/>
                      <a:pt x="14308" y="12127"/>
                      <a:pt x="14308" y="12230"/>
                    </a:cubicBezTo>
                    <a:cubicBezTo>
                      <a:pt x="14308" y="12333"/>
                      <a:pt x="14463" y="12109"/>
                      <a:pt x="14549" y="12075"/>
                    </a:cubicBezTo>
                    <a:cubicBezTo>
                      <a:pt x="14564" y="12131"/>
                      <a:pt x="14564" y="12191"/>
                      <a:pt x="14549" y="12247"/>
                    </a:cubicBezTo>
                    <a:cubicBezTo>
                      <a:pt x="14549" y="12161"/>
                      <a:pt x="14961" y="11800"/>
                      <a:pt x="14995" y="11921"/>
                    </a:cubicBezTo>
                    <a:cubicBezTo>
                      <a:pt x="15030" y="12041"/>
                      <a:pt x="14995" y="11921"/>
                      <a:pt x="14995" y="11921"/>
                    </a:cubicBezTo>
                    <a:cubicBezTo>
                      <a:pt x="14995" y="11921"/>
                      <a:pt x="14995" y="11817"/>
                      <a:pt x="15133" y="11817"/>
                    </a:cubicBezTo>
                    <a:lnTo>
                      <a:pt x="15133" y="11817"/>
                    </a:lnTo>
                    <a:cubicBezTo>
                      <a:pt x="15133" y="11732"/>
                      <a:pt x="15579" y="11457"/>
                      <a:pt x="15442" y="11577"/>
                    </a:cubicBezTo>
                    <a:lnTo>
                      <a:pt x="15442" y="11577"/>
                    </a:lnTo>
                    <a:cubicBezTo>
                      <a:pt x="15442" y="11577"/>
                      <a:pt x="15442" y="11697"/>
                      <a:pt x="15322" y="11697"/>
                    </a:cubicBezTo>
                    <a:cubicBezTo>
                      <a:pt x="15201" y="11697"/>
                      <a:pt x="15322" y="11697"/>
                      <a:pt x="15322" y="11783"/>
                    </a:cubicBezTo>
                    <a:lnTo>
                      <a:pt x="15322" y="11783"/>
                    </a:lnTo>
                    <a:cubicBezTo>
                      <a:pt x="15218" y="11783"/>
                      <a:pt x="15322" y="11955"/>
                      <a:pt x="15150" y="12006"/>
                    </a:cubicBezTo>
                    <a:cubicBezTo>
                      <a:pt x="14978" y="12058"/>
                      <a:pt x="15150" y="12127"/>
                      <a:pt x="15150" y="12006"/>
                    </a:cubicBezTo>
                    <a:cubicBezTo>
                      <a:pt x="15150" y="11886"/>
                      <a:pt x="14789" y="12161"/>
                      <a:pt x="15150" y="12144"/>
                    </a:cubicBezTo>
                    <a:cubicBezTo>
                      <a:pt x="15510" y="12127"/>
                      <a:pt x="14961" y="12298"/>
                      <a:pt x="15150" y="12247"/>
                    </a:cubicBezTo>
                    <a:cubicBezTo>
                      <a:pt x="15339" y="12195"/>
                      <a:pt x="14995" y="12419"/>
                      <a:pt x="14978" y="12247"/>
                    </a:cubicBezTo>
                    <a:cubicBezTo>
                      <a:pt x="14961" y="12075"/>
                      <a:pt x="14978" y="12333"/>
                      <a:pt x="14978" y="12350"/>
                    </a:cubicBezTo>
                    <a:cubicBezTo>
                      <a:pt x="14978" y="12367"/>
                      <a:pt x="15098" y="12350"/>
                      <a:pt x="15150" y="12350"/>
                    </a:cubicBezTo>
                    <a:cubicBezTo>
                      <a:pt x="15201" y="12350"/>
                      <a:pt x="14961" y="12350"/>
                      <a:pt x="14892" y="12505"/>
                    </a:cubicBezTo>
                    <a:cubicBezTo>
                      <a:pt x="15133" y="12505"/>
                      <a:pt x="15047" y="12505"/>
                      <a:pt x="14892" y="12608"/>
                    </a:cubicBezTo>
                    <a:cubicBezTo>
                      <a:pt x="14738" y="12711"/>
                      <a:pt x="14892" y="12608"/>
                      <a:pt x="14995" y="12608"/>
                    </a:cubicBezTo>
                    <a:cubicBezTo>
                      <a:pt x="15011" y="12682"/>
                      <a:pt x="14963" y="12755"/>
                      <a:pt x="14889" y="12770"/>
                    </a:cubicBezTo>
                    <a:cubicBezTo>
                      <a:pt x="14861" y="12776"/>
                      <a:pt x="14832" y="12773"/>
                      <a:pt x="14806" y="12762"/>
                    </a:cubicBezTo>
                    <a:cubicBezTo>
                      <a:pt x="14806" y="12762"/>
                      <a:pt x="14961" y="12848"/>
                      <a:pt x="14806" y="12917"/>
                    </a:cubicBezTo>
                    <a:cubicBezTo>
                      <a:pt x="14995" y="13020"/>
                      <a:pt x="14600" y="13157"/>
                      <a:pt x="14566" y="13089"/>
                    </a:cubicBezTo>
                    <a:cubicBezTo>
                      <a:pt x="14531" y="13020"/>
                      <a:pt x="14566" y="13363"/>
                      <a:pt x="14411" y="13312"/>
                    </a:cubicBezTo>
                    <a:cubicBezTo>
                      <a:pt x="14257" y="13260"/>
                      <a:pt x="14669" y="13312"/>
                      <a:pt x="14531" y="13415"/>
                    </a:cubicBezTo>
                    <a:cubicBezTo>
                      <a:pt x="14394" y="13518"/>
                      <a:pt x="14531" y="13415"/>
                      <a:pt x="14531" y="13501"/>
                    </a:cubicBezTo>
                    <a:cubicBezTo>
                      <a:pt x="14531" y="13587"/>
                      <a:pt x="14531" y="13501"/>
                      <a:pt x="14531" y="13621"/>
                    </a:cubicBezTo>
                    <a:lnTo>
                      <a:pt x="14634" y="13621"/>
                    </a:lnTo>
                    <a:cubicBezTo>
                      <a:pt x="14634" y="13707"/>
                      <a:pt x="14428" y="13879"/>
                      <a:pt x="14325" y="13844"/>
                    </a:cubicBezTo>
                    <a:cubicBezTo>
                      <a:pt x="14222" y="13810"/>
                      <a:pt x="14480" y="13844"/>
                      <a:pt x="14549" y="13844"/>
                    </a:cubicBezTo>
                    <a:cubicBezTo>
                      <a:pt x="14325" y="14050"/>
                      <a:pt x="14549" y="13844"/>
                      <a:pt x="14549" y="13844"/>
                    </a:cubicBezTo>
                    <a:cubicBezTo>
                      <a:pt x="14549" y="13844"/>
                      <a:pt x="14549" y="13844"/>
                      <a:pt x="14394" y="13999"/>
                    </a:cubicBezTo>
                    <a:cubicBezTo>
                      <a:pt x="14394" y="13999"/>
                      <a:pt x="14686" y="13810"/>
                      <a:pt x="14549" y="13999"/>
                    </a:cubicBezTo>
                    <a:lnTo>
                      <a:pt x="14549" y="13999"/>
                    </a:lnTo>
                    <a:cubicBezTo>
                      <a:pt x="14549" y="13999"/>
                      <a:pt x="14463" y="14102"/>
                      <a:pt x="14446" y="14153"/>
                    </a:cubicBezTo>
                    <a:cubicBezTo>
                      <a:pt x="14428" y="14205"/>
                      <a:pt x="14755" y="14153"/>
                      <a:pt x="14549" y="14153"/>
                    </a:cubicBezTo>
                    <a:cubicBezTo>
                      <a:pt x="14806" y="14342"/>
                      <a:pt x="14205" y="14239"/>
                      <a:pt x="14119" y="14360"/>
                    </a:cubicBezTo>
                    <a:cubicBezTo>
                      <a:pt x="14566" y="14360"/>
                      <a:pt x="13982" y="14360"/>
                      <a:pt x="13896" y="14497"/>
                    </a:cubicBezTo>
                    <a:cubicBezTo>
                      <a:pt x="13870" y="14437"/>
                      <a:pt x="13870" y="14368"/>
                      <a:pt x="13896" y="14308"/>
                    </a:cubicBezTo>
                    <a:cubicBezTo>
                      <a:pt x="13896" y="14445"/>
                      <a:pt x="13896" y="14531"/>
                      <a:pt x="13793" y="14634"/>
                    </a:cubicBezTo>
                    <a:cubicBezTo>
                      <a:pt x="13982" y="14634"/>
                      <a:pt x="14188" y="14342"/>
                      <a:pt x="14428" y="14411"/>
                    </a:cubicBezTo>
                    <a:cubicBezTo>
                      <a:pt x="14308" y="14257"/>
                      <a:pt x="14806" y="14411"/>
                      <a:pt x="14428" y="14617"/>
                    </a:cubicBezTo>
                    <a:cubicBezTo>
                      <a:pt x="14428" y="14617"/>
                      <a:pt x="14428" y="14617"/>
                      <a:pt x="14428" y="14617"/>
                    </a:cubicBezTo>
                    <a:cubicBezTo>
                      <a:pt x="14428" y="14617"/>
                      <a:pt x="14703" y="14463"/>
                      <a:pt x="14566" y="14617"/>
                    </a:cubicBezTo>
                    <a:cubicBezTo>
                      <a:pt x="14428" y="14772"/>
                      <a:pt x="14669" y="14617"/>
                      <a:pt x="14652" y="14617"/>
                    </a:cubicBezTo>
                    <a:cubicBezTo>
                      <a:pt x="14634" y="14617"/>
                      <a:pt x="14652" y="14789"/>
                      <a:pt x="14497" y="14772"/>
                    </a:cubicBezTo>
                    <a:cubicBezTo>
                      <a:pt x="14600" y="14772"/>
                      <a:pt x="14360" y="14995"/>
                      <a:pt x="14360" y="14875"/>
                    </a:cubicBezTo>
                    <a:cubicBezTo>
                      <a:pt x="14360" y="14755"/>
                      <a:pt x="14549" y="15047"/>
                      <a:pt x="14360" y="15012"/>
                    </a:cubicBezTo>
                    <a:cubicBezTo>
                      <a:pt x="14583" y="15115"/>
                      <a:pt x="13879" y="15407"/>
                      <a:pt x="13844" y="15287"/>
                    </a:cubicBezTo>
                    <a:cubicBezTo>
                      <a:pt x="13810" y="15167"/>
                      <a:pt x="13724" y="15287"/>
                      <a:pt x="13844" y="15287"/>
                    </a:cubicBezTo>
                    <a:cubicBezTo>
                      <a:pt x="13381" y="15682"/>
                      <a:pt x="13003" y="15734"/>
                      <a:pt x="12590" y="15407"/>
                    </a:cubicBezTo>
                    <a:cubicBezTo>
                      <a:pt x="12590" y="15407"/>
                      <a:pt x="12213" y="15407"/>
                      <a:pt x="12247" y="15253"/>
                    </a:cubicBezTo>
                    <a:cubicBezTo>
                      <a:pt x="11629" y="15631"/>
                      <a:pt x="11062" y="16026"/>
                      <a:pt x="10426" y="16369"/>
                    </a:cubicBezTo>
                    <a:cubicBezTo>
                      <a:pt x="10849" y="16193"/>
                      <a:pt x="11326" y="16193"/>
                      <a:pt x="11749" y="16369"/>
                    </a:cubicBezTo>
                    <a:cubicBezTo>
                      <a:pt x="11704" y="16429"/>
                      <a:pt x="11645" y="16477"/>
                      <a:pt x="11577" y="16507"/>
                    </a:cubicBezTo>
                    <a:cubicBezTo>
                      <a:pt x="11749" y="16507"/>
                      <a:pt x="11354" y="16885"/>
                      <a:pt x="11577" y="16936"/>
                    </a:cubicBezTo>
                    <a:cubicBezTo>
                      <a:pt x="11405" y="17022"/>
                      <a:pt x="11732" y="17262"/>
                      <a:pt x="11835" y="17125"/>
                    </a:cubicBezTo>
                    <a:cubicBezTo>
                      <a:pt x="11835" y="17125"/>
                      <a:pt x="11972" y="17262"/>
                      <a:pt x="11835" y="17245"/>
                    </a:cubicBezTo>
                    <a:cubicBezTo>
                      <a:pt x="12075" y="17245"/>
                      <a:pt x="11182" y="17520"/>
                      <a:pt x="11251" y="17365"/>
                    </a:cubicBezTo>
                    <a:cubicBezTo>
                      <a:pt x="11101" y="17505"/>
                      <a:pt x="10940" y="17631"/>
                      <a:pt x="10770" y="17743"/>
                    </a:cubicBezTo>
                    <a:lnTo>
                      <a:pt x="10770" y="17743"/>
                    </a:lnTo>
                    <a:cubicBezTo>
                      <a:pt x="10667" y="17743"/>
                      <a:pt x="10770" y="17589"/>
                      <a:pt x="10770" y="17640"/>
                    </a:cubicBezTo>
                    <a:cubicBezTo>
                      <a:pt x="10770" y="17417"/>
                      <a:pt x="11371" y="16988"/>
                      <a:pt x="11371" y="17280"/>
                    </a:cubicBezTo>
                    <a:cubicBezTo>
                      <a:pt x="11371" y="17177"/>
                      <a:pt x="11491" y="17280"/>
                      <a:pt x="11543" y="17194"/>
                    </a:cubicBezTo>
                    <a:cubicBezTo>
                      <a:pt x="11233" y="17073"/>
                      <a:pt x="11233" y="17194"/>
                      <a:pt x="11543" y="16970"/>
                    </a:cubicBezTo>
                    <a:lnTo>
                      <a:pt x="11543" y="16970"/>
                    </a:lnTo>
                    <a:lnTo>
                      <a:pt x="11543" y="16970"/>
                    </a:lnTo>
                    <a:cubicBezTo>
                      <a:pt x="11543" y="17073"/>
                      <a:pt x="11045" y="17245"/>
                      <a:pt x="11233" y="16970"/>
                    </a:cubicBezTo>
                    <a:cubicBezTo>
                      <a:pt x="11096" y="17125"/>
                      <a:pt x="11045" y="17073"/>
                      <a:pt x="10924" y="16970"/>
                    </a:cubicBezTo>
                    <a:cubicBezTo>
                      <a:pt x="10804" y="16867"/>
                      <a:pt x="10924" y="17091"/>
                      <a:pt x="10924" y="17159"/>
                    </a:cubicBezTo>
                    <a:cubicBezTo>
                      <a:pt x="10924" y="17228"/>
                      <a:pt x="10924" y="17331"/>
                      <a:pt x="10924" y="17159"/>
                    </a:cubicBezTo>
                    <a:cubicBezTo>
                      <a:pt x="10924" y="16988"/>
                      <a:pt x="10598" y="17314"/>
                      <a:pt x="10667" y="17159"/>
                    </a:cubicBezTo>
                    <a:cubicBezTo>
                      <a:pt x="10735" y="17005"/>
                      <a:pt x="10478" y="17245"/>
                      <a:pt x="10667" y="17159"/>
                    </a:cubicBezTo>
                    <a:cubicBezTo>
                      <a:pt x="10856" y="17073"/>
                      <a:pt x="10546" y="17297"/>
                      <a:pt x="10478" y="17331"/>
                    </a:cubicBezTo>
                    <a:lnTo>
                      <a:pt x="10478" y="17331"/>
                    </a:lnTo>
                    <a:cubicBezTo>
                      <a:pt x="10478" y="17331"/>
                      <a:pt x="10478" y="17417"/>
                      <a:pt x="10478" y="17331"/>
                    </a:cubicBezTo>
                    <a:cubicBezTo>
                      <a:pt x="10478" y="17245"/>
                      <a:pt x="10357" y="17469"/>
                      <a:pt x="10478" y="17331"/>
                    </a:cubicBezTo>
                    <a:cubicBezTo>
                      <a:pt x="10254" y="17331"/>
                      <a:pt x="9722" y="18345"/>
                      <a:pt x="10083" y="18001"/>
                    </a:cubicBezTo>
                    <a:cubicBezTo>
                      <a:pt x="10083" y="18138"/>
                      <a:pt x="9842" y="18327"/>
                      <a:pt x="9911" y="18087"/>
                    </a:cubicBezTo>
                    <a:cubicBezTo>
                      <a:pt x="9773" y="18259"/>
                      <a:pt x="9791" y="18241"/>
                      <a:pt x="9808" y="18087"/>
                    </a:cubicBezTo>
                    <a:cubicBezTo>
                      <a:pt x="9360" y="18252"/>
                      <a:pt x="8984" y="18568"/>
                      <a:pt x="8743" y="18980"/>
                    </a:cubicBezTo>
                    <a:lnTo>
                      <a:pt x="8743" y="18980"/>
                    </a:lnTo>
                    <a:lnTo>
                      <a:pt x="8743" y="18980"/>
                    </a:lnTo>
                    <a:cubicBezTo>
                      <a:pt x="8743" y="18980"/>
                      <a:pt x="8743" y="18825"/>
                      <a:pt x="8743" y="18740"/>
                    </a:cubicBezTo>
                    <a:cubicBezTo>
                      <a:pt x="8605" y="18980"/>
                      <a:pt x="8588" y="19289"/>
                      <a:pt x="8365" y="19495"/>
                    </a:cubicBezTo>
                    <a:lnTo>
                      <a:pt x="8365" y="19495"/>
                    </a:lnTo>
                    <a:lnTo>
                      <a:pt x="8262" y="19650"/>
                    </a:lnTo>
                    <a:cubicBezTo>
                      <a:pt x="8298" y="19536"/>
                      <a:pt x="8356" y="19431"/>
                      <a:pt x="8434" y="19341"/>
                    </a:cubicBezTo>
                    <a:cubicBezTo>
                      <a:pt x="8434" y="19341"/>
                      <a:pt x="8434" y="19255"/>
                      <a:pt x="8434" y="19221"/>
                    </a:cubicBezTo>
                    <a:lnTo>
                      <a:pt x="8434" y="19221"/>
                    </a:lnTo>
                    <a:cubicBezTo>
                      <a:pt x="8434" y="19014"/>
                      <a:pt x="8605" y="18860"/>
                      <a:pt x="8674" y="18671"/>
                    </a:cubicBezTo>
                    <a:cubicBezTo>
                      <a:pt x="8545" y="18838"/>
                      <a:pt x="8441" y="19023"/>
                      <a:pt x="8365" y="19221"/>
                    </a:cubicBezTo>
                    <a:cubicBezTo>
                      <a:pt x="8365" y="19117"/>
                      <a:pt x="8365" y="19032"/>
                      <a:pt x="8365" y="18929"/>
                    </a:cubicBezTo>
                    <a:cubicBezTo>
                      <a:pt x="8365" y="18825"/>
                      <a:pt x="8365" y="19581"/>
                      <a:pt x="8365" y="19324"/>
                    </a:cubicBezTo>
                    <a:cubicBezTo>
                      <a:pt x="8365" y="19324"/>
                      <a:pt x="8365" y="19598"/>
                      <a:pt x="8365" y="19530"/>
                    </a:cubicBezTo>
                    <a:cubicBezTo>
                      <a:pt x="8365" y="19461"/>
                      <a:pt x="8365" y="19616"/>
                      <a:pt x="8365" y="19650"/>
                    </a:cubicBezTo>
                    <a:cubicBezTo>
                      <a:pt x="8374" y="19605"/>
                      <a:pt x="8374" y="19558"/>
                      <a:pt x="8365" y="19513"/>
                    </a:cubicBezTo>
                    <a:cubicBezTo>
                      <a:pt x="8365" y="19650"/>
                      <a:pt x="8502" y="19719"/>
                      <a:pt x="8365" y="19856"/>
                    </a:cubicBezTo>
                    <a:lnTo>
                      <a:pt x="8365" y="19856"/>
                    </a:lnTo>
                    <a:cubicBezTo>
                      <a:pt x="8365" y="19993"/>
                      <a:pt x="8176" y="20148"/>
                      <a:pt x="8210" y="19976"/>
                    </a:cubicBezTo>
                    <a:cubicBezTo>
                      <a:pt x="8245" y="19805"/>
                      <a:pt x="8210" y="20079"/>
                      <a:pt x="8210" y="20097"/>
                    </a:cubicBezTo>
                    <a:cubicBezTo>
                      <a:pt x="8210" y="20114"/>
                      <a:pt x="8296" y="20097"/>
                      <a:pt x="8313" y="20234"/>
                    </a:cubicBezTo>
                    <a:cubicBezTo>
                      <a:pt x="8304" y="20200"/>
                      <a:pt x="8304" y="20165"/>
                      <a:pt x="8313" y="20131"/>
                    </a:cubicBezTo>
                    <a:cubicBezTo>
                      <a:pt x="8313" y="20234"/>
                      <a:pt x="8313" y="20285"/>
                      <a:pt x="8176" y="20354"/>
                    </a:cubicBezTo>
                    <a:cubicBezTo>
                      <a:pt x="8039" y="20423"/>
                      <a:pt x="8176" y="20354"/>
                      <a:pt x="8176" y="20251"/>
                    </a:cubicBezTo>
                    <a:cubicBezTo>
                      <a:pt x="8176" y="20148"/>
                      <a:pt x="8176" y="20251"/>
                      <a:pt x="8176" y="20251"/>
                    </a:cubicBezTo>
                    <a:cubicBezTo>
                      <a:pt x="8176" y="20251"/>
                      <a:pt x="8176" y="20474"/>
                      <a:pt x="8176" y="20389"/>
                    </a:cubicBezTo>
                    <a:lnTo>
                      <a:pt x="8176" y="20389"/>
                    </a:lnTo>
                    <a:lnTo>
                      <a:pt x="8176" y="20389"/>
                    </a:lnTo>
                    <a:lnTo>
                      <a:pt x="8176" y="20389"/>
                    </a:lnTo>
                    <a:cubicBezTo>
                      <a:pt x="6991" y="20389"/>
                      <a:pt x="6458" y="24992"/>
                      <a:pt x="6579" y="22982"/>
                    </a:cubicBezTo>
                    <a:cubicBezTo>
                      <a:pt x="6579" y="22982"/>
                      <a:pt x="6579" y="22982"/>
                      <a:pt x="6579" y="22982"/>
                    </a:cubicBezTo>
                    <a:cubicBezTo>
                      <a:pt x="6579" y="22982"/>
                      <a:pt x="6579" y="22982"/>
                      <a:pt x="6579" y="22982"/>
                    </a:cubicBezTo>
                    <a:lnTo>
                      <a:pt x="6579" y="22982"/>
                    </a:lnTo>
                    <a:cubicBezTo>
                      <a:pt x="6579" y="22879"/>
                      <a:pt x="6579" y="22707"/>
                      <a:pt x="6579" y="22604"/>
                    </a:cubicBezTo>
                    <a:cubicBezTo>
                      <a:pt x="6579" y="22501"/>
                      <a:pt x="6579" y="22604"/>
                      <a:pt x="6579" y="22707"/>
                    </a:cubicBezTo>
                    <a:cubicBezTo>
                      <a:pt x="6579" y="22810"/>
                      <a:pt x="6853" y="21780"/>
                      <a:pt x="6579" y="21745"/>
                    </a:cubicBezTo>
                    <a:cubicBezTo>
                      <a:pt x="6304" y="21711"/>
                      <a:pt x="6476" y="21849"/>
                      <a:pt x="6579" y="21745"/>
                    </a:cubicBezTo>
                    <a:lnTo>
                      <a:pt x="6579" y="21745"/>
                    </a:lnTo>
                    <a:lnTo>
                      <a:pt x="6579" y="21745"/>
                    </a:lnTo>
                    <a:cubicBezTo>
                      <a:pt x="6579" y="21745"/>
                      <a:pt x="6579" y="21574"/>
                      <a:pt x="6579" y="21642"/>
                    </a:cubicBezTo>
                    <a:cubicBezTo>
                      <a:pt x="6587" y="21603"/>
                      <a:pt x="6587" y="21562"/>
                      <a:pt x="6579" y="21522"/>
                    </a:cubicBezTo>
                    <a:lnTo>
                      <a:pt x="6579" y="21522"/>
                    </a:lnTo>
                    <a:cubicBezTo>
                      <a:pt x="6579" y="21522"/>
                      <a:pt x="6579" y="21436"/>
                      <a:pt x="6579" y="21385"/>
                    </a:cubicBezTo>
                    <a:lnTo>
                      <a:pt x="6579" y="21385"/>
                    </a:lnTo>
                    <a:cubicBezTo>
                      <a:pt x="6579" y="21385"/>
                      <a:pt x="6579" y="21385"/>
                      <a:pt x="6579" y="21385"/>
                    </a:cubicBezTo>
                    <a:cubicBezTo>
                      <a:pt x="6579" y="21385"/>
                      <a:pt x="6579" y="21385"/>
                      <a:pt x="6579" y="21385"/>
                    </a:cubicBezTo>
                    <a:cubicBezTo>
                      <a:pt x="6579" y="21385"/>
                      <a:pt x="6579" y="21282"/>
                      <a:pt x="6579" y="21230"/>
                    </a:cubicBezTo>
                    <a:lnTo>
                      <a:pt x="6579" y="21333"/>
                    </a:lnTo>
                    <a:cubicBezTo>
                      <a:pt x="6579" y="21230"/>
                      <a:pt x="6390" y="21333"/>
                      <a:pt x="6373" y="21453"/>
                    </a:cubicBezTo>
                    <a:lnTo>
                      <a:pt x="6373" y="21453"/>
                    </a:lnTo>
                    <a:cubicBezTo>
                      <a:pt x="6373" y="21642"/>
                      <a:pt x="6373" y="21763"/>
                      <a:pt x="6373" y="21849"/>
                    </a:cubicBezTo>
                    <a:cubicBezTo>
                      <a:pt x="6373" y="21934"/>
                      <a:pt x="6373" y="21471"/>
                      <a:pt x="6373" y="21763"/>
                    </a:cubicBezTo>
                    <a:lnTo>
                      <a:pt x="6373" y="21660"/>
                    </a:lnTo>
                    <a:cubicBezTo>
                      <a:pt x="6373" y="21539"/>
                      <a:pt x="6373" y="21471"/>
                      <a:pt x="6373" y="21350"/>
                    </a:cubicBezTo>
                    <a:cubicBezTo>
                      <a:pt x="6373" y="21230"/>
                      <a:pt x="6373" y="21350"/>
                      <a:pt x="6373" y="21350"/>
                    </a:cubicBezTo>
                    <a:cubicBezTo>
                      <a:pt x="6373" y="21591"/>
                      <a:pt x="6373" y="21076"/>
                      <a:pt x="6184" y="21350"/>
                    </a:cubicBezTo>
                    <a:cubicBezTo>
                      <a:pt x="6184" y="21350"/>
                      <a:pt x="6184" y="21196"/>
                      <a:pt x="6184" y="21127"/>
                    </a:cubicBezTo>
                    <a:cubicBezTo>
                      <a:pt x="6184" y="21058"/>
                      <a:pt x="6184" y="21247"/>
                      <a:pt x="6184" y="21127"/>
                    </a:cubicBezTo>
                    <a:cubicBezTo>
                      <a:pt x="6193" y="21213"/>
                      <a:pt x="6193" y="21299"/>
                      <a:pt x="6184" y="21385"/>
                    </a:cubicBezTo>
                    <a:lnTo>
                      <a:pt x="6184" y="21385"/>
                    </a:lnTo>
                    <a:lnTo>
                      <a:pt x="6184" y="21505"/>
                    </a:lnTo>
                    <a:lnTo>
                      <a:pt x="6184" y="21505"/>
                    </a:lnTo>
                    <a:cubicBezTo>
                      <a:pt x="6184" y="21591"/>
                      <a:pt x="6184" y="21505"/>
                      <a:pt x="6184" y="21505"/>
                    </a:cubicBezTo>
                    <a:lnTo>
                      <a:pt x="6184" y="21505"/>
                    </a:lnTo>
                    <a:cubicBezTo>
                      <a:pt x="6184" y="21505"/>
                      <a:pt x="6184" y="21505"/>
                      <a:pt x="6184" y="21505"/>
                    </a:cubicBezTo>
                    <a:lnTo>
                      <a:pt x="6184" y="21505"/>
                    </a:lnTo>
                    <a:cubicBezTo>
                      <a:pt x="6184" y="21505"/>
                      <a:pt x="6184" y="21608"/>
                      <a:pt x="6184" y="21608"/>
                    </a:cubicBezTo>
                    <a:lnTo>
                      <a:pt x="6184" y="21608"/>
                    </a:lnTo>
                    <a:cubicBezTo>
                      <a:pt x="6085" y="21918"/>
                      <a:pt x="6005" y="22233"/>
                      <a:pt x="5943" y="22553"/>
                    </a:cubicBezTo>
                    <a:cubicBezTo>
                      <a:pt x="5943" y="22553"/>
                      <a:pt x="5943" y="22433"/>
                      <a:pt x="5943" y="22398"/>
                    </a:cubicBezTo>
                    <a:cubicBezTo>
                      <a:pt x="5943" y="22364"/>
                      <a:pt x="5840" y="22862"/>
                      <a:pt x="5943" y="22621"/>
                    </a:cubicBezTo>
                    <a:cubicBezTo>
                      <a:pt x="5838" y="23115"/>
                      <a:pt x="5758" y="23614"/>
                      <a:pt x="5703" y="24116"/>
                    </a:cubicBezTo>
                    <a:cubicBezTo>
                      <a:pt x="5668" y="24579"/>
                      <a:pt x="5668" y="25044"/>
                      <a:pt x="5703" y="25507"/>
                    </a:cubicBezTo>
                    <a:cubicBezTo>
                      <a:pt x="5703" y="25507"/>
                      <a:pt x="5703" y="25507"/>
                      <a:pt x="5703" y="25507"/>
                    </a:cubicBezTo>
                    <a:cubicBezTo>
                      <a:pt x="5709" y="25479"/>
                      <a:pt x="5709" y="25449"/>
                      <a:pt x="5703" y="25421"/>
                    </a:cubicBezTo>
                    <a:lnTo>
                      <a:pt x="5703" y="25421"/>
                    </a:lnTo>
                    <a:cubicBezTo>
                      <a:pt x="5703" y="25421"/>
                      <a:pt x="5703" y="25421"/>
                      <a:pt x="5703" y="25421"/>
                    </a:cubicBezTo>
                    <a:lnTo>
                      <a:pt x="5703" y="25421"/>
                    </a:lnTo>
                    <a:cubicBezTo>
                      <a:pt x="5703" y="25421"/>
                      <a:pt x="5703" y="25559"/>
                      <a:pt x="5703" y="25627"/>
                    </a:cubicBezTo>
                    <a:lnTo>
                      <a:pt x="5703" y="25627"/>
                    </a:lnTo>
                    <a:lnTo>
                      <a:pt x="5703" y="25627"/>
                    </a:lnTo>
                    <a:cubicBezTo>
                      <a:pt x="5711" y="25553"/>
                      <a:pt x="5711" y="25478"/>
                      <a:pt x="5703" y="25404"/>
                    </a:cubicBezTo>
                    <a:lnTo>
                      <a:pt x="5703" y="25404"/>
                    </a:lnTo>
                    <a:cubicBezTo>
                      <a:pt x="5857" y="25249"/>
                      <a:pt x="5703" y="24511"/>
                      <a:pt x="5995" y="24665"/>
                    </a:cubicBezTo>
                    <a:cubicBezTo>
                      <a:pt x="5995" y="24665"/>
                      <a:pt x="5995" y="24562"/>
                      <a:pt x="5995" y="24665"/>
                    </a:cubicBezTo>
                    <a:cubicBezTo>
                      <a:pt x="5995" y="24769"/>
                      <a:pt x="5995" y="24665"/>
                      <a:pt x="5995" y="24665"/>
                    </a:cubicBezTo>
                    <a:cubicBezTo>
                      <a:pt x="5995" y="24665"/>
                      <a:pt x="5995" y="24820"/>
                      <a:pt x="5995" y="24665"/>
                    </a:cubicBezTo>
                    <a:cubicBezTo>
                      <a:pt x="6098" y="24957"/>
                      <a:pt x="5806" y="25284"/>
                      <a:pt x="5857" y="25593"/>
                    </a:cubicBezTo>
                    <a:cubicBezTo>
                      <a:pt x="5857" y="25593"/>
                      <a:pt x="5857" y="25868"/>
                      <a:pt x="5857" y="25919"/>
                    </a:cubicBezTo>
                    <a:cubicBezTo>
                      <a:pt x="5814" y="26294"/>
                      <a:pt x="5476" y="26563"/>
                      <a:pt x="5101" y="26521"/>
                    </a:cubicBezTo>
                    <a:cubicBezTo>
                      <a:pt x="4727" y="26478"/>
                      <a:pt x="4457" y="26140"/>
                      <a:pt x="4500" y="25765"/>
                    </a:cubicBezTo>
                    <a:cubicBezTo>
                      <a:pt x="4500" y="25954"/>
                      <a:pt x="4500" y="26349"/>
                      <a:pt x="4397" y="26658"/>
                    </a:cubicBezTo>
                    <a:lnTo>
                      <a:pt x="4397" y="26658"/>
                    </a:lnTo>
                    <a:cubicBezTo>
                      <a:pt x="4380" y="26726"/>
                      <a:pt x="4380" y="26796"/>
                      <a:pt x="4397" y="26864"/>
                    </a:cubicBezTo>
                    <a:lnTo>
                      <a:pt x="4397" y="26864"/>
                    </a:lnTo>
                    <a:cubicBezTo>
                      <a:pt x="4397" y="26864"/>
                      <a:pt x="4397" y="26864"/>
                      <a:pt x="4397" y="26950"/>
                    </a:cubicBezTo>
                    <a:cubicBezTo>
                      <a:pt x="4397" y="27036"/>
                      <a:pt x="4603" y="27139"/>
                      <a:pt x="4586" y="26950"/>
                    </a:cubicBezTo>
                    <a:cubicBezTo>
                      <a:pt x="4586" y="27053"/>
                      <a:pt x="4586" y="27105"/>
                      <a:pt x="4724" y="27190"/>
                    </a:cubicBezTo>
                    <a:lnTo>
                      <a:pt x="4724" y="27190"/>
                    </a:lnTo>
                    <a:cubicBezTo>
                      <a:pt x="4738" y="27241"/>
                      <a:pt x="4738" y="27295"/>
                      <a:pt x="4724" y="27345"/>
                    </a:cubicBezTo>
                    <a:cubicBezTo>
                      <a:pt x="4724" y="27208"/>
                      <a:pt x="4724" y="27345"/>
                      <a:pt x="4724" y="27448"/>
                    </a:cubicBezTo>
                    <a:lnTo>
                      <a:pt x="4724" y="27448"/>
                    </a:lnTo>
                    <a:cubicBezTo>
                      <a:pt x="4767" y="27681"/>
                      <a:pt x="4767" y="27920"/>
                      <a:pt x="4724" y="28152"/>
                    </a:cubicBezTo>
                    <a:lnTo>
                      <a:pt x="4724" y="28152"/>
                    </a:lnTo>
                    <a:cubicBezTo>
                      <a:pt x="4732" y="28307"/>
                      <a:pt x="4732" y="28462"/>
                      <a:pt x="4724" y="28616"/>
                    </a:cubicBezTo>
                    <a:cubicBezTo>
                      <a:pt x="4724" y="28616"/>
                      <a:pt x="4724" y="28513"/>
                      <a:pt x="4724" y="28444"/>
                    </a:cubicBezTo>
                    <a:cubicBezTo>
                      <a:pt x="4715" y="28564"/>
                      <a:pt x="4715" y="28685"/>
                      <a:pt x="4724" y="28805"/>
                    </a:cubicBezTo>
                    <a:cubicBezTo>
                      <a:pt x="4734" y="28777"/>
                      <a:pt x="4734" y="28747"/>
                      <a:pt x="4724" y="28719"/>
                    </a:cubicBezTo>
                    <a:cubicBezTo>
                      <a:pt x="4697" y="28861"/>
                      <a:pt x="4697" y="29007"/>
                      <a:pt x="4724" y="29149"/>
                    </a:cubicBezTo>
                    <a:cubicBezTo>
                      <a:pt x="4724" y="29063"/>
                      <a:pt x="4947" y="30042"/>
                      <a:pt x="4930" y="29733"/>
                    </a:cubicBezTo>
                    <a:cubicBezTo>
                      <a:pt x="5136" y="30265"/>
                      <a:pt x="5170" y="29131"/>
                      <a:pt x="5634" y="30471"/>
                    </a:cubicBezTo>
                    <a:cubicBezTo>
                      <a:pt x="5634" y="30368"/>
                      <a:pt x="5634" y="29337"/>
                      <a:pt x="5960" y="29595"/>
                    </a:cubicBezTo>
                    <a:cubicBezTo>
                      <a:pt x="5960" y="29818"/>
                      <a:pt x="5960" y="29595"/>
                      <a:pt x="5960" y="29475"/>
                    </a:cubicBezTo>
                    <a:cubicBezTo>
                      <a:pt x="5960" y="29355"/>
                      <a:pt x="6252" y="29303"/>
                      <a:pt x="6355" y="29234"/>
                    </a:cubicBezTo>
                    <a:cubicBezTo>
                      <a:pt x="6476" y="29458"/>
                      <a:pt x="6355" y="29836"/>
                      <a:pt x="6355" y="30145"/>
                    </a:cubicBezTo>
                    <a:cubicBezTo>
                      <a:pt x="6630" y="30901"/>
                      <a:pt x="6355" y="29681"/>
                      <a:pt x="6665" y="29664"/>
                    </a:cubicBezTo>
                    <a:cubicBezTo>
                      <a:pt x="6974" y="29647"/>
                      <a:pt x="6527" y="29544"/>
                      <a:pt x="6665" y="29441"/>
                    </a:cubicBezTo>
                    <a:cubicBezTo>
                      <a:pt x="6802" y="29337"/>
                      <a:pt x="6665" y="29664"/>
                      <a:pt x="6785" y="29733"/>
                    </a:cubicBezTo>
                    <a:cubicBezTo>
                      <a:pt x="6933" y="29741"/>
                      <a:pt x="7051" y="29859"/>
                      <a:pt x="7060" y="30007"/>
                    </a:cubicBezTo>
                    <a:cubicBezTo>
                      <a:pt x="6939" y="30213"/>
                      <a:pt x="7352" y="30145"/>
                      <a:pt x="7472" y="30196"/>
                    </a:cubicBezTo>
                    <a:cubicBezTo>
                      <a:pt x="7558" y="30660"/>
                      <a:pt x="8090" y="30042"/>
                      <a:pt x="8262" y="30402"/>
                    </a:cubicBezTo>
                    <a:cubicBezTo>
                      <a:pt x="8004" y="30402"/>
                      <a:pt x="8073" y="30402"/>
                      <a:pt x="8262" y="30643"/>
                    </a:cubicBezTo>
                    <a:cubicBezTo>
                      <a:pt x="8262" y="30471"/>
                      <a:pt x="8863" y="31107"/>
                      <a:pt x="8434" y="31107"/>
                    </a:cubicBezTo>
                    <a:cubicBezTo>
                      <a:pt x="8885" y="31152"/>
                      <a:pt x="9220" y="31547"/>
                      <a:pt x="9189" y="32000"/>
                    </a:cubicBezTo>
                    <a:cubicBezTo>
                      <a:pt x="9189" y="31673"/>
                      <a:pt x="9550" y="32154"/>
                      <a:pt x="9550" y="32309"/>
                    </a:cubicBezTo>
                    <a:cubicBezTo>
                      <a:pt x="9464" y="32103"/>
                      <a:pt x="10461" y="32309"/>
                      <a:pt x="10220" y="32532"/>
                    </a:cubicBezTo>
                    <a:cubicBezTo>
                      <a:pt x="10443" y="32361"/>
                      <a:pt x="10976" y="33030"/>
                      <a:pt x="10856" y="33151"/>
                    </a:cubicBezTo>
                    <a:cubicBezTo>
                      <a:pt x="11010" y="32893"/>
                      <a:pt x="11130" y="33735"/>
                      <a:pt x="11302" y="33924"/>
                    </a:cubicBezTo>
                    <a:cubicBezTo>
                      <a:pt x="11474" y="34113"/>
                      <a:pt x="10976" y="34559"/>
                      <a:pt x="11045" y="34868"/>
                    </a:cubicBezTo>
                    <a:cubicBezTo>
                      <a:pt x="11045" y="34611"/>
                      <a:pt x="11233" y="34628"/>
                      <a:pt x="11148" y="34868"/>
                    </a:cubicBezTo>
                    <a:cubicBezTo>
                      <a:pt x="11148" y="34868"/>
                      <a:pt x="11268" y="34559"/>
                      <a:pt x="11337" y="34731"/>
                    </a:cubicBezTo>
                    <a:cubicBezTo>
                      <a:pt x="11405" y="34903"/>
                      <a:pt x="11337" y="34731"/>
                      <a:pt x="11337" y="34731"/>
                    </a:cubicBezTo>
                    <a:cubicBezTo>
                      <a:pt x="11337" y="34216"/>
                      <a:pt x="12401" y="35143"/>
                      <a:pt x="11337" y="35092"/>
                    </a:cubicBezTo>
                    <a:cubicBezTo>
                      <a:pt x="11749" y="35092"/>
                      <a:pt x="11543" y="35315"/>
                      <a:pt x="11680" y="35624"/>
                    </a:cubicBezTo>
                    <a:cubicBezTo>
                      <a:pt x="11543" y="35074"/>
                      <a:pt x="12075" y="34576"/>
                      <a:pt x="12419" y="35074"/>
                    </a:cubicBezTo>
                    <a:cubicBezTo>
                      <a:pt x="12419" y="35074"/>
                      <a:pt x="12608" y="35177"/>
                      <a:pt x="12642" y="35263"/>
                    </a:cubicBezTo>
                    <a:cubicBezTo>
                      <a:pt x="12676" y="35349"/>
                      <a:pt x="12986" y="35366"/>
                      <a:pt x="12882" y="35469"/>
                    </a:cubicBezTo>
                    <a:cubicBezTo>
                      <a:pt x="12779" y="35573"/>
                      <a:pt x="12882" y="35727"/>
                      <a:pt x="12968" y="35830"/>
                    </a:cubicBezTo>
                    <a:cubicBezTo>
                      <a:pt x="13054" y="35933"/>
                      <a:pt x="12968" y="35487"/>
                      <a:pt x="12968" y="35710"/>
                    </a:cubicBezTo>
                    <a:cubicBezTo>
                      <a:pt x="12968" y="35555"/>
                      <a:pt x="13106" y="35607"/>
                      <a:pt x="12968" y="35504"/>
                    </a:cubicBezTo>
                    <a:cubicBezTo>
                      <a:pt x="12831" y="35401"/>
                      <a:pt x="13363" y="35761"/>
                      <a:pt x="13363" y="35641"/>
                    </a:cubicBezTo>
                    <a:cubicBezTo>
                      <a:pt x="13363" y="35521"/>
                      <a:pt x="13363" y="35641"/>
                      <a:pt x="13466" y="35744"/>
                    </a:cubicBezTo>
                    <a:cubicBezTo>
                      <a:pt x="13569" y="35847"/>
                      <a:pt x="13466" y="35744"/>
                      <a:pt x="13466" y="35744"/>
                    </a:cubicBezTo>
                    <a:lnTo>
                      <a:pt x="13466" y="35744"/>
                    </a:lnTo>
                    <a:lnTo>
                      <a:pt x="13466" y="35744"/>
                    </a:lnTo>
                    <a:cubicBezTo>
                      <a:pt x="14841" y="36157"/>
                      <a:pt x="16438" y="37462"/>
                      <a:pt x="14926" y="38922"/>
                    </a:cubicBezTo>
                    <a:cubicBezTo>
                      <a:pt x="14926" y="38836"/>
                      <a:pt x="14926" y="38682"/>
                      <a:pt x="14926" y="38819"/>
                    </a:cubicBezTo>
                    <a:cubicBezTo>
                      <a:pt x="14926" y="38956"/>
                      <a:pt x="14823" y="38819"/>
                      <a:pt x="14806" y="38819"/>
                    </a:cubicBezTo>
                    <a:lnTo>
                      <a:pt x="14806" y="38819"/>
                    </a:lnTo>
                    <a:cubicBezTo>
                      <a:pt x="15133" y="39386"/>
                      <a:pt x="15717" y="41619"/>
                      <a:pt x="14806" y="41447"/>
                    </a:cubicBezTo>
                    <a:cubicBezTo>
                      <a:pt x="14806" y="41447"/>
                      <a:pt x="14514" y="41447"/>
                      <a:pt x="14806" y="41447"/>
                    </a:cubicBezTo>
                    <a:cubicBezTo>
                      <a:pt x="15098" y="41447"/>
                      <a:pt x="14652" y="41447"/>
                      <a:pt x="14600" y="41447"/>
                    </a:cubicBezTo>
                    <a:cubicBezTo>
                      <a:pt x="14549" y="41447"/>
                      <a:pt x="14600" y="41533"/>
                      <a:pt x="14600" y="41687"/>
                    </a:cubicBezTo>
                    <a:cubicBezTo>
                      <a:pt x="14360" y="41498"/>
                      <a:pt x="14257" y="41997"/>
                      <a:pt x="14154" y="41962"/>
                    </a:cubicBezTo>
                    <a:cubicBezTo>
                      <a:pt x="14050" y="41928"/>
                      <a:pt x="14154" y="41962"/>
                      <a:pt x="14154" y="41962"/>
                    </a:cubicBezTo>
                    <a:cubicBezTo>
                      <a:pt x="14154" y="41962"/>
                      <a:pt x="14291" y="42048"/>
                      <a:pt x="14154" y="42048"/>
                    </a:cubicBezTo>
                    <a:cubicBezTo>
                      <a:pt x="14016" y="42048"/>
                      <a:pt x="14154" y="42048"/>
                      <a:pt x="14154" y="42048"/>
                    </a:cubicBezTo>
                    <a:cubicBezTo>
                      <a:pt x="14154" y="42048"/>
                      <a:pt x="14446" y="42426"/>
                      <a:pt x="14411" y="42529"/>
                    </a:cubicBezTo>
                    <a:cubicBezTo>
                      <a:pt x="14377" y="42632"/>
                      <a:pt x="14411" y="43697"/>
                      <a:pt x="14411" y="43336"/>
                    </a:cubicBezTo>
                    <a:cubicBezTo>
                      <a:pt x="14411" y="43336"/>
                      <a:pt x="14411" y="43336"/>
                      <a:pt x="14411" y="43250"/>
                    </a:cubicBezTo>
                    <a:cubicBezTo>
                      <a:pt x="14411" y="43165"/>
                      <a:pt x="14411" y="43113"/>
                      <a:pt x="14411" y="43113"/>
                    </a:cubicBezTo>
                    <a:cubicBezTo>
                      <a:pt x="14338" y="43042"/>
                      <a:pt x="14257" y="42979"/>
                      <a:pt x="14171" y="42924"/>
                    </a:cubicBezTo>
                    <a:cubicBezTo>
                      <a:pt x="14231" y="42979"/>
                      <a:pt x="14283" y="43043"/>
                      <a:pt x="14325" y="43113"/>
                    </a:cubicBezTo>
                    <a:cubicBezTo>
                      <a:pt x="14325" y="43113"/>
                      <a:pt x="14446" y="43354"/>
                      <a:pt x="14325" y="43250"/>
                    </a:cubicBezTo>
                    <a:cubicBezTo>
                      <a:pt x="14858" y="44041"/>
                      <a:pt x="14325" y="44264"/>
                      <a:pt x="13844" y="43817"/>
                    </a:cubicBezTo>
                    <a:lnTo>
                      <a:pt x="14549" y="44418"/>
                    </a:lnTo>
                    <a:lnTo>
                      <a:pt x="14549" y="44418"/>
                    </a:lnTo>
                    <a:cubicBezTo>
                      <a:pt x="14637" y="44494"/>
                      <a:pt x="14707" y="44587"/>
                      <a:pt x="14755" y="44693"/>
                    </a:cubicBezTo>
                    <a:lnTo>
                      <a:pt x="14755" y="44693"/>
                    </a:lnTo>
                    <a:cubicBezTo>
                      <a:pt x="14755" y="44693"/>
                      <a:pt x="14944" y="44951"/>
                      <a:pt x="14755" y="44882"/>
                    </a:cubicBezTo>
                    <a:cubicBezTo>
                      <a:pt x="14566" y="44814"/>
                      <a:pt x="14394" y="44882"/>
                      <a:pt x="14291" y="44882"/>
                    </a:cubicBezTo>
                    <a:cubicBezTo>
                      <a:pt x="14188" y="44882"/>
                      <a:pt x="14480" y="45037"/>
                      <a:pt x="14566" y="45123"/>
                    </a:cubicBezTo>
                    <a:lnTo>
                      <a:pt x="14566" y="45123"/>
                    </a:lnTo>
                    <a:cubicBezTo>
                      <a:pt x="14909" y="45466"/>
                      <a:pt x="14995" y="45569"/>
                      <a:pt x="14463" y="45294"/>
                    </a:cubicBezTo>
                    <a:cubicBezTo>
                      <a:pt x="14621" y="45462"/>
                      <a:pt x="14807" y="45602"/>
                      <a:pt x="15012" y="45707"/>
                    </a:cubicBezTo>
                    <a:cubicBezTo>
                      <a:pt x="15012" y="45707"/>
                      <a:pt x="15012" y="45707"/>
                      <a:pt x="15012" y="45707"/>
                    </a:cubicBezTo>
                    <a:lnTo>
                      <a:pt x="15012" y="45707"/>
                    </a:lnTo>
                    <a:cubicBezTo>
                      <a:pt x="15304" y="45930"/>
                      <a:pt x="15133" y="45947"/>
                      <a:pt x="15717" y="46359"/>
                    </a:cubicBezTo>
                    <a:lnTo>
                      <a:pt x="15717" y="46359"/>
                    </a:lnTo>
                    <a:lnTo>
                      <a:pt x="15717" y="46359"/>
                    </a:lnTo>
                    <a:lnTo>
                      <a:pt x="15717" y="46359"/>
                    </a:lnTo>
                    <a:cubicBezTo>
                      <a:pt x="15991" y="46669"/>
                      <a:pt x="16438" y="46737"/>
                      <a:pt x="16730" y="47012"/>
                    </a:cubicBezTo>
                    <a:lnTo>
                      <a:pt x="16730" y="47012"/>
                    </a:lnTo>
                    <a:lnTo>
                      <a:pt x="16730" y="47012"/>
                    </a:lnTo>
                    <a:lnTo>
                      <a:pt x="16730" y="47012"/>
                    </a:lnTo>
                    <a:lnTo>
                      <a:pt x="16885" y="47132"/>
                    </a:lnTo>
                    <a:lnTo>
                      <a:pt x="16885" y="47132"/>
                    </a:lnTo>
                    <a:lnTo>
                      <a:pt x="17091" y="47270"/>
                    </a:lnTo>
                    <a:cubicBezTo>
                      <a:pt x="17091" y="47270"/>
                      <a:pt x="17091" y="47270"/>
                      <a:pt x="16988" y="47270"/>
                    </a:cubicBezTo>
                    <a:cubicBezTo>
                      <a:pt x="17278" y="47454"/>
                      <a:pt x="17582" y="47614"/>
                      <a:pt x="17898" y="47751"/>
                    </a:cubicBezTo>
                    <a:lnTo>
                      <a:pt x="17898" y="47751"/>
                    </a:lnTo>
                    <a:cubicBezTo>
                      <a:pt x="17795" y="47751"/>
                      <a:pt x="17898" y="47751"/>
                      <a:pt x="17898" y="47751"/>
                    </a:cubicBezTo>
                    <a:lnTo>
                      <a:pt x="17898" y="47751"/>
                    </a:lnTo>
                    <a:cubicBezTo>
                      <a:pt x="18059" y="47847"/>
                      <a:pt x="18225" y="47933"/>
                      <a:pt x="18396" y="48008"/>
                    </a:cubicBezTo>
                    <a:lnTo>
                      <a:pt x="18173" y="48008"/>
                    </a:lnTo>
                    <a:close/>
                    <a:moveTo>
                      <a:pt x="20560" y="10117"/>
                    </a:moveTo>
                    <a:cubicBezTo>
                      <a:pt x="20286" y="10409"/>
                      <a:pt x="20560" y="10014"/>
                      <a:pt x="20560" y="9980"/>
                    </a:cubicBezTo>
                    <a:cubicBezTo>
                      <a:pt x="20560" y="9945"/>
                      <a:pt x="20423" y="10134"/>
                      <a:pt x="20286" y="10323"/>
                    </a:cubicBezTo>
                    <a:cubicBezTo>
                      <a:pt x="19822" y="10083"/>
                      <a:pt x="19581" y="10976"/>
                      <a:pt x="19289" y="10907"/>
                    </a:cubicBezTo>
                    <a:cubicBezTo>
                      <a:pt x="19530" y="11165"/>
                      <a:pt x="19100" y="10907"/>
                      <a:pt x="19152" y="11165"/>
                    </a:cubicBezTo>
                    <a:cubicBezTo>
                      <a:pt x="19014" y="10959"/>
                      <a:pt x="19152" y="11165"/>
                      <a:pt x="19152" y="11165"/>
                    </a:cubicBezTo>
                    <a:cubicBezTo>
                      <a:pt x="19152" y="10907"/>
                      <a:pt x="19152" y="11457"/>
                      <a:pt x="18997" y="11165"/>
                    </a:cubicBezTo>
                    <a:cubicBezTo>
                      <a:pt x="18688" y="11165"/>
                      <a:pt x="18997" y="11577"/>
                      <a:pt x="18585" y="11577"/>
                    </a:cubicBezTo>
                    <a:cubicBezTo>
                      <a:pt x="18585" y="11577"/>
                      <a:pt x="18327" y="12024"/>
                      <a:pt x="18259" y="11903"/>
                    </a:cubicBezTo>
                    <a:cubicBezTo>
                      <a:pt x="18190" y="11783"/>
                      <a:pt x="17846" y="12453"/>
                      <a:pt x="18001" y="12109"/>
                    </a:cubicBezTo>
                    <a:cubicBezTo>
                      <a:pt x="17537" y="12401"/>
                      <a:pt x="18104" y="11938"/>
                      <a:pt x="17743" y="12006"/>
                    </a:cubicBezTo>
                    <a:cubicBezTo>
                      <a:pt x="18173" y="11680"/>
                      <a:pt x="18070" y="11749"/>
                      <a:pt x="17503" y="11783"/>
                    </a:cubicBezTo>
                    <a:cubicBezTo>
                      <a:pt x="17588" y="11313"/>
                      <a:pt x="17763" y="10864"/>
                      <a:pt x="18018" y="10461"/>
                    </a:cubicBezTo>
                    <a:cubicBezTo>
                      <a:pt x="18018" y="10220"/>
                      <a:pt x="18224" y="10461"/>
                      <a:pt x="18448" y="10134"/>
                    </a:cubicBezTo>
                    <a:cubicBezTo>
                      <a:pt x="17984" y="10306"/>
                      <a:pt x="17984" y="10134"/>
                      <a:pt x="18448" y="9739"/>
                    </a:cubicBezTo>
                    <a:cubicBezTo>
                      <a:pt x="18345" y="9739"/>
                      <a:pt x="18207" y="9739"/>
                      <a:pt x="18345" y="9739"/>
                    </a:cubicBezTo>
                    <a:cubicBezTo>
                      <a:pt x="18482" y="9739"/>
                      <a:pt x="18345" y="9636"/>
                      <a:pt x="18963" y="9344"/>
                    </a:cubicBezTo>
                    <a:cubicBezTo>
                      <a:pt x="17709" y="9808"/>
                      <a:pt x="19392" y="8966"/>
                      <a:pt x="18774" y="9104"/>
                    </a:cubicBezTo>
                    <a:cubicBezTo>
                      <a:pt x="19272" y="8657"/>
                      <a:pt x="19152" y="9293"/>
                      <a:pt x="19324" y="9104"/>
                    </a:cubicBezTo>
                    <a:cubicBezTo>
                      <a:pt x="18997" y="9104"/>
                      <a:pt x="19667" y="8863"/>
                      <a:pt x="19324" y="8966"/>
                    </a:cubicBezTo>
                    <a:cubicBezTo>
                      <a:pt x="19444" y="8846"/>
                      <a:pt x="19169" y="8966"/>
                      <a:pt x="18946" y="8966"/>
                    </a:cubicBezTo>
                    <a:cubicBezTo>
                      <a:pt x="19427" y="8537"/>
                      <a:pt x="19238" y="9086"/>
                      <a:pt x="19598" y="8674"/>
                    </a:cubicBezTo>
                    <a:cubicBezTo>
                      <a:pt x="19289" y="8846"/>
                      <a:pt x="19341" y="8554"/>
                      <a:pt x="19598" y="8674"/>
                    </a:cubicBezTo>
                    <a:cubicBezTo>
                      <a:pt x="19808" y="8533"/>
                      <a:pt x="20004" y="8372"/>
                      <a:pt x="20182" y="8193"/>
                    </a:cubicBezTo>
                    <a:cubicBezTo>
                      <a:pt x="19994" y="8193"/>
                      <a:pt x="20182" y="7266"/>
                      <a:pt x="20354" y="7953"/>
                    </a:cubicBezTo>
                    <a:cubicBezTo>
                      <a:pt x="20354" y="7953"/>
                      <a:pt x="20509" y="7712"/>
                      <a:pt x="20560" y="7764"/>
                    </a:cubicBezTo>
                    <a:cubicBezTo>
                      <a:pt x="20612" y="7815"/>
                      <a:pt x="21144" y="6991"/>
                      <a:pt x="20681" y="7386"/>
                    </a:cubicBezTo>
                    <a:cubicBezTo>
                      <a:pt x="20217" y="7781"/>
                      <a:pt x="21162" y="6922"/>
                      <a:pt x="21746" y="6338"/>
                    </a:cubicBezTo>
                    <a:cubicBezTo>
                      <a:pt x="23154" y="5256"/>
                      <a:pt x="21746" y="5497"/>
                      <a:pt x="22914" y="4981"/>
                    </a:cubicBezTo>
                    <a:cubicBezTo>
                      <a:pt x="23085" y="4981"/>
                      <a:pt x="23206" y="5067"/>
                      <a:pt x="23326" y="4844"/>
                    </a:cubicBezTo>
                    <a:cubicBezTo>
                      <a:pt x="26332" y="3556"/>
                      <a:pt x="25576" y="4260"/>
                      <a:pt x="26761" y="3693"/>
                    </a:cubicBezTo>
                    <a:cubicBezTo>
                      <a:pt x="26418" y="3882"/>
                      <a:pt x="26761" y="3693"/>
                      <a:pt x="26881" y="3693"/>
                    </a:cubicBezTo>
                    <a:cubicBezTo>
                      <a:pt x="26503" y="3951"/>
                      <a:pt x="26710" y="3693"/>
                      <a:pt x="26607" y="3951"/>
                    </a:cubicBezTo>
                    <a:cubicBezTo>
                      <a:pt x="26761" y="4140"/>
                      <a:pt x="25765" y="4243"/>
                      <a:pt x="26211" y="4208"/>
                    </a:cubicBezTo>
                    <a:cubicBezTo>
                      <a:pt x="26658" y="4174"/>
                      <a:pt x="26057" y="4346"/>
                      <a:pt x="26211" y="4329"/>
                    </a:cubicBezTo>
                    <a:cubicBezTo>
                      <a:pt x="26555" y="4054"/>
                      <a:pt x="26211" y="4483"/>
                      <a:pt x="26074" y="4500"/>
                    </a:cubicBezTo>
                    <a:cubicBezTo>
                      <a:pt x="25284" y="5119"/>
                      <a:pt x="27036" y="3744"/>
                      <a:pt x="26383" y="4621"/>
                    </a:cubicBezTo>
                    <a:cubicBezTo>
                      <a:pt x="26108" y="4844"/>
                      <a:pt x="25816" y="4861"/>
                      <a:pt x="26057" y="4947"/>
                    </a:cubicBezTo>
                    <a:cubicBezTo>
                      <a:pt x="25672" y="5283"/>
                      <a:pt x="25406" y="5735"/>
                      <a:pt x="25301" y="6235"/>
                    </a:cubicBezTo>
                    <a:cubicBezTo>
                      <a:pt x="25198" y="5874"/>
                      <a:pt x="24751" y="6424"/>
                      <a:pt x="25112" y="6373"/>
                    </a:cubicBezTo>
                    <a:cubicBezTo>
                      <a:pt x="24837" y="6596"/>
                      <a:pt x="25112" y="6373"/>
                      <a:pt x="25009" y="6596"/>
                    </a:cubicBezTo>
                    <a:cubicBezTo>
                      <a:pt x="24906" y="6819"/>
                      <a:pt x="24837" y="6596"/>
                      <a:pt x="24751" y="6596"/>
                    </a:cubicBezTo>
                    <a:cubicBezTo>
                      <a:pt x="24666" y="6596"/>
                      <a:pt x="24751" y="6957"/>
                      <a:pt x="24751" y="6768"/>
                    </a:cubicBezTo>
                    <a:cubicBezTo>
                      <a:pt x="24751" y="6871"/>
                      <a:pt x="25061" y="7128"/>
                      <a:pt x="24751" y="7180"/>
                    </a:cubicBezTo>
                    <a:cubicBezTo>
                      <a:pt x="24271" y="6750"/>
                      <a:pt x="24751" y="7575"/>
                      <a:pt x="24442" y="7489"/>
                    </a:cubicBezTo>
                    <a:cubicBezTo>
                      <a:pt x="23961" y="7729"/>
                      <a:pt x="24442" y="7060"/>
                      <a:pt x="24133" y="7489"/>
                    </a:cubicBezTo>
                    <a:cubicBezTo>
                      <a:pt x="24133" y="7283"/>
                      <a:pt x="23807" y="7609"/>
                      <a:pt x="23738" y="7626"/>
                    </a:cubicBezTo>
                    <a:cubicBezTo>
                      <a:pt x="24150" y="7626"/>
                      <a:pt x="23738" y="7764"/>
                      <a:pt x="23738" y="7781"/>
                    </a:cubicBezTo>
                    <a:cubicBezTo>
                      <a:pt x="24236" y="7781"/>
                      <a:pt x="23738" y="7918"/>
                      <a:pt x="23824" y="7987"/>
                    </a:cubicBezTo>
                    <a:cubicBezTo>
                      <a:pt x="24442" y="8090"/>
                      <a:pt x="23515" y="9705"/>
                      <a:pt x="23583" y="8262"/>
                    </a:cubicBezTo>
                    <a:cubicBezTo>
                      <a:pt x="23034" y="7901"/>
                      <a:pt x="23978" y="8657"/>
                      <a:pt x="23137" y="8520"/>
                    </a:cubicBezTo>
                    <a:cubicBezTo>
                      <a:pt x="23291" y="8640"/>
                      <a:pt x="22673" y="8777"/>
                      <a:pt x="22931" y="8726"/>
                    </a:cubicBezTo>
                    <a:cubicBezTo>
                      <a:pt x="23188" y="8674"/>
                      <a:pt x="23326" y="8915"/>
                      <a:pt x="22931" y="8846"/>
                    </a:cubicBezTo>
                    <a:cubicBezTo>
                      <a:pt x="22536" y="8777"/>
                      <a:pt x="24082" y="8846"/>
                      <a:pt x="23446" y="9121"/>
                    </a:cubicBezTo>
                    <a:cubicBezTo>
                      <a:pt x="23446" y="9121"/>
                      <a:pt x="23171" y="9327"/>
                      <a:pt x="23137" y="9275"/>
                    </a:cubicBezTo>
                    <a:cubicBezTo>
                      <a:pt x="23103" y="9224"/>
                      <a:pt x="21866" y="9859"/>
                      <a:pt x="21952" y="9396"/>
                    </a:cubicBezTo>
                    <a:cubicBezTo>
                      <a:pt x="22038" y="8932"/>
                      <a:pt x="21952" y="9636"/>
                      <a:pt x="21831" y="9653"/>
                    </a:cubicBezTo>
                    <a:cubicBezTo>
                      <a:pt x="21385" y="9688"/>
                      <a:pt x="20612" y="10529"/>
                      <a:pt x="20560" y="10117"/>
                    </a:cubicBezTo>
                    <a:close/>
                    <a:moveTo>
                      <a:pt x="23669" y="11440"/>
                    </a:moveTo>
                    <a:cubicBezTo>
                      <a:pt x="23669" y="11577"/>
                      <a:pt x="23463" y="11543"/>
                      <a:pt x="23412" y="11440"/>
                    </a:cubicBezTo>
                    <a:cubicBezTo>
                      <a:pt x="23360" y="11337"/>
                      <a:pt x="23223" y="11440"/>
                      <a:pt x="23274" y="11319"/>
                    </a:cubicBezTo>
                    <a:cubicBezTo>
                      <a:pt x="23326" y="11199"/>
                      <a:pt x="23188" y="11319"/>
                      <a:pt x="23274" y="11319"/>
                    </a:cubicBezTo>
                    <a:cubicBezTo>
                      <a:pt x="23173" y="11345"/>
                      <a:pt x="23067" y="11345"/>
                      <a:pt x="22965" y="11319"/>
                    </a:cubicBezTo>
                    <a:cubicBezTo>
                      <a:pt x="22965" y="11319"/>
                      <a:pt x="22965" y="11319"/>
                      <a:pt x="22965" y="11319"/>
                    </a:cubicBezTo>
                    <a:cubicBezTo>
                      <a:pt x="22965" y="11319"/>
                      <a:pt x="22965" y="11319"/>
                      <a:pt x="22965" y="11233"/>
                    </a:cubicBezTo>
                    <a:cubicBezTo>
                      <a:pt x="22965" y="11148"/>
                      <a:pt x="22965" y="11233"/>
                      <a:pt x="22965" y="11233"/>
                    </a:cubicBezTo>
                    <a:cubicBezTo>
                      <a:pt x="22965" y="11233"/>
                      <a:pt x="23120" y="11096"/>
                      <a:pt x="23206" y="11148"/>
                    </a:cubicBezTo>
                    <a:cubicBezTo>
                      <a:pt x="23291" y="11199"/>
                      <a:pt x="22948" y="11251"/>
                      <a:pt x="23206" y="11027"/>
                    </a:cubicBezTo>
                    <a:cubicBezTo>
                      <a:pt x="23206" y="11113"/>
                      <a:pt x="23051" y="11027"/>
                      <a:pt x="23206" y="10941"/>
                    </a:cubicBezTo>
                    <a:cubicBezTo>
                      <a:pt x="23360" y="10856"/>
                      <a:pt x="22948" y="10941"/>
                      <a:pt x="22948" y="10821"/>
                    </a:cubicBezTo>
                    <a:cubicBezTo>
                      <a:pt x="22948" y="10701"/>
                      <a:pt x="23206" y="10735"/>
                      <a:pt x="23223" y="10821"/>
                    </a:cubicBezTo>
                    <a:cubicBezTo>
                      <a:pt x="23240" y="10907"/>
                      <a:pt x="23395" y="10821"/>
                      <a:pt x="23412" y="10718"/>
                    </a:cubicBezTo>
                    <a:cubicBezTo>
                      <a:pt x="23429" y="10615"/>
                      <a:pt x="23291" y="10718"/>
                      <a:pt x="23412" y="10718"/>
                    </a:cubicBezTo>
                    <a:cubicBezTo>
                      <a:pt x="23532" y="10718"/>
                      <a:pt x="23291" y="10718"/>
                      <a:pt x="23412" y="10632"/>
                    </a:cubicBezTo>
                    <a:cubicBezTo>
                      <a:pt x="23532" y="10546"/>
                      <a:pt x="23412" y="10632"/>
                      <a:pt x="23412" y="10632"/>
                    </a:cubicBezTo>
                    <a:cubicBezTo>
                      <a:pt x="23412" y="10632"/>
                      <a:pt x="23412" y="10718"/>
                      <a:pt x="23412" y="10632"/>
                    </a:cubicBezTo>
                    <a:cubicBezTo>
                      <a:pt x="23412" y="10546"/>
                      <a:pt x="23412" y="10632"/>
                      <a:pt x="23412" y="10632"/>
                    </a:cubicBezTo>
                    <a:cubicBezTo>
                      <a:pt x="23223" y="10873"/>
                      <a:pt x="23120" y="10478"/>
                      <a:pt x="23291" y="10632"/>
                    </a:cubicBezTo>
                    <a:cubicBezTo>
                      <a:pt x="23463" y="10787"/>
                      <a:pt x="23291" y="10478"/>
                      <a:pt x="23291" y="10632"/>
                    </a:cubicBezTo>
                    <a:cubicBezTo>
                      <a:pt x="23291" y="10787"/>
                      <a:pt x="23291" y="10632"/>
                      <a:pt x="23291" y="10632"/>
                    </a:cubicBezTo>
                    <a:cubicBezTo>
                      <a:pt x="23291" y="10632"/>
                      <a:pt x="23291" y="10529"/>
                      <a:pt x="23291" y="10632"/>
                    </a:cubicBezTo>
                    <a:cubicBezTo>
                      <a:pt x="23291" y="10735"/>
                      <a:pt x="23291" y="10478"/>
                      <a:pt x="23291" y="10632"/>
                    </a:cubicBezTo>
                    <a:cubicBezTo>
                      <a:pt x="23291" y="10787"/>
                      <a:pt x="23412" y="10632"/>
                      <a:pt x="23291" y="10632"/>
                    </a:cubicBezTo>
                    <a:cubicBezTo>
                      <a:pt x="23171" y="10632"/>
                      <a:pt x="23395" y="10632"/>
                      <a:pt x="23291" y="10632"/>
                    </a:cubicBezTo>
                    <a:cubicBezTo>
                      <a:pt x="23188" y="10632"/>
                      <a:pt x="23120" y="10478"/>
                      <a:pt x="23291" y="10478"/>
                    </a:cubicBezTo>
                    <a:cubicBezTo>
                      <a:pt x="22999" y="10375"/>
                      <a:pt x="23395" y="10375"/>
                      <a:pt x="23291" y="10581"/>
                    </a:cubicBezTo>
                    <a:cubicBezTo>
                      <a:pt x="23291" y="10581"/>
                      <a:pt x="23291" y="10581"/>
                      <a:pt x="23291" y="10581"/>
                    </a:cubicBezTo>
                    <a:cubicBezTo>
                      <a:pt x="23291" y="10581"/>
                      <a:pt x="23291" y="10701"/>
                      <a:pt x="23291" y="10581"/>
                    </a:cubicBezTo>
                    <a:cubicBezTo>
                      <a:pt x="23302" y="10608"/>
                      <a:pt x="23302" y="10639"/>
                      <a:pt x="23291" y="10667"/>
                    </a:cubicBezTo>
                    <a:cubicBezTo>
                      <a:pt x="23291" y="10667"/>
                      <a:pt x="23291" y="10753"/>
                      <a:pt x="23291" y="10787"/>
                    </a:cubicBezTo>
                    <a:cubicBezTo>
                      <a:pt x="23291" y="10821"/>
                      <a:pt x="23291" y="10787"/>
                      <a:pt x="23291" y="10873"/>
                    </a:cubicBezTo>
                    <a:cubicBezTo>
                      <a:pt x="23311" y="10799"/>
                      <a:pt x="23361" y="10737"/>
                      <a:pt x="23429" y="10701"/>
                    </a:cubicBezTo>
                    <a:cubicBezTo>
                      <a:pt x="23429" y="10907"/>
                      <a:pt x="23429" y="10478"/>
                      <a:pt x="23601" y="10461"/>
                    </a:cubicBezTo>
                    <a:cubicBezTo>
                      <a:pt x="23772" y="10443"/>
                      <a:pt x="23601" y="10581"/>
                      <a:pt x="23601" y="10598"/>
                    </a:cubicBezTo>
                    <a:cubicBezTo>
                      <a:pt x="23601" y="10615"/>
                      <a:pt x="23687" y="10461"/>
                      <a:pt x="23790" y="10478"/>
                    </a:cubicBezTo>
                    <a:cubicBezTo>
                      <a:pt x="23832" y="10576"/>
                      <a:pt x="23832" y="10688"/>
                      <a:pt x="23790" y="10787"/>
                    </a:cubicBezTo>
                    <a:cubicBezTo>
                      <a:pt x="23893" y="10701"/>
                      <a:pt x="23790" y="10461"/>
                      <a:pt x="23961" y="10512"/>
                    </a:cubicBezTo>
                    <a:cubicBezTo>
                      <a:pt x="24133" y="10564"/>
                      <a:pt x="24116" y="10375"/>
                      <a:pt x="24099" y="10512"/>
                    </a:cubicBezTo>
                    <a:cubicBezTo>
                      <a:pt x="24082" y="10649"/>
                      <a:pt x="24356" y="10220"/>
                      <a:pt x="24322" y="10512"/>
                    </a:cubicBezTo>
                    <a:cubicBezTo>
                      <a:pt x="24288" y="10804"/>
                      <a:pt x="24442" y="10357"/>
                      <a:pt x="24528" y="10512"/>
                    </a:cubicBezTo>
                    <a:cubicBezTo>
                      <a:pt x="24614" y="10667"/>
                      <a:pt x="24356" y="10667"/>
                      <a:pt x="24528" y="10632"/>
                    </a:cubicBezTo>
                    <a:cubicBezTo>
                      <a:pt x="24700" y="10598"/>
                      <a:pt x="24425" y="10632"/>
                      <a:pt x="24528" y="10804"/>
                    </a:cubicBezTo>
                    <a:cubicBezTo>
                      <a:pt x="24631" y="10976"/>
                      <a:pt x="24528" y="10804"/>
                      <a:pt x="24528" y="10804"/>
                    </a:cubicBezTo>
                    <a:cubicBezTo>
                      <a:pt x="24751" y="10804"/>
                      <a:pt x="24614" y="10804"/>
                      <a:pt x="24528" y="10924"/>
                    </a:cubicBezTo>
                    <a:cubicBezTo>
                      <a:pt x="24442" y="11045"/>
                      <a:pt x="24528" y="11079"/>
                      <a:pt x="24528" y="11148"/>
                    </a:cubicBezTo>
                    <a:cubicBezTo>
                      <a:pt x="24374" y="10924"/>
                      <a:pt x="24528" y="11440"/>
                      <a:pt x="24288" y="11148"/>
                    </a:cubicBezTo>
                    <a:cubicBezTo>
                      <a:pt x="24288" y="11268"/>
                      <a:pt x="24064" y="11268"/>
                      <a:pt x="23978" y="11388"/>
                    </a:cubicBezTo>
                    <a:lnTo>
                      <a:pt x="23978" y="11388"/>
                    </a:lnTo>
                    <a:cubicBezTo>
                      <a:pt x="23978" y="11388"/>
                      <a:pt x="23841" y="11388"/>
                      <a:pt x="23790" y="11388"/>
                    </a:cubicBezTo>
                    <a:cubicBezTo>
                      <a:pt x="23738" y="11388"/>
                      <a:pt x="23790" y="11388"/>
                      <a:pt x="23790" y="11388"/>
                    </a:cubicBezTo>
                    <a:cubicBezTo>
                      <a:pt x="23790" y="11388"/>
                      <a:pt x="23738" y="11594"/>
                      <a:pt x="23669" y="11440"/>
                    </a:cubicBezTo>
                    <a:close/>
                    <a:moveTo>
                      <a:pt x="38184" y="41533"/>
                    </a:moveTo>
                    <a:cubicBezTo>
                      <a:pt x="38063" y="41224"/>
                      <a:pt x="38579" y="40880"/>
                      <a:pt x="38802" y="40640"/>
                    </a:cubicBezTo>
                    <a:cubicBezTo>
                      <a:pt x="39025" y="40399"/>
                      <a:pt x="39025" y="39729"/>
                      <a:pt x="39540" y="39523"/>
                    </a:cubicBezTo>
                    <a:lnTo>
                      <a:pt x="39540" y="39523"/>
                    </a:lnTo>
                    <a:cubicBezTo>
                      <a:pt x="39540" y="39523"/>
                      <a:pt x="39540" y="39523"/>
                      <a:pt x="39540" y="39523"/>
                    </a:cubicBezTo>
                    <a:cubicBezTo>
                      <a:pt x="39540" y="39523"/>
                      <a:pt x="39644" y="39523"/>
                      <a:pt x="39781" y="39386"/>
                    </a:cubicBezTo>
                    <a:cubicBezTo>
                      <a:pt x="39661" y="39678"/>
                      <a:pt x="40073" y="39077"/>
                      <a:pt x="39953" y="39386"/>
                    </a:cubicBezTo>
                    <a:cubicBezTo>
                      <a:pt x="39832" y="39695"/>
                      <a:pt x="39953" y="39386"/>
                      <a:pt x="39953" y="39386"/>
                    </a:cubicBezTo>
                    <a:cubicBezTo>
                      <a:pt x="39953" y="39386"/>
                      <a:pt x="39953" y="39386"/>
                      <a:pt x="39953" y="39248"/>
                    </a:cubicBezTo>
                    <a:cubicBezTo>
                      <a:pt x="39953" y="39111"/>
                      <a:pt x="40073" y="39248"/>
                      <a:pt x="39953" y="39248"/>
                    </a:cubicBezTo>
                    <a:lnTo>
                      <a:pt x="39953" y="39248"/>
                    </a:lnTo>
                    <a:cubicBezTo>
                      <a:pt x="39953" y="39248"/>
                      <a:pt x="39953" y="39248"/>
                      <a:pt x="39953" y="39369"/>
                    </a:cubicBezTo>
                    <a:cubicBezTo>
                      <a:pt x="39953" y="39489"/>
                      <a:pt x="40090" y="39197"/>
                      <a:pt x="40107" y="39266"/>
                    </a:cubicBezTo>
                    <a:cubicBezTo>
                      <a:pt x="40124" y="39334"/>
                      <a:pt x="40107" y="39266"/>
                      <a:pt x="40107" y="39145"/>
                    </a:cubicBezTo>
                    <a:cubicBezTo>
                      <a:pt x="40107" y="39025"/>
                      <a:pt x="40262" y="39145"/>
                      <a:pt x="40107" y="39042"/>
                    </a:cubicBezTo>
                    <a:cubicBezTo>
                      <a:pt x="39953" y="38939"/>
                      <a:pt x="40107" y="39145"/>
                      <a:pt x="40262" y="38939"/>
                    </a:cubicBezTo>
                    <a:cubicBezTo>
                      <a:pt x="40416" y="38733"/>
                      <a:pt x="40537" y="38733"/>
                      <a:pt x="40485" y="38561"/>
                    </a:cubicBezTo>
                    <a:cubicBezTo>
                      <a:pt x="40434" y="38389"/>
                      <a:pt x="40588" y="38561"/>
                      <a:pt x="40674" y="38441"/>
                    </a:cubicBezTo>
                    <a:cubicBezTo>
                      <a:pt x="40760" y="38321"/>
                      <a:pt x="40674" y="38664"/>
                      <a:pt x="40674" y="38664"/>
                    </a:cubicBezTo>
                    <a:cubicBezTo>
                      <a:pt x="41344" y="38922"/>
                      <a:pt x="37514" y="43560"/>
                      <a:pt x="38184" y="41533"/>
                    </a:cubicBezTo>
                    <a:close/>
                    <a:moveTo>
                      <a:pt x="49159" y="26589"/>
                    </a:moveTo>
                    <a:cubicBezTo>
                      <a:pt x="49159" y="26589"/>
                      <a:pt x="49159" y="26589"/>
                      <a:pt x="49159" y="26589"/>
                    </a:cubicBezTo>
                    <a:cubicBezTo>
                      <a:pt x="48810" y="27921"/>
                      <a:pt x="48552" y="29276"/>
                      <a:pt x="48386" y="30643"/>
                    </a:cubicBezTo>
                    <a:cubicBezTo>
                      <a:pt x="48386" y="30540"/>
                      <a:pt x="48215" y="30780"/>
                      <a:pt x="48215" y="30849"/>
                    </a:cubicBezTo>
                    <a:cubicBezTo>
                      <a:pt x="48026" y="31570"/>
                      <a:pt x="47579" y="26864"/>
                      <a:pt x="47613" y="26452"/>
                    </a:cubicBezTo>
                    <a:cubicBezTo>
                      <a:pt x="47459" y="26452"/>
                      <a:pt x="47613" y="26263"/>
                      <a:pt x="47613" y="26160"/>
                    </a:cubicBezTo>
                    <a:cubicBezTo>
                      <a:pt x="47613" y="26057"/>
                      <a:pt x="47528" y="26160"/>
                      <a:pt x="47528" y="26160"/>
                    </a:cubicBezTo>
                    <a:cubicBezTo>
                      <a:pt x="47528" y="26555"/>
                      <a:pt x="47373" y="27362"/>
                      <a:pt x="47098" y="26606"/>
                    </a:cubicBezTo>
                    <a:cubicBezTo>
                      <a:pt x="47098" y="26606"/>
                      <a:pt x="46909" y="26332"/>
                      <a:pt x="46995" y="26383"/>
                    </a:cubicBezTo>
                    <a:lnTo>
                      <a:pt x="46995" y="26383"/>
                    </a:lnTo>
                    <a:cubicBezTo>
                      <a:pt x="46995" y="26538"/>
                      <a:pt x="46995" y="26383"/>
                      <a:pt x="46995" y="26383"/>
                    </a:cubicBezTo>
                    <a:cubicBezTo>
                      <a:pt x="46995" y="26383"/>
                      <a:pt x="47201" y="26074"/>
                      <a:pt x="47081" y="26040"/>
                    </a:cubicBezTo>
                    <a:cubicBezTo>
                      <a:pt x="47081" y="26383"/>
                      <a:pt x="46583" y="26040"/>
                      <a:pt x="46806" y="25833"/>
                    </a:cubicBezTo>
                    <a:cubicBezTo>
                      <a:pt x="46806" y="25833"/>
                      <a:pt x="46806" y="25937"/>
                      <a:pt x="46686" y="25971"/>
                    </a:cubicBezTo>
                    <a:cubicBezTo>
                      <a:pt x="46566" y="26005"/>
                      <a:pt x="46686" y="25885"/>
                      <a:pt x="46549" y="25971"/>
                    </a:cubicBezTo>
                    <a:cubicBezTo>
                      <a:pt x="46411" y="26057"/>
                      <a:pt x="46549" y="25696"/>
                      <a:pt x="46428" y="25559"/>
                    </a:cubicBezTo>
                    <a:cubicBezTo>
                      <a:pt x="46239" y="25730"/>
                      <a:pt x="46428" y="25318"/>
                      <a:pt x="46119" y="25438"/>
                    </a:cubicBezTo>
                    <a:cubicBezTo>
                      <a:pt x="46119" y="25438"/>
                      <a:pt x="45965" y="25524"/>
                      <a:pt x="45913" y="25610"/>
                    </a:cubicBezTo>
                    <a:cubicBezTo>
                      <a:pt x="45861" y="25696"/>
                      <a:pt x="45810" y="25610"/>
                      <a:pt x="45741" y="25610"/>
                    </a:cubicBezTo>
                    <a:cubicBezTo>
                      <a:pt x="45673" y="25610"/>
                      <a:pt x="45604" y="25610"/>
                      <a:pt x="45552" y="25765"/>
                    </a:cubicBezTo>
                    <a:cubicBezTo>
                      <a:pt x="45501" y="25919"/>
                      <a:pt x="45552" y="25765"/>
                      <a:pt x="45432" y="25765"/>
                    </a:cubicBezTo>
                    <a:cubicBezTo>
                      <a:pt x="45312" y="25765"/>
                      <a:pt x="45260" y="25885"/>
                      <a:pt x="45209" y="25679"/>
                    </a:cubicBezTo>
                    <a:cubicBezTo>
                      <a:pt x="45209" y="25782"/>
                      <a:pt x="44814" y="25679"/>
                      <a:pt x="44728" y="25679"/>
                    </a:cubicBezTo>
                    <a:cubicBezTo>
                      <a:pt x="44642" y="25679"/>
                      <a:pt x="44573" y="25679"/>
                      <a:pt x="44453" y="25679"/>
                    </a:cubicBezTo>
                    <a:cubicBezTo>
                      <a:pt x="44178" y="24683"/>
                      <a:pt x="44144" y="25541"/>
                      <a:pt x="43663" y="25404"/>
                    </a:cubicBezTo>
                    <a:cubicBezTo>
                      <a:pt x="43560" y="25404"/>
                      <a:pt x="43251" y="25284"/>
                      <a:pt x="43285" y="25146"/>
                    </a:cubicBezTo>
                    <a:cubicBezTo>
                      <a:pt x="43319" y="25009"/>
                      <a:pt x="42838" y="25146"/>
                      <a:pt x="42804" y="24803"/>
                    </a:cubicBezTo>
                    <a:cubicBezTo>
                      <a:pt x="42804" y="24803"/>
                      <a:pt x="42684" y="24803"/>
                      <a:pt x="42804" y="24803"/>
                    </a:cubicBezTo>
                    <a:cubicBezTo>
                      <a:pt x="42632" y="24803"/>
                      <a:pt x="42564" y="24185"/>
                      <a:pt x="42375" y="24425"/>
                    </a:cubicBezTo>
                    <a:cubicBezTo>
                      <a:pt x="42375" y="24339"/>
                      <a:pt x="42220" y="24425"/>
                      <a:pt x="42272" y="24270"/>
                    </a:cubicBezTo>
                    <a:cubicBezTo>
                      <a:pt x="42323" y="24116"/>
                      <a:pt x="42272" y="24270"/>
                      <a:pt x="42272" y="24270"/>
                    </a:cubicBezTo>
                    <a:cubicBezTo>
                      <a:pt x="42272" y="24270"/>
                      <a:pt x="42272" y="24494"/>
                      <a:pt x="42272" y="24270"/>
                    </a:cubicBezTo>
                    <a:cubicBezTo>
                      <a:pt x="42272" y="24047"/>
                      <a:pt x="42272" y="24580"/>
                      <a:pt x="42100" y="24597"/>
                    </a:cubicBezTo>
                    <a:lnTo>
                      <a:pt x="42220" y="24597"/>
                    </a:lnTo>
                    <a:lnTo>
                      <a:pt x="42220" y="24597"/>
                    </a:lnTo>
                    <a:cubicBezTo>
                      <a:pt x="42220" y="24597"/>
                      <a:pt x="42220" y="24700"/>
                      <a:pt x="42220" y="24734"/>
                    </a:cubicBezTo>
                    <a:cubicBezTo>
                      <a:pt x="42220" y="24769"/>
                      <a:pt x="42220" y="24837"/>
                      <a:pt x="42220" y="24734"/>
                    </a:cubicBezTo>
                    <a:cubicBezTo>
                      <a:pt x="42259" y="24896"/>
                      <a:pt x="42365" y="25033"/>
                      <a:pt x="42512" y="25112"/>
                    </a:cubicBezTo>
                    <a:cubicBezTo>
                      <a:pt x="42512" y="25112"/>
                      <a:pt x="42821" y="25438"/>
                      <a:pt x="42770" y="25610"/>
                    </a:cubicBezTo>
                    <a:lnTo>
                      <a:pt x="42770" y="25610"/>
                    </a:lnTo>
                    <a:cubicBezTo>
                      <a:pt x="42993" y="25851"/>
                      <a:pt x="43027" y="26314"/>
                      <a:pt x="43045" y="25782"/>
                    </a:cubicBezTo>
                    <a:cubicBezTo>
                      <a:pt x="43045" y="25645"/>
                      <a:pt x="43045" y="25438"/>
                      <a:pt x="43165" y="25627"/>
                    </a:cubicBezTo>
                    <a:cubicBezTo>
                      <a:pt x="43133" y="25786"/>
                      <a:pt x="43133" y="25950"/>
                      <a:pt x="43165" y="26108"/>
                    </a:cubicBezTo>
                    <a:cubicBezTo>
                      <a:pt x="43165" y="26108"/>
                      <a:pt x="43165" y="26297"/>
                      <a:pt x="43165" y="26211"/>
                    </a:cubicBezTo>
                    <a:lnTo>
                      <a:pt x="43165" y="26366"/>
                    </a:lnTo>
                    <a:cubicBezTo>
                      <a:pt x="43371" y="26177"/>
                      <a:pt x="43646" y="26366"/>
                      <a:pt x="43766" y="26091"/>
                    </a:cubicBezTo>
                    <a:lnTo>
                      <a:pt x="43766" y="26091"/>
                    </a:lnTo>
                    <a:cubicBezTo>
                      <a:pt x="43766" y="25833"/>
                      <a:pt x="44024" y="25593"/>
                      <a:pt x="44058" y="25318"/>
                    </a:cubicBezTo>
                    <a:lnTo>
                      <a:pt x="44058" y="25318"/>
                    </a:lnTo>
                    <a:cubicBezTo>
                      <a:pt x="44058" y="25318"/>
                      <a:pt x="44058" y="25146"/>
                      <a:pt x="44058" y="25215"/>
                    </a:cubicBezTo>
                    <a:cubicBezTo>
                      <a:pt x="44058" y="25284"/>
                      <a:pt x="44058" y="25559"/>
                      <a:pt x="44058" y="25507"/>
                    </a:cubicBezTo>
                    <a:cubicBezTo>
                      <a:pt x="44058" y="25851"/>
                      <a:pt x="44247" y="26280"/>
                      <a:pt x="44642" y="26091"/>
                    </a:cubicBezTo>
                    <a:cubicBezTo>
                      <a:pt x="44947" y="26440"/>
                      <a:pt x="44947" y="26961"/>
                      <a:pt x="44642" y="27311"/>
                    </a:cubicBezTo>
                    <a:cubicBezTo>
                      <a:pt x="44642" y="27105"/>
                      <a:pt x="44487" y="27757"/>
                      <a:pt x="44642" y="27877"/>
                    </a:cubicBezTo>
                    <a:cubicBezTo>
                      <a:pt x="44230" y="27877"/>
                      <a:pt x="44505" y="28290"/>
                      <a:pt x="44109" y="28376"/>
                    </a:cubicBezTo>
                    <a:cubicBezTo>
                      <a:pt x="44109" y="28496"/>
                      <a:pt x="44109" y="28599"/>
                      <a:pt x="44109" y="28719"/>
                    </a:cubicBezTo>
                    <a:cubicBezTo>
                      <a:pt x="43847" y="28757"/>
                      <a:pt x="43612" y="28900"/>
                      <a:pt x="43457" y="29114"/>
                    </a:cubicBezTo>
                    <a:cubicBezTo>
                      <a:pt x="43457" y="29475"/>
                      <a:pt x="42924" y="29595"/>
                      <a:pt x="42684" y="29767"/>
                    </a:cubicBezTo>
                    <a:cubicBezTo>
                      <a:pt x="42443" y="29939"/>
                      <a:pt x="42495" y="30042"/>
                      <a:pt x="42357" y="29990"/>
                    </a:cubicBezTo>
                    <a:cubicBezTo>
                      <a:pt x="42248" y="30193"/>
                      <a:pt x="42016" y="30299"/>
                      <a:pt x="41791" y="30248"/>
                    </a:cubicBezTo>
                    <a:cubicBezTo>
                      <a:pt x="41649" y="30457"/>
                      <a:pt x="41423" y="30595"/>
                      <a:pt x="41172" y="30626"/>
                    </a:cubicBezTo>
                    <a:cubicBezTo>
                      <a:pt x="41035" y="30317"/>
                      <a:pt x="41172" y="29904"/>
                      <a:pt x="40897" y="29629"/>
                    </a:cubicBezTo>
                    <a:cubicBezTo>
                      <a:pt x="41155" y="29011"/>
                      <a:pt x="40262" y="28204"/>
                      <a:pt x="39850" y="27706"/>
                    </a:cubicBezTo>
                    <a:cubicBezTo>
                      <a:pt x="39850" y="27293"/>
                      <a:pt x="39747" y="26589"/>
                      <a:pt x="39283" y="26606"/>
                    </a:cubicBezTo>
                    <a:cubicBezTo>
                      <a:pt x="39111" y="25799"/>
                      <a:pt x="38166" y="25370"/>
                      <a:pt x="38338" y="24751"/>
                    </a:cubicBezTo>
                    <a:cubicBezTo>
                      <a:pt x="38218" y="24975"/>
                      <a:pt x="38338" y="25249"/>
                      <a:pt x="38201" y="25438"/>
                    </a:cubicBezTo>
                    <a:cubicBezTo>
                      <a:pt x="37948" y="25233"/>
                      <a:pt x="37727" y="24989"/>
                      <a:pt x="37548" y="24717"/>
                    </a:cubicBezTo>
                    <a:cubicBezTo>
                      <a:pt x="37840" y="25370"/>
                      <a:pt x="38304" y="26022"/>
                      <a:pt x="38682" y="26692"/>
                    </a:cubicBezTo>
                    <a:lnTo>
                      <a:pt x="38682" y="26692"/>
                    </a:lnTo>
                    <a:cubicBezTo>
                      <a:pt x="38718" y="26746"/>
                      <a:pt x="38765" y="26793"/>
                      <a:pt x="38819" y="26830"/>
                    </a:cubicBezTo>
                    <a:cubicBezTo>
                      <a:pt x="38819" y="26830"/>
                      <a:pt x="38716" y="26830"/>
                      <a:pt x="38699" y="26830"/>
                    </a:cubicBezTo>
                    <a:cubicBezTo>
                      <a:pt x="38699" y="27328"/>
                      <a:pt x="39231" y="27311"/>
                      <a:pt x="39317" y="27826"/>
                    </a:cubicBezTo>
                    <a:cubicBezTo>
                      <a:pt x="39180" y="27826"/>
                      <a:pt x="39420" y="28187"/>
                      <a:pt x="39317" y="28376"/>
                    </a:cubicBezTo>
                    <a:cubicBezTo>
                      <a:pt x="39214" y="28565"/>
                      <a:pt x="39644" y="28719"/>
                      <a:pt x="39712" y="28891"/>
                    </a:cubicBezTo>
                    <a:cubicBezTo>
                      <a:pt x="39781" y="29063"/>
                      <a:pt x="39884" y="29561"/>
                      <a:pt x="40021" y="29715"/>
                    </a:cubicBezTo>
                    <a:cubicBezTo>
                      <a:pt x="40159" y="29870"/>
                      <a:pt x="40142" y="30007"/>
                      <a:pt x="40021" y="29801"/>
                    </a:cubicBezTo>
                    <a:cubicBezTo>
                      <a:pt x="39901" y="29595"/>
                      <a:pt x="40021" y="30042"/>
                      <a:pt x="40193" y="29939"/>
                    </a:cubicBezTo>
                    <a:cubicBezTo>
                      <a:pt x="40571" y="29939"/>
                      <a:pt x="40708" y="30591"/>
                      <a:pt x="40932" y="30626"/>
                    </a:cubicBezTo>
                    <a:cubicBezTo>
                      <a:pt x="41155" y="30660"/>
                      <a:pt x="40932" y="30746"/>
                      <a:pt x="41035" y="30746"/>
                    </a:cubicBezTo>
                    <a:cubicBezTo>
                      <a:pt x="41037" y="30889"/>
                      <a:pt x="40935" y="31013"/>
                      <a:pt x="40794" y="31038"/>
                    </a:cubicBezTo>
                    <a:cubicBezTo>
                      <a:pt x="41035" y="31038"/>
                      <a:pt x="41086" y="31364"/>
                      <a:pt x="41327" y="31450"/>
                    </a:cubicBezTo>
                    <a:cubicBezTo>
                      <a:pt x="41782" y="31205"/>
                      <a:pt x="42267" y="31020"/>
                      <a:pt x="42770" y="30901"/>
                    </a:cubicBezTo>
                    <a:cubicBezTo>
                      <a:pt x="42857" y="30834"/>
                      <a:pt x="42933" y="30752"/>
                      <a:pt x="42993" y="30660"/>
                    </a:cubicBezTo>
                    <a:cubicBezTo>
                      <a:pt x="43165" y="30660"/>
                      <a:pt x="42993" y="31021"/>
                      <a:pt x="42993" y="31210"/>
                    </a:cubicBezTo>
                    <a:cubicBezTo>
                      <a:pt x="42993" y="31399"/>
                      <a:pt x="42993" y="31210"/>
                      <a:pt x="42993" y="31210"/>
                    </a:cubicBezTo>
                    <a:cubicBezTo>
                      <a:pt x="42684" y="33580"/>
                      <a:pt x="39163" y="34989"/>
                      <a:pt x="38922" y="37033"/>
                    </a:cubicBezTo>
                    <a:cubicBezTo>
                      <a:pt x="38922" y="37033"/>
                      <a:pt x="38716" y="37204"/>
                      <a:pt x="38802" y="37307"/>
                    </a:cubicBezTo>
                    <a:cubicBezTo>
                      <a:pt x="38888" y="37410"/>
                      <a:pt x="38596" y="37874"/>
                      <a:pt x="38802" y="38012"/>
                    </a:cubicBezTo>
                    <a:cubicBezTo>
                      <a:pt x="38630" y="38407"/>
                      <a:pt x="38493" y="38991"/>
                      <a:pt x="38355" y="39248"/>
                    </a:cubicBezTo>
                    <a:cubicBezTo>
                      <a:pt x="38218" y="39506"/>
                      <a:pt x="38149" y="39369"/>
                      <a:pt x="38355" y="39351"/>
                    </a:cubicBezTo>
                    <a:cubicBezTo>
                      <a:pt x="38063" y="39781"/>
                      <a:pt x="37514" y="39901"/>
                      <a:pt x="37119" y="40193"/>
                    </a:cubicBezTo>
                    <a:lnTo>
                      <a:pt x="37119" y="40193"/>
                    </a:lnTo>
                    <a:cubicBezTo>
                      <a:pt x="36902" y="40432"/>
                      <a:pt x="36622" y="40604"/>
                      <a:pt x="36311" y="40691"/>
                    </a:cubicBezTo>
                    <a:cubicBezTo>
                      <a:pt x="36339" y="40751"/>
                      <a:pt x="36339" y="40820"/>
                      <a:pt x="36311" y="40880"/>
                    </a:cubicBezTo>
                    <a:cubicBezTo>
                      <a:pt x="36311" y="40880"/>
                      <a:pt x="36311" y="41000"/>
                      <a:pt x="36311" y="41035"/>
                    </a:cubicBezTo>
                    <a:cubicBezTo>
                      <a:pt x="36311" y="41069"/>
                      <a:pt x="36311" y="41292"/>
                      <a:pt x="36311" y="41395"/>
                    </a:cubicBezTo>
                    <a:cubicBezTo>
                      <a:pt x="36311" y="41498"/>
                      <a:pt x="36311" y="41310"/>
                      <a:pt x="36311" y="41292"/>
                    </a:cubicBezTo>
                    <a:lnTo>
                      <a:pt x="36311" y="41292"/>
                    </a:lnTo>
                    <a:lnTo>
                      <a:pt x="36311" y="41292"/>
                    </a:lnTo>
                    <a:cubicBezTo>
                      <a:pt x="36311" y="41447"/>
                      <a:pt x="36122" y="41567"/>
                      <a:pt x="36054" y="41705"/>
                    </a:cubicBezTo>
                    <a:lnTo>
                      <a:pt x="36054" y="41705"/>
                    </a:lnTo>
                    <a:cubicBezTo>
                      <a:pt x="35865" y="42117"/>
                      <a:pt x="35126" y="41997"/>
                      <a:pt x="35006" y="42392"/>
                    </a:cubicBezTo>
                    <a:lnTo>
                      <a:pt x="35126" y="42392"/>
                    </a:lnTo>
                    <a:cubicBezTo>
                      <a:pt x="35084" y="42471"/>
                      <a:pt x="35025" y="42542"/>
                      <a:pt x="34954" y="42598"/>
                    </a:cubicBezTo>
                    <a:lnTo>
                      <a:pt x="34954" y="42598"/>
                    </a:lnTo>
                    <a:cubicBezTo>
                      <a:pt x="34162" y="43425"/>
                      <a:pt x="33158" y="44019"/>
                      <a:pt x="32051" y="44315"/>
                    </a:cubicBezTo>
                    <a:cubicBezTo>
                      <a:pt x="31588" y="44161"/>
                      <a:pt x="31124" y="44453"/>
                      <a:pt x="30660" y="44418"/>
                    </a:cubicBezTo>
                    <a:cubicBezTo>
                      <a:pt x="30660" y="44333"/>
                      <a:pt x="30660" y="44418"/>
                      <a:pt x="30660" y="44418"/>
                    </a:cubicBezTo>
                    <a:cubicBezTo>
                      <a:pt x="30660" y="44418"/>
                      <a:pt x="30557" y="44333"/>
                      <a:pt x="30660" y="44418"/>
                    </a:cubicBezTo>
                    <a:cubicBezTo>
                      <a:pt x="30763" y="44504"/>
                      <a:pt x="30798" y="44230"/>
                      <a:pt x="30660" y="44092"/>
                    </a:cubicBezTo>
                    <a:cubicBezTo>
                      <a:pt x="30987" y="43938"/>
                      <a:pt x="30660" y="43508"/>
                      <a:pt x="30660" y="43199"/>
                    </a:cubicBezTo>
                    <a:cubicBezTo>
                      <a:pt x="30128" y="42392"/>
                      <a:pt x="30437" y="41189"/>
                      <a:pt x="29836" y="40296"/>
                    </a:cubicBezTo>
                    <a:cubicBezTo>
                      <a:pt x="29836" y="39369"/>
                      <a:pt x="31210" y="38956"/>
                      <a:pt x="30591" y="38046"/>
                    </a:cubicBezTo>
                    <a:cubicBezTo>
                      <a:pt x="30866" y="37840"/>
                      <a:pt x="30591" y="37428"/>
                      <a:pt x="30471" y="37204"/>
                    </a:cubicBezTo>
                    <a:lnTo>
                      <a:pt x="30574" y="37204"/>
                    </a:lnTo>
                    <a:cubicBezTo>
                      <a:pt x="30574" y="37204"/>
                      <a:pt x="30334" y="37204"/>
                      <a:pt x="30454" y="37050"/>
                    </a:cubicBezTo>
                    <a:cubicBezTo>
                      <a:pt x="30248" y="36449"/>
                      <a:pt x="29561" y="36242"/>
                      <a:pt x="29423" y="35607"/>
                    </a:cubicBezTo>
                    <a:cubicBezTo>
                      <a:pt x="29578" y="35607"/>
                      <a:pt x="29612" y="35487"/>
                      <a:pt x="29630" y="35298"/>
                    </a:cubicBezTo>
                    <a:cubicBezTo>
                      <a:pt x="29647" y="35109"/>
                      <a:pt x="29767" y="35298"/>
                      <a:pt x="29819" y="35298"/>
                    </a:cubicBezTo>
                    <a:cubicBezTo>
                      <a:pt x="29741" y="35301"/>
                      <a:pt x="29670" y="35252"/>
                      <a:pt x="29647" y="35177"/>
                    </a:cubicBezTo>
                    <a:cubicBezTo>
                      <a:pt x="29767" y="35177"/>
                      <a:pt x="29750" y="35057"/>
                      <a:pt x="29647" y="35040"/>
                    </a:cubicBezTo>
                    <a:cubicBezTo>
                      <a:pt x="29897" y="34793"/>
                      <a:pt x="29972" y="34419"/>
                      <a:pt x="29836" y="34095"/>
                    </a:cubicBezTo>
                    <a:cubicBezTo>
                      <a:pt x="29681" y="34198"/>
                      <a:pt x="29612" y="34095"/>
                      <a:pt x="29612" y="33906"/>
                    </a:cubicBezTo>
                    <a:cubicBezTo>
                      <a:pt x="29559" y="33957"/>
                      <a:pt x="29477" y="33957"/>
                      <a:pt x="29423" y="33906"/>
                    </a:cubicBezTo>
                    <a:cubicBezTo>
                      <a:pt x="29269" y="34095"/>
                      <a:pt x="28771" y="34078"/>
                      <a:pt x="28496" y="34044"/>
                    </a:cubicBezTo>
                    <a:cubicBezTo>
                      <a:pt x="28118" y="32807"/>
                      <a:pt x="26778" y="33529"/>
                      <a:pt x="25937" y="33821"/>
                    </a:cubicBezTo>
                    <a:cubicBezTo>
                      <a:pt x="24219" y="33305"/>
                      <a:pt x="23961" y="34490"/>
                      <a:pt x="22501" y="32687"/>
                    </a:cubicBezTo>
                    <a:cubicBezTo>
                      <a:pt x="22330" y="32687"/>
                      <a:pt x="22364" y="32429"/>
                      <a:pt x="22226" y="32361"/>
                    </a:cubicBezTo>
                    <a:cubicBezTo>
                      <a:pt x="22089" y="32292"/>
                      <a:pt x="22226" y="32240"/>
                      <a:pt x="22226" y="32137"/>
                    </a:cubicBezTo>
                    <a:cubicBezTo>
                      <a:pt x="22226" y="32034"/>
                      <a:pt x="21883" y="31897"/>
                      <a:pt x="21986" y="31828"/>
                    </a:cubicBezTo>
                    <a:cubicBezTo>
                      <a:pt x="21608" y="31828"/>
                      <a:pt x="21814" y="31485"/>
                      <a:pt x="21591" y="31536"/>
                    </a:cubicBezTo>
                    <a:cubicBezTo>
                      <a:pt x="21368" y="31588"/>
                      <a:pt x="21591" y="31450"/>
                      <a:pt x="21436" y="31450"/>
                    </a:cubicBezTo>
                    <a:lnTo>
                      <a:pt x="21436" y="31450"/>
                    </a:lnTo>
                    <a:lnTo>
                      <a:pt x="21436" y="31450"/>
                    </a:lnTo>
                    <a:cubicBezTo>
                      <a:pt x="21436" y="31450"/>
                      <a:pt x="21436" y="31450"/>
                      <a:pt x="21436" y="31347"/>
                    </a:cubicBezTo>
                    <a:cubicBezTo>
                      <a:pt x="21436" y="31244"/>
                      <a:pt x="21625" y="31347"/>
                      <a:pt x="21642" y="31347"/>
                    </a:cubicBezTo>
                    <a:cubicBezTo>
                      <a:pt x="21660" y="31347"/>
                      <a:pt x="21076" y="31347"/>
                      <a:pt x="21247" y="31158"/>
                    </a:cubicBezTo>
                    <a:cubicBezTo>
                      <a:pt x="21110" y="31158"/>
                      <a:pt x="21076" y="31158"/>
                      <a:pt x="21041" y="30986"/>
                    </a:cubicBezTo>
                    <a:cubicBezTo>
                      <a:pt x="21007" y="30815"/>
                      <a:pt x="21162" y="30986"/>
                      <a:pt x="21213" y="30986"/>
                    </a:cubicBezTo>
                    <a:cubicBezTo>
                      <a:pt x="21265" y="30986"/>
                      <a:pt x="21076" y="30986"/>
                      <a:pt x="21024" y="30986"/>
                    </a:cubicBezTo>
                    <a:cubicBezTo>
                      <a:pt x="20973" y="30986"/>
                      <a:pt x="21024" y="30849"/>
                      <a:pt x="21024" y="30780"/>
                    </a:cubicBezTo>
                    <a:cubicBezTo>
                      <a:pt x="21024" y="30712"/>
                      <a:pt x="21179" y="30935"/>
                      <a:pt x="21299" y="30780"/>
                    </a:cubicBezTo>
                    <a:cubicBezTo>
                      <a:pt x="21419" y="30626"/>
                      <a:pt x="21024" y="30694"/>
                      <a:pt x="21144" y="30626"/>
                    </a:cubicBezTo>
                    <a:lnTo>
                      <a:pt x="21144" y="30626"/>
                    </a:lnTo>
                    <a:cubicBezTo>
                      <a:pt x="21144" y="30626"/>
                      <a:pt x="20990" y="30368"/>
                      <a:pt x="20921" y="30299"/>
                    </a:cubicBezTo>
                    <a:cubicBezTo>
                      <a:pt x="21365" y="29847"/>
                      <a:pt x="21523" y="29187"/>
                      <a:pt x="21333" y="28582"/>
                    </a:cubicBezTo>
                    <a:cubicBezTo>
                      <a:pt x="21471" y="28582"/>
                      <a:pt x="21333" y="28393"/>
                      <a:pt x="21436" y="28358"/>
                    </a:cubicBezTo>
                    <a:cubicBezTo>
                      <a:pt x="21539" y="28324"/>
                      <a:pt x="21265" y="28255"/>
                      <a:pt x="21247" y="28135"/>
                    </a:cubicBezTo>
                    <a:lnTo>
                      <a:pt x="21247" y="28221"/>
                    </a:lnTo>
                    <a:cubicBezTo>
                      <a:pt x="21228" y="27927"/>
                      <a:pt x="21357" y="27644"/>
                      <a:pt x="21591" y="27465"/>
                    </a:cubicBezTo>
                    <a:cubicBezTo>
                      <a:pt x="21952" y="26297"/>
                      <a:pt x="23103" y="25833"/>
                      <a:pt x="23927" y="25043"/>
                    </a:cubicBezTo>
                    <a:cubicBezTo>
                      <a:pt x="23935" y="24883"/>
                      <a:pt x="23935" y="24723"/>
                      <a:pt x="23927" y="24562"/>
                    </a:cubicBezTo>
                    <a:cubicBezTo>
                      <a:pt x="23927" y="24373"/>
                      <a:pt x="24288" y="24288"/>
                      <a:pt x="24133" y="24081"/>
                    </a:cubicBezTo>
                    <a:cubicBezTo>
                      <a:pt x="24677" y="23812"/>
                      <a:pt x="25139" y="23403"/>
                      <a:pt x="25473" y="22896"/>
                    </a:cubicBezTo>
                    <a:cubicBezTo>
                      <a:pt x="25473" y="23240"/>
                      <a:pt x="26005" y="23223"/>
                      <a:pt x="26194" y="23102"/>
                    </a:cubicBezTo>
                    <a:cubicBezTo>
                      <a:pt x="26521" y="23497"/>
                      <a:pt x="27225" y="22828"/>
                      <a:pt x="27586" y="22725"/>
                    </a:cubicBezTo>
                    <a:cubicBezTo>
                      <a:pt x="27946" y="22621"/>
                      <a:pt x="28771" y="22725"/>
                      <a:pt x="29063" y="22587"/>
                    </a:cubicBezTo>
                    <a:cubicBezTo>
                      <a:pt x="29355" y="22450"/>
                      <a:pt x="29286" y="22828"/>
                      <a:pt x="29372" y="22587"/>
                    </a:cubicBezTo>
                    <a:cubicBezTo>
                      <a:pt x="29647" y="22828"/>
                      <a:pt x="29939" y="22450"/>
                      <a:pt x="30162" y="22587"/>
                    </a:cubicBezTo>
                    <a:cubicBezTo>
                      <a:pt x="30162" y="22398"/>
                      <a:pt x="30299" y="22725"/>
                      <a:pt x="30385" y="22776"/>
                    </a:cubicBezTo>
                    <a:cubicBezTo>
                      <a:pt x="30746" y="22415"/>
                      <a:pt x="30488" y="22862"/>
                      <a:pt x="30385" y="23017"/>
                    </a:cubicBezTo>
                    <a:cubicBezTo>
                      <a:pt x="31021" y="23446"/>
                      <a:pt x="29956" y="23618"/>
                      <a:pt x="30385" y="23910"/>
                    </a:cubicBezTo>
                    <a:cubicBezTo>
                      <a:pt x="30385" y="23910"/>
                      <a:pt x="30385" y="23910"/>
                      <a:pt x="30506" y="23910"/>
                    </a:cubicBezTo>
                    <a:cubicBezTo>
                      <a:pt x="30626" y="23910"/>
                      <a:pt x="30506" y="23824"/>
                      <a:pt x="30506" y="23910"/>
                    </a:cubicBezTo>
                    <a:cubicBezTo>
                      <a:pt x="30677" y="24322"/>
                      <a:pt x="31313" y="24013"/>
                      <a:pt x="31622" y="24236"/>
                    </a:cubicBezTo>
                    <a:cubicBezTo>
                      <a:pt x="34851" y="26469"/>
                      <a:pt x="32343" y="23566"/>
                      <a:pt x="34473" y="24236"/>
                    </a:cubicBezTo>
                    <a:cubicBezTo>
                      <a:pt x="34834" y="24580"/>
                      <a:pt x="35641" y="24477"/>
                      <a:pt x="36191" y="24700"/>
                    </a:cubicBezTo>
                    <a:cubicBezTo>
                      <a:pt x="36741" y="24923"/>
                      <a:pt x="36724" y="24597"/>
                      <a:pt x="37084" y="24494"/>
                    </a:cubicBezTo>
                    <a:cubicBezTo>
                      <a:pt x="36844" y="24580"/>
                      <a:pt x="37084" y="24494"/>
                      <a:pt x="37187" y="24494"/>
                    </a:cubicBezTo>
                    <a:cubicBezTo>
                      <a:pt x="37290" y="24494"/>
                      <a:pt x="37187" y="24494"/>
                      <a:pt x="37187" y="24494"/>
                    </a:cubicBezTo>
                    <a:cubicBezTo>
                      <a:pt x="37187" y="24494"/>
                      <a:pt x="37411" y="24494"/>
                      <a:pt x="37462" y="24494"/>
                    </a:cubicBezTo>
                    <a:cubicBezTo>
                      <a:pt x="37514" y="24494"/>
                      <a:pt x="37565" y="24614"/>
                      <a:pt x="37565" y="24665"/>
                    </a:cubicBezTo>
                    <a:cubicBezTo>
                      <a:pt x="37565" y="24717"/>
                      <a:pt x="37565" y="24562"/>
                      <a:pt x="37565" y="24494"/>
                    </a:cubicBezTo>
                    <a:cubicBezTo>
                      <a:pt x="38733" y="24889"/>
                      <a:pt x="38338" y="22776"/>
                      <a:pt x="38407" y="22381"/>
                    </a:cubicBezTo>
                    <a:cubicBezTo>
                      <a:pt x="38218" y="22536"/>
                      <a:pt x="37892" y="22381"/>
                      <a:pt x="37840" y="22656"/>
                    </a:cubicBezTo>
                    <a:cubicBezTo>
                      <a:pt x="37496" y="23051"/>
                      <a:pt x="36775" y="22106"/>
                      <a:pt x="36775" y="22656"/>
                    </a:cubicBezTo>
                    <a:cubicBezTo>
                      <a:pt x="36620" y="22656"/>
                      <a:pt x="36225" y="22828"/>
                      <a:pt x="36277" y="22536"/>
                    </a:cubicBezTo>
                    <a:cubicBezTo>
                      <a:pt x="36277" y="22536"/>
                      <a:pt x="36277" y="22536"/>
                      <a:pt x="36140" y="22536"/>
                    </a:cubicBezTo>
                    <a:cubicBezTo>
                      <a:pt x="36002" y="22536"/>
                      <a:pt x="35951" y="22690"/>
                      <a:pt x="35933" y="22536"/>
                    </a:cubicBezTo>
                    <a:lnTo>
                      <a:pt x="35727" y="22536"/>
                    </a:lnTo>
                    <a:cubicBezTo>
                      <a:pt x="35727" y="22450"/>
                      <a:pt x="35951" y="22536"/>
                      <a:pt x="35951" y="22398"/>
                    </a:cubicBezTo>
                    <a:cubicBezTo>
                      <a:pt x="35951" y="22261"/>
                      <a:pt x="35556" y="22501"/>
                      <a:pt x="35762" y="22398"/>
                    </a:cubicBezTo>
                    <a:cubicBezTo>
                      <a:pt x="35521" y="22244"/>
                      <a:pt x="35762" y="22106"/>
                      <a:pt x="35401" y="22020"/>
                    </a:cubicBezTo>
                    <a:cubicBezTo>
                      <a:pt x="35040" y="21934"/>
                      <a:pt x="35401" y="21883"/>
                      <a:pt x="35401" y="21831"/>
                    </a:cubicBezTo>
                    <a:cubicBezTo>
                      <a:pt x="35401" y="21780"/>
                      <a:pt x="35401" y="21952"/>
                      <a:pt x="35573" y="21831"/>
                    </a:cubicBezTo>
                    <a:lnTo>
                      <a:pt x="35573" y="21831"/>
                    </a:lnTo>
                    <a:cubicBezTo>
                      <a:pt x="35573" y="21831"/>
                      <a:pt x="35710" y="21831"/>
                      <a:pt x="35676" y="21694"/>
                    </a:cubicBezTo>
                    <a:cubicBezTo>
                      <a:pt x="35641" y="21557"/>
                      <a:pt x="35504" y="21522"/>
                      <a:pt x="35676" y="21488"/>
                    </a:cubicBezTo>
                    <a:cubicBezTo>
                      <a:pt x="35195" y="21660"/>
                      <a:pt x="35435" y="20938"/>
                      <a:pt x="35779" y="21179"/>
                    </a:cubicBezTo>
                    <a:cubicBezTo>
                      <a:pt x="35779" y="21041"/>
                      <a:pt x="36071" y="21179"/>
                      <a:pt x="36225" y="21179"/>
                    </a:cubicBezTo>
                    <a:cubicBezTo>
                      <a:pt x="35916" y="21058"/>
                      <a:pt x="36363" y="21076"/>
                      <a:pt x="36397" y="20990"/>
                    </a:cubicBezTo>
                    <a:cubicBezTo>
                      <a:pt x="35676" y="20766"/>
                      <a:pt x="36775" y="20869"/>
                      <a:pt x="36827" y="20784"/>
                    </a:cubicBezTo>
                    <a:cubicBezTo>
                      <a:pt x="36964" y="20406"/>
                      <a:pt x="37479" y="20457"/>
                      <a:pt x="37788" y="20371"/>
                    </a:cubicBezTo>
                    <a:cubicBezTo>
                      <a:pt x="37788" y="20543"/>
                      <a:pt x="37960" y="20560"/>
                      <a:pt x="38063" y="20371"/>
                    </a:cubicBezTo>
                    <a:cubicBezTo>
                      <a:pt x="38166" y="20182"/>
                      <a:pt x="38201" y="20663"/>
                      <a:pt x="38287" y="20526"/>
                    </a:cubicBezTo>
                    <a:cubicBezTo>
                      <a:pt x="40760" y="21024"/>
                      <a:pt x="38991" y="19324"/>
                      <a:pt x="37857" y="19049"/>
                    </a:cubicBezTo>
                    <a:cubicBezTo>
                      <a:pt x="37857" y="19049"/>
                      <a:pt x="37857" y="19049"/>
                      <a:pt x="37857" y="18911"/>
                    </a:cubicBezTo>
                    <a:cubicBezTo>
                      <a:pt x="37857" y="18774"/>
                      <a:pt x="38063" y="18911"/>
                      <a:pt x="37977" y="18791"/>
                    </a:cubicBezTo>
                    <a:cubicBezTo>
                      <a:pt x="37892" y="18671"/>
                      <a:pt x="38201" y="18637"/>
                      <a:pt x="37977" y="18551"/>
                    </a:cubicBezTo>
                    <a:cubicBezTo>
                      <a:pt x="37754" y="18465"/>
                      <a:pt x="37874" y="18551"/>
                      <a:pt x="37857" y="18448"/>
                    </a:cubicBezTo>
                    <a:cubicBezTo>
                      <a:pt x="37840" y="18345"/>
                      <a:pt x="38029" y="18448"/>
                      <a:pt x="38029" y="18448"/>
                    </a:cubicBezTo>
                    <a:cubicBezTo>
                      <a:pt x="38029" y="18448"/>
                      <a:pt x="38166" y="18310"/>
                      <a:pt x="38132" y="18224"/>
                    </a:cubicBezTo>
                    <a:cubicBezTo>
                      <a:pt x="38098" y="18138"/>
                      <a:pt x="37651" y="18224"/>
                      <a:pt x="37548" y="18499"/>
                    </a:cubicBezTo>
                    <a:cubicBezTo>
                      <a:pt x="37548" y="18499"/>
                      <a:pt x="37445" y="18585"/>
                      <a:pt x="37359" y="18499"/>
                    </a:cubicBezTo>
                    <a:cubicBezTo>
                      <a:pt x="37273" y="18413"/>
                      <a:pt x="37256" y="18499"/>
                      <a:pt x="37204" y="18499"/>
                    </a:cubicBezTo>
                    <a:cubicBezTo>
                      <a:pt x="37153" y="18499"/>
                      <a:pt x="37204" y="18774"/>
                      <a:pt x="37204" y="18705"/>
                    </a:cubicBezTo>
                    <a:cubicBezTo>
                      <a:pt x="37204" y="18637"/>
                      <a:pt x="37204" y="18585"/>
                      <a:pt x="37204" y="18568"/>
                    </a:cubicBezTo>
                    <a:cubicBezTo>
                      <a:pt x="37204" y="18551"/>
                      <a:pt x="36964" y="18722"/>
                      <a:pt x="36878" y="18791"/>
                    </a:cubicBezTo>
                    <a:cubicBezTo>
                      <a:pt x="36792" y="18860"/>
                      <a:pt x="37170" y="18791"/>
                      <a:pt x="37136" y="18946"/>
                    </a:cubicBezTo>
                    <a:cubicBezTo>
                      <a:pt x="37101" y="19100"/>
                      <a:pt x="37136" y="18946"/>
                      <a:pt x="37136" y="18946"/>
                    </a:cubicBezTo>
                    <a:cubicBezTo>
                      <a:pt x="37136" y="18946"/>
                      <a:pt x="37136" y="19066"/>
                      <a:pt x="37325" y="19049"/>
                    </a:cubicBezTo>
                    <a:cubicBezTo>
                      <a:pt x="37514" y="19032"/>
                      <a:pt x="37016" y="18825"/>
                      <a:pt x="37084" y="18705"/>
                    </a:cubicBezTo>
                    <a:cubicBezTo>
                      <a:pt x="37153" y="18585"/>
                      <a:pt x="37273" y="18980"/>
                      <a:pt x="37393" y="19014"/>
                    </a:cubicBezTo>
                    <a:cubicBezTo>
                      <a:pt x="37514" y="19049"/>
                      <a:pt x="37393" y="19014"/>
                      <a:pt x="37514" y="19014"/>
                    </a:cubicBezTo>
                    <a:cubicBezTo>
                      <a:pt x="37634" y="19014"/>
                      <a:pt x="37617" y="18929"/>
                      <a:pt x="37685" y="18929"/>
                    </a:cubicBezTo>
                    <a:cubicBezTo>
                      <a:pt x="37754" y="18929"/>
                      <a:pt x="37685" y="19152"/>
                      <a:pt x="37462" y="19100"/>
                    </a:cubicBezTo>
                    <a:cubicBezTo>
                      <a:pt x="37239" y="19049"/>
                      <a:pt x="36861" y="19650"/>
                      <a:pt x="36912" y="19100"/>
                    </a:cubicBezTo>
                    <a:cubicBezTo>
                      <a:pt x="36775" y="18980"/>
                      <a:pt x="36466" y="19100"/>
                      <a:pt x="36758" y="18860"/>
                    </a:cubicBezTo>
                    <a:cubicBezTo>
                      <a:pt x="37050" y="18619"/>
                      <a:pt x="36620" y="18602"/>
                      <a:pt x="36500" y="18740"/>
                    </a:cubicBezTo>
                    <a:cubicBezTo>
                      <a:pt x="36380" y="18877"/>
                      <a:pt x="36311" y="18740"/>
                      <a:pt x="36380" y="18619"/>
                    </a:cubicBezTo>
                    <a:cubicBezTo>
                      <a:pt x="36449" y="18499"/>
                      <a:pt x="36191" y="18619"/>
                      <a:pt x="36157" y="18619"/>
                    </a:cubicBezTo>
                    <a:cubicBezTo>
                      <a:pt x="36122" y="18619"/>
                      <a:pt x="36380" y="18619"/>
                      <a:pt x="36449" y="18619"/>
                    </a:cubicBezTo>
                    <a:cubicBezTo>
                      <a:pt x="36396" y="18670"/>
                      <a:pt x="36313" y="18670"/>
                      <a:pt x="36260" y="18619"/>
                    </a:cubicBezTo>
                    <a:cubicBezTo>
                      <a:pt x="36260" y="18791"/>
                      <a:pt x="36122" y="18619"/>
                      <a:pt x="36088" y="18740"/>
                    </a:cubicBezTo>
                    <a:cubicBezTo>
                      <a:pt x="36054" y="18860"/>
                      <a:pt x="36088" y="18929"/>
                      <a:pt x="35916" y="18946"/>
                    </a:cubicBezTo>
                    <a:cubicBezTo>
                      <a:pt x="35744" y="18963"/>
                      <a:pt x="35916" y="19221"/>
                      <a:pt x="35796" y="19083"/>
                    </a:cubicBezTo>
                    <a:cubicBezTo>
                      <a:pt x="35916" y="19392"/>
                      <a:pt x="35796" y="19409"/>
                      <a:pt x="35607" y="19598"/>
                    </a:cubicBezTo>
                    <a:cubicBezTo>
                      <a:pt x="35418" y="19787"/>
                      <a:pt x="35607" y="19856"/>
                      <a:pt x="35607" y="19993"/>
                    </a:cubicBezTo>
                    <a:cubicBezTo>
                      <a:pt x="35607" y="20131"/>
                      <a:pt x="35401" y="20097"/>
                      <a:pt x="35470" y="20251"/>
                    </a:cubicBezTo>
                    <a:cubicBezTo>
                      <a:pt x="35538" y="20406"/>
                      <a:pt x="35607" y="20440"/>
                      <a:pt x="35607" y="20698"/>
                    </a:cubicBezTo>
                    <a:cubicBezTo>
                      <a:pt x="35607" y="20955"/>
                      <a:pt x="36054" y="20835"/>
                      <a:pt x="35899" y="20990"/>
                    </a:cubicBezTo>
                    <a:cubicBezTo>
                      <a:pt x="35744" y="21144"/>
                      <a:pt x="35435" y="21144"/>
                      <a:pt x="35212" y="21333"/>
                    </a:cubicBezTo>
                    <a:cubicBezTo>
                      <a:pt x="35212" y="21230"/>
                      <a:pt x="35212" y="21179"/>
                      <a:pt x="35315" y="21144"/>
                    </a:cubicBezTo>
                    <a:cubicBezTo>
                      <a:pt x="35109" y="21144"/>
                      <a:pt x="34851" y="20887"/>
                      <a:pt x="34731" y="21144"/>
                    </a:cubicBezTo>
                    <a:cubicBezTo>
                      <a:pt x="34559" y="21144"/>
                      <a:pt x="34611" y="21144"/>
                      <a:pt x="34491" y="21230"/>
                    </a:cubicBezTo>
                    <a:cubicBezTo>
                      <a:pt x="34370" y="21316"/>
                      <a:pt x="34491" y="21333"/>
                      <a:pt x="34611" y="21385"/>
                    </a:cubicBezTo>
                    <a:cubicBezTo>
                      <a:pt x="34731" y="21436"/>
                      <a:pt x="34422" y="21299"/>
                      <a:pt x="34439" y="21385"/>
                    </a:cubicBezTo>
                    <a:cubicBezTo>
                      <a:pt x="34456" y="21471"/>
                      <a:pt x="34559" y="21385"/>
                      <a:pt x="34439" y="21471"/>
                    </a:cubicBezTo>
                    <a:cubicBezTo>
                      <a:pt x="34319" y="21557"/>
                      <a:pt x="34164" y="21350"/>
                      <a:pt x="34439" y="21471"/>
                    </a:cubicBezTo>
                    <a:cubicBezTo>
                      <a:pt x="34302" y="21471"/>
                      <a:pt x="34250" y="21333"/>
                      <a:pt x="34164" y="21282"/>
                    </a:cubicBezTo>
                    <a:cubicBezTo>
                      <a:pt x="34078" y="21230"/>
                      <a:pt x="33924" y="21402"/>
                      <a:pt x="34164" y="21522"/>
                    </a:cubicBezTo>
                    <a:cubicBezTo>
                      <a:pt x="34405" y="21642"/>
                      <a:pt x="34542" y="21986"/>
                      <a:pt x="34164" y="21728"/>
                    </a:cubicBezTo>
                    <a:cubicBezTo>
                      <a:pt x="34164" y="21728"/>
                      <a:pt x="34164" y="21728"/>
                      <a:pt x="34164" y="21728"/>
                    </a:cubicBezTo>
                    <a:cubicBezTo>
                      <a:pt x="34164" y="21728"/>
                      <a:pt x="34164" y="21849"/>
                      <a:pt x="34164" y="21831"/>
                    </a:cubicBezTo>
                    <a:cubicBezTo>
                      <a:pt x="34353" y="21969"/>
                      <a:pt x="34680" y="22020"/>
                      <a:pt x="34662" y="22295"/>
                    </a:cubicBezTo>
                    <a:cubicBezTo>
                      <a:pt x="34542" y="22295"/>
                      <a:pt x="34473" y="22175"/>
                      <a:pt x="34336" y="22295"/>
                    </a:cubicBezTo>
                    <a:cubicBezTo>
                      <a:pt x="34199" y="22415"/>
                      <a:pt x="34645" y="22536"/>
                      <a:pt x="34456" y="22467"/>
                    </a:cubicBezTo>
                    <a:cubicBezTo>
                      <a:pt x="34267" y="22398"/>
                      <a:pt x="34456" y="22467"/>
                      <a:pt x="34456" y="22467"/>
                    </a:cubicBezTo>
                    <a:cubicBezTo>
                      <a:pt x="34456" y="22467"/>
                      <a:pt x="34456" y="22707"/>
                      <a:pt x="34456" y="22776"/>
                    </a:cubicBezTo>
                    <a:cubicBezTo>
                      <a:pt x="34456" y="22845"/>
                      <a:pt x="34216" y="22587"/>
                      <a:pt x="34250" y="22776"/>
                    </a:cubicBezTo>
                    <a:cubicBezTo>
                      <a:pt x="34250" y="22621"/>
                      <a:pt x="34147" y="22639"/>
                      <a:pt x="34078" y="22518"/>
                    </a:cubicBezTo>
                    <a:cubicBezTo>
                      <a:pt x="34010" y="22398"/>
                      <a:pt x="34078" y="22604"/>
                      <a:pt x="34078" y="22656"/>
                    </a:cubicBezTo>
                    <a:cubicBezTo>
                      <a:pt x="33988" y="22604"/>
                      <a:pt x="33946" y="22498"/>
                      <a:pt x="33975" y="22398"/>
                    </a:cubicBezTo>
                    <a:cubicBezTo>
                      <a:pt x="33855" y="22295"/>
                      <a:pt x="33666" y="22226"/>
                      <a:pt x="33855" y="22089"/>
                    </a:cubicBezTo>
                    <a:cubicBezTo>
                      <a:pt x="34044" y="21952"/>
                      <a:pt x="34199" y="22261"/>
                      <a:pt x="34353" y="22089"/>
                    </a:cubicBezTo>
                    <a:cubicBezTo>
                      <a:pt x="34216" y="22089"/>
                      <a:pt x="34061" y="21917"/>
                      <a:pt x="33958" y="22089"/>
                    </a:cubicBezTo>
                    <a:cubicBezTo>
                      <a:pt x="33855" y="22261"/>
                      <a:pt x="33838" y="21969"/>
                      <a:pt x="33786" y="22089"/>
                    </a:cubicBezTo>
                    <a:cubicBezTo>
                      <a:pt x="33546" y="21849"/>
                      <a:pt x="33374" y="21471"/>
                      <a:pt x="33065" y="21316"/>
                    </a:cubicBezTo>
                    <a:cubicBezTo>
                      <a:pt x="33065" y="21127"/>
                      <a:pt x="33065" y="20921"/>
                      <a:pt x="33065" y="20732"/>
                    </a:cubicBezTo>
                    <a:cubicBezTo>
                      <a:pt x="32859" y="20732"/>
                      <a:pt x="32739" y="20457"/>
                      <a:pt x="32584" y="20320"/>
                    </a:cubicBezTo>
                    <a:cubicBezTo>
                      <a:pt x="32429" y="20182"/>
                      <a:pt x="32326" y="20320"/>
                      <a:pt x="32275" y="20320"/>
                    </a:cubicBezTo>
                    <a:cubicBezTo>
                      <a:pt x="32223" y="20320"/>
                      <a:pt x="32275" y="20320"/>
                      <a:pt x="32395" y="20320"/>
                    </a:cubicBezTo>
                    <a:cubicBezTo>
                      <a:pt x="32515" y="20320"/>
                      <a:pt x="32103" y="20062"/>
                      <a:pt x="31931" y="20131"/>
                    </a:cubicBezTo>
                    <a:cubicBezTo>
                      <a:pt x="31759" y="20200"/>
                      <a:pt x="31416" y="19839"/>
                      <a:pt x="31742" y="19856"/>
                    </a:cubicBezTo>
                    <a:cubicBezTo>
                      <a:pt x="31347" y="19616"/>
                      <a:pt x="31536" y="19135"/>
                      <a:pt x="31175" y="19633"/>
                    </a:cubicBezTo>
                    <a:cubicBezTo>
                      <a:pt x="31175" y="19530"/>
                      <a:pt x="31038" y="19409"/>
                      <a:pt x="31175" y="19306"/>
                    </a:cubicBezTo>
                    <a:cubicBezTo>
                      <a:pt x="31313" y="19203"/>
                      <a:pt x="30832" y="19306"/>
                      <a:pt x="30746" y="19427"/>
                    </a:cubicBezTo>
                    <a:cubicBezTo>
                      <a:pt x="30746" y="19942"/>
                      <a:pt x="31347" y="20268"/>
                      <a:pt x="31656" y="20681"/>
                    </a:cubicBezTo>
                    <a:cubicBezTo>
                      <a:pt x="31811" y="20681"/>
                      <a:pt x="32223" y="20681"/>
                      <a:pt x="31983" y="20887"/>
                    </a:cubicBezTo>
                    <a:cubicBezTo>
                      <a:pt x="32223" y="21024"/>
                      <a:pt x="32979" y="21161"/>
                      <a:pt x="32807" y="21539"/>
                    </a:cubicBezTo>
                    <a:cubicBezTo>
                      <a:pt x="32653" y="21539"/>
                      <a:pt x="32807" y="21282"/>
                      <a:pt x="32532" y="21333"/>
                    </a:cubicBezTo>
                    <a:cubicBezTo>
                      <a:pt x="32258" y="21385"/>
                      <a:pt x="32258" y="21539"/>
                      <a:pt x="32309" y="21625"/>
                    </a:cubicBezTo>
                    <a:cubicBezTo>
                      <a:pt x="32670" y="21728"/>
                      <a:pt x="32309" y="21934"/>
                      <a:pt x="32309" y="22141"/>
                    </a:cubicBezTo>
                    <a:cubicBezTo>
                      <a:pt x="32309" y="22347"/>
                      <a:pt x="31845" y="22415"/>
                      <a:pt x="32086" y="22141"/>
                    </a:cubicBezTo>
                    <a:cubicBezTo>
                      <a:pt x="32197" y="21856"/>
                      <a:pt x="32069" y="21534"/>
                      <a:pt x="31794" y="21402"/>
                    </a:cubicBezTo>
                    <a:cubicBezTo>
                      <a:pt x="31639" y="21402"/>
                      <a:pt x="31794" y="21282"/>
                      <a:pt x="31656" y="21230"/>
                    </a:cubicBezTo>
                    <a:cubicBezTo>
                      <a:pt x="31518" y="21226"/>
                      <a:pt x="31393" y="21147"/>
                      <a:pt x="31330" y="21024"/>
                    </a:cubicBezTo>
                    <a:cubicBezTo>
                      <a:pt x="30317" y="21024"/>
                      <a:pt x="30145" y="18980"/>
                      <a:pt x="29080" y="20217"/>
                    </a:cubicBezTo>
                    <a:cubicBezTo>
                      <a:pt x="29080" y="20423"/>
                      <a:pt x="28736" y="20217"/>
                      <a:pt x="28633" y="20114"/>
                    </a:cubicBezTo>
                    <a:cubicBezTo>
                      <a:pt x="27568" y="19993"/>
                      <a:pt x="28633" y="20921"/>
                      <a:pt x="27448" y="21093"/>
                    </a:cubicBezTo>
                    <a:cubicBezTo>
                      <a:pt x="27534" y="21093"/>
                      <a:pt x="27448" y="21265"/>
                      <a:pt x="27448" y="21213"/>
                    </a:cubicBezTo>
                    <a:cubicBezTo>
                      <a:pt x="26744" y="21763"/>
                      <a:pt x="27448" y="21728"/>
                      <a:pt x="27191" y="22003"/>
                    </a:cubicBezTo>
                    <a:cubicBezTo>
                      <a:pt x="26950" y="22003"/>
                      <a:pt x="27070" y="22450"/>
                      <a:pt x="26847" y="22398"/>
                    </a:cubicBezTo>
                    <a:cubicBezTo>
                      <a:pt x="26418" y="22862"/>
                      <a:pt x="25919" y="22398"/>
                      <a:pt x="25421" y="22896"/>
                    </a:cubicBezTo>
                    <a:cubicBezTo>
                      <a:pt x="25095" y="22896"/>
                      <a:pt x="25147" y="22192"/>
                      <a:pt x="24700" y="22501"/>
                    </a:cubicBezTo>
                    <a:cubicBezTo>
                      <a:pt x="24700" y="22501"/>
                      <a:pt x="24494" y="22364"/>
                      <a:pt x="24408" y="22501"/>
                    </a:cubicBezTo>
                    <a:cubicBezTo>
                      <a:pt x="24426" y="22310"/>
                      <a:pt x="24460" y="22120"/>
                      <a:pt x="24511" y="21934"/>
                    </a:cubicBezTo>
                    <a:cubicBezTo>
                      <a:pt x="24185" y="21934"/>
                      <a:pt x="24511" y="21934"/>
                      <a:pt x="24511" y="21763"/>
                    </a:cubicBezTo>
                    <a:cubicBezTo>
                      <a:pt x="24099" y="22020"/>
                      <a:pt x="24614" y="21299"/>
                      <a:pt x="24631" y="21144"/>
                    </a:cubicBezTo>
                    <a:cubicBezTo>
                      <a:pt x="24648" y="20990"/>
                      <a:pt x="24631" y="20595"/>
                      <a:pt x="24734" y="20457"/>
                    </a:cubicBezTo>
                    <a:lnTo>
                      <a:pt x="24734" y="20457"/>
                    </a:lnTo>
                    <a:cubicBezTo>
                      <a:pt x="24734" y="20457"/>
                      <a:pt x="24734" y="20457"/>
                      <a:pt x="24734" y="20337"/>
                    </a:cubicBezTo>
                    <a:cubicBezTo>
                      <a:pt x="24734" y="20217"/>
                      <a:pt x="24734" y="20337"/>
                      <a:pt x="24734" y="20234"/>
                    </a:cubicBezTo>
                    <a:cubicBezTo>
                      <a:pt x="24734" y="20131"/>
                      <a:pt x="24940" y="20097"/>
                      <a:pt x="25026" y="20045"/>
                    </a:cubicBezTo>
                    <a:cubicBezTo>
                      <a:pt x="25112" y="19993"/>
                      <a:pt x="25404" y="20045"/>
                      <a:pt x="25490" y="20045"/>
                    </a:cubicBezTo>
                    <a:cubicBezTo>
                      <a:pt x="25851" y="20045"/>
                      <a:pt x="26246" y="20217"/>
                      <a:pt x="26607" y="20131"/>
                    </a:cubicBezTo>
                    <a:cubicBezTo>
                      <a:pt x="27242" y="20629"/>
                      <a:pt x="26847" y="18911"/>
                      <a:pt x="27276" y="19564"/>
                    </a:cubicBezTo>
                    <a:cubicBezTo>
                      <a:pt x="27276" y="19461"/>
                      <a:pt x="27173" y="19306"/>
                      <a:pt x="27053" y="19289"/>
                    </a:cubicBezTo>
                    <a:cubicBezTo>
                      <a:pt x="27225" y="19066"/>
                      <a:pt x="26899" y="19014"/>
                      <a:pt x="26813" y="18860"/>
                    </a:cubicBezTo>
                    <a:cubicBezTo>
                      <a:pt x="26727" y="18705"/>
                      <a:pt x="26813" y="18619"/>
                      <a:pt x="26950" y="18722"/>
                    </a:cubicBezTo>
                    <a:cubicBezTo>
                      <a:pt x="26847" y="18568"/>
                      <a:pt x="26727" y="18825"/>
                      <a:pt x="26727" y="18551"/>
                    </a:cubicBezTo>
                    <a:cubicBezTo>
                      <a:pt x="26607" y="18551"/>
                      <a:pt x="26400" y="18345"/>
                      <a:pt x="26229" y="18465"/>
                    </a:cubicBezTo>
                    <a:cubicBezTo>
                      <a:pt x="26057" y="18585"/>
                      <a:pt x="26229" y="18465"/>
                      <a:pt x="26229" y="18345"/>
                    </a:cubicBezTo>
                    <a:cubicBezTo>
                      <a:pt x="26229" y="18224"/>
                      <a:pt x="26332" y="18190"/>
                      <a:pt x="26229" y="18345"/>
                    </a:cubicBezTo>
                    <a:cubicBezTo>
                      <a:pt x="26126" y="18499"/>
                      <a:pt x="26229" y="18345"/>
                      <a:pt x="26229" y="18345"/>
                    </a:cubicBezTo>
                    <a:cubicBezTo>
                      <a:pt x="25851" y="18224"/>
                      <a:pt x="26435" y="18207"/>
                      <a:pt x="26555" y="18121"/>
                    </a:cubicBezTo>
                    <a:cubicBezTo>
                      <a:pt x="26692" y="18293"/>
                      <a:pt x="26795" y="18121"/>
                      <a:pt x="27019" y="18241"/>
                    </a:cubicBezTo>
                    <a:cubicBezTo>
                      <a:pt x="26989" y="18096"/>
                      <a:pt x="26949" y="17952"/>
                      <a:pt x="26899" y="17812"/>
                    </a:cubicBezTo>
                    <a:cubicBezTo>
                      <a:pt x="26899" y="17812"/>
                      <a:pt x="27053" y="17812"/>
                      <a:pt x="27105" y="17812"/>
                    </a:cubicBezTo>
                    <a:cubicBezTo>
                      <a:pt x="27156" y="17812"/>
                      <a:pt x="27397" y="18001"/>
                      <a:pt x="27500" y="17812"/>
                    </a:cubicBezTo>
                    <a:cubicBezTo>
                      <a:pt x="27259" y="17623"/>
                      <a:pt x="27775" y="17709"/>
                      <a:pt x="27775" y="17606"/>
                    </a:cubicBezTo>
                    <a:cubicBezTo>
                      <a:pt x="27775" y="17503"/>
                      <a:pt x="27860" y="17383"/>
                      <a:pt x="27895" y="17280"/>
                    </a:cubicBezTo>
                    <a:cubicBezTo>
                      <a:pt x="27929" y="17177"/>
                      <a:pt x="28204" y="16988"/>
                      <a:pt x="28444" y="17125"/>
                    </a:cubicBezTo>
                    <a:cubicBezTo>
                      <a:pt x="28273" y="17125"/>
                      <a:pt x="28221" y="16919"/>
                      <a:pt x="28444" y="17125"/>
                    </a:cubicBezTo>
                    <a:cubicBezTo>
                      <a:pt x="28668" y="17331"/>
                      <a:pt x="28324" y="17005"/>
                      <a:pt x="28547" y="17022"/>
                    </a:cubicBezTo>
                    <a:cubicBezTo>
                      <a:pt x="28187" y="16764"/>
                      <a:pt x="28925" y="16112"/>
                      <a:pt x="29286" y="16438"/>
                    </a:cubicBezTo>
                    <a:cubicBezTo>
                      <a:pt x="29028" y="16249"/>
                      <a:pt x="29389" y="16112"/>
                      <a:pt x="29458" y="16438"/>
                    </a:cubicBezTo>
                    <a:cubicBezTo>
                      <a:pt x="29458" y="16197"/>
                      <a:pt x="29458" y="16438"/>
                      <a:pt x="29595" y="16438"/>
                    </a:cubicBezTo>
                    <a:cubicBezTo>
                      <a:pt x="29441" y="16026"/>
                      <a:pt x="29750" y="16232"/>
                      <a:pt x="29956" y="16301"/>
                    </a:cubicBezTo>
                    <a:cubicBezTo>
                      <a:pt x="29389" y="16043"/>
                      <a:pt x="29544" y="15493"/>
                      <a:pt x="29389" y="15115"/>
                    </a:cubicBezTo>
                    <a:cubicBezTo>
                      <a:pt x="29630" y="15115"/>
                      <a:pt x="29527" y="14961"/>
                      <a:pt x="29664" y="15115"/>
                    </a:cubicBezTo>
                    <a:cubicBezTo>
                      <a:pt x="29664" y="14634"/>
                      <a:pt x="29836" y="15115"/>
                      <a:pt x="30025" y="15115"/>
                    </a:cubicBezTo>
                    <a:cubicBezTo>
                      <a:pt x="30025" y="15373"/>
                      <a:pt x="29527" y="15528"/>
                      <a:pt x="29922" y="16009"/>
                    </a:cubicBezTo>
                    <a:cubicBezTo>
                      <a:pt x="29922" y="15888"/>
                      <a:pt x="30334" y="16009"/>
                      <a:pt x="30059" y="16094"/>
                    </a:cubicBezTo>
                    <a:cubicBezTo>
                      <a:pt x="30591" y="16094"/>
                      <a:pt x="30385" y="15768"/>
                      <a:pt x="30883" y="16094"/>
                    </a:cubicBezTo>
                    <a:cubicBezTo>
                      <a:pt x="31124" y="16472"/>
                      <a:pt x="31656" y="15356"/>
                      <a:pt x="32103" y="15768"/>
                    </a:cubicBezTo>
                    <a:cubicBezTo>
                      <a:pt x="31828" y="15768"/>
                      <a:pt x="32103" y="16043"/>
                      <a:pt x="32326" y="15768"/>
                    </a:cubicBezTo>
                    <a:cubicBezTo>
                      <a:pt x="32299" y="15829"/>
                      <a:pt x="32250" y="15878"/>
                      <a:pt x="32189" y="15905"/>
                    </a:cubicBezTo>
                    <a:cubicBezTo>
                      <a:pt x="34078" y="15820"/>
                      <a:pt x="31656" y="15270"/>
                      <a:pt x="32704" y="14497"/>
                    </a:cubicBezTo>
                    <a:cubicBezTo>
                      <a:pt x="33082" y="15081"/>
                      <a:pt x="33202" y="14686"/>
                      <a:pt x="33031" y="14222"/>
                    </a:cubicBezTo>
                    <a:cubicBezTo>
                      <a:pt x="33031" y="14428"/>
                      <a:pt x="32739" y="14222"/>
                      <a:pt x="32842" y="14068"/>
                    </a:cubicBezTo>
                    <a:cubicBezTo>
                      <a:pt x="32532" y="14068"/>
                      <a:pt x="32842" y="13758"/>
                      <a:pt x="32842" y="13690"/>
                    </a:cubicBezTo>
                    <a:cubicBezTo>
                      <a:pt x="32842" y="13621"/>
                      <a:pt x="33082" y="13690"/>
                      <a:pt x="32979" y="13690"/>
                    </a:cubicBezTo>
                    <a:lnTo>
                      <a:pt x="33615" y="13793"/>
                    </a:lnTo>
                    <a:cubicBezTo>
                      <a:pt x="33426" y="13501"/>
                      <a:pt x="33615" y="13690"/>
                      <a:pt x="33752" y="13466"/>
                    </a:cubicBezTo>
                    <a:cubicBezTo>
                      <a:pt x="33889" y="13243"/>
                      <a:pt x="33305" y="13363"/>
                      <a:pt x="33546" y="13192"/>
                    </a:cubicBezTo>
                    <a:cubicBezTo>
                      <a:pt x="33546" y="13192"/>
                      <a:pt x="33426" y="13295"/>
                      <a:pt x="33408" y="13192"/>
                    </a:cubicBezTo>
                    <a:cubicBezTo>
                      <a:pt x="33408" y="13346"/>
                      <a:pt x="33099" y="13363"/>
                      <a:pt x="33031" y="13312"/>
                    </a:cubicBezTo>
                    <a:cubicBezTo>
                      <a:pt x="32962" y="13260"/>
                      <a:pt x="33031" y="13312"/>
                      <a:pt x="33031" y="13312"/>
                    </a:cubicBezTo>
                    <a:cubicBezTo>
                      <a:pt x="33031" y="13312"/>
                      <a:pt x="33031" y="13552"/>
                      <a:pt x="33031" y="13312"/>
                    </a:cubicBezTo>
                    <a:cubicBezTo>
                      <a:pt x="33031" y="13449"/>
                      <a:pt x="32601" y="13466"/>
                      <a:pt x="32567" y="13621"/>
                    </a:cubicBezTo>
                    <a:cubicBezTo>
                      <a:pt x="32567" y="13312"/>
                      <a:pt x="32412" y="13415"/>
                      <a:pt x="32172" y="13260"/>
                    </a:cubicBezTo>
                    <a:cubicBezTo>
                      <a:pt x="31931" y="13106"/>
                      <a:pt x="31691" y="12144"/>
                      <a:pt x="31914" y="12058"/>
                    </a:cubicBezTo>
                    <a:cubicBezTo>
                      <a:pt x="32137" y="11972"/>
                      <a:pt x="31914" y="11972"/>
                      <a:pt x="32017" y="12058"/>
                    </a:cubicBezTo>
                    <a:cubicBezTo>
                      <a:pt x="32120" y="12144"/>
                      <a:pt x="32017" y="11921"/>
                      <a:pt x="32017" y="11817"/>
                    </a:cubicBezTo>
                    <a:cubicBezTo>
                      <a:pt x="32017" y="11714"/>
                      <a:pt x="32240" y="11354"/>
                      <a:pt x="32309" y="11457"/>
                    </a:cubicBezTo>
                    <a:cubicBezTo>
                      <a:pt x="32103" y="11010"/>
                      <a:pt x="31708" y="11148"/>
                      <a:pt x="31502" y="11182"/>
                    </a:cubicBezTo>
                    <a:cubicBezTo>
                      <a:pt x="31622" y="11354"/>
                      <a:pt x="31502" y="11577"/>
                      <a:pt x="31656" y="11714"/>
                    </a:cubicBezTo>
                    <a:cubicBezTo>
                      <a:pt x="31532" y="12056"/>
                      <a:pt x="31318" y="12359"/>
                      <a:pt x="31038" y="12590"/>
                    </a:cubicBezTo>
                    <a:cubicBezTo>
                      <a:pt x="31158" y="12676"/>
                      <a:pt x="31038" y="12848"/>
                      <a:pt x="31175" y="12968"/>
                    </a:cubicBezTo>
                    <a:cubicBezTo>
                      <a:pt x="30883" y="13123"/>
                      <a:pt x="32189" y="13999"/>
                      <a:pt x="31382" y="13793"/>
                    </a:cubicBezTo>
                    <a:cubicBezTo>
                      <a:pt x="31382" y="13793"/>
                      <a:pt x="30901" y="13793"/>
                      <a:pt x="31210" y="13913"/>
                    </a:cubicBezTo>
                    <a:cubicBezTo>
                      <a:pt x="31519" y="14033"/>
                      <a:pt x="31811" y="14119"/>
                      <a:pt x="31485" y="14050"/>
                    </a:cubicBezTo>
                    <a:cubicBezTo>
                      <a:pt x="31485" y="14050"/>
                      <a:pt x="31485" y="14257"/>
                      <a:pt x="31364" y="14188"/>
                    </a:cubicBezTo>
                    <a:cubicBezTo>
                      <a:pt x="31244" y="14119"/>
                      <a:pt x="31467" y="14325"/>
                      <a:pt x="31364" y="14342"/>
                    </a:cubicBezTo>
                    <a:cubicBezTo>
                      <a:pt x="31485" y="14342"/>
                      <a:pt x="31519" y="14600"/>
                      <a:pt x="31364" y="14514"/>
                    </a:cubicBezTo>
                    <a:cubicBezTo>
                      <a:pt x="31502" y="14789"/>
                      <a:pt x="31519" y="15510"/>
                      <a:pt x="31090" y="15236"/>
                    </a:cubicBezTo>
                    <a:cubicBezTo>
                      <a:pt x="30815" y="16301"/>
                      <a:pt x="30059" y="14153"/>
                      <a:pt x="30162" y="14050"/>
                    </a:cubicBezTo>
                    <a:cubicBezTo>
                      <a:pt x="29990" y="13947"/>
                      <a:pt x="29939" y="13844"/>
                      <a:pt x="29939" y="13810"/>
                    </a:cubicBezTo>
                    <a:cubicBezTo>
                      <a:pt x="29958" y="13906"/>
                      <a:pt x="29958" y="14006"/>
                      <a:pt x="29939" y="14102"/>
                    </a:cubicBezTo>
                    <a:cubicBezTo>
                      <a:pt x="29939" y="14102"/>
                      <a:pt x="29939" y="14102"/>
                      <a:pt x="29733" y="13965"/>
                    </a:cubicBezTo>
                    <a:cubicBezTo>
                      <a:pt x="29733" y="14119"/>
                      <a:pt x="29733" y="14360"/>
                      <a:pt x="29595" y="14291"/>
                    </a:cubicBezTo>
                    <a:cubicBezTo>
                      <a:pt x="29733" y="14463"/>
                      <a:pt x="29286" y="14583"/>
                      <a:pt x="29183" y="14428"/>
                    </a:cubicBezTo>
                    <a:cubicBezTo>
                      <a:pt x="29080" y="14549"/>
                      <a:pt x="28651" y="14050"/>
                      <a:pt x="29183" y="14102"/>
                    </a:cubicBezTo>
                    <a:cubicBezTo>
                      <a:pt x="28960" y="14102"/>
                      <a:pt x="29183" y="13999"/>
                      <a:pt x="29011" y="13879"/>
                    </a:cubicBezTo>
                    <a:cubicBezTo>
                      <a:pt x="29011" y="14188"/>
                      <a:pt x="28771" y="13690"/>
                      <a:pt x="29011" y="13879"/>
                    </a:cubicBezTo>
                    <a:cubicBezTo>
                      <a:pt x="29252" y="14068"/>
                      <a:pt x="29011" y="13879"/>
                      <a:pt x="29166" y="13776"/>
                    </a:cubicBezTo>
                    <a:cubicBezTo>
                      <a:pt x="28960" y="13776"/>
                      <a:pt x="29166" y="13449"/>
                      <a:pt x="29166" y="13655"/>
                    </a:cubicBezTo>
                    <a:cubicBezTo>
                      <a:pt x="29118" y="13609"/>
                      <a:pt x="29118" y="13533"/>
                      <a:pt x="29164" y="13485"/>
                    </a:cubicBezTo>
                    <a:cubicBezTo>
                      <a:pt x="29165" y="13485"/>
                      <a:pt x="29165" y="13484"/>
                      <a:pt x="29166" y="13484"/>
                    </a:cubicBezTo>
                    <a:cubicBezTo>
                      <a:pt x="28943" y="13569"/>
                      <a:pt x="28822" y="13724"/>
                      <a:pt x="28943" y="13484"/>
                    </a:cubicBezTo>
                    <a:cubicBezTo>
                      <a:pt x="28788" y="13484"/>
                      <a:pt x="28736" y="13569"/>
                      <a:pt x="28943" y="13381"/>
                    </a:cubicBezTo>
                    <a:cubicBezTo>
                      <a:pt x="28599" y="13243"/>
                      <a:pt x="29544" y="13484"/>
                      <a:pt x="29355" y="13157"/>
                    </a:cubicBezTo>
                    <a:cubicBezTo>
                      <a:pt x="29355" y="13329"/>
                      <a:pt x="28582" y="13295"/>
                      <a:pt x="28994" y="13157"/>
                    </a:cubicBezTo>
                    <a:cubicBezTo>
                      <a:pt x="28651" y="13157"/>
                      <a:pt x="28994" y="13037"/>
                      <a:pt x="29183" y="13020"/>
                    </a:cubicBezTo>
                    <a:cubicBezTo>
                      <a:pt x="28822" y="13020"/>
                      <a:pt x="28754" y="12831"/>
                      <a:pt x="29046" y="12917"/>
                    </a:cubicBezTo>
                    <a:cubicBezTo>
                      <a:pt x="28960" y="12917"/>
                      <a:pt x="29046" y="12779"/>
                      <a:pt x="29183" y="12917"/>
                    </a:cubicBezTo>
                    <a:lnTo>
                      <a:pt x="29183" y="12797"/>
                    </a:lnTo>
                    <a:cubicBezTo>
                      <a:pt x="29183" y="12797"/>
                      <a:pt x="29183" y="12797"/>
                      <a:pt x="29441" y="12797"/>
                    </a:cubicBezTo>
                    <a:cubicBezTo>
                      <a:pt x="29114" y="12797"/>
                      <a:pt x="29303" y="12590"/>
                      <a:pt x="29578" y="12797"/>
                    </a:cubicBezTo>
                    <a:cubicBezTo>
                      <a:pt x="29217" y="12505"/>
                      <a:pt x="29578" y="12797"/>
                      <a:pt x="29578" y="12676"/>
                    </a:cubicBezTo>
                    <a:cubicBezTo>
                      <a:pt x="29578" y="12556"/>
                      <a:pt x="29922" y="12213"/>
                      <a:pt x="29767" y="12676"/>
                    </a:cubicBezTo>
                    <a:cubicBezTo>
                      <a:pt x="30007" y="12539"/>
                      <a:pt x="29973" y="12539"/>
                      <a:pt x="30059" y="12298"/>
                    </a:cubicBezTo>
                    <a:cubicBezTo>
                      <a:pt x="30145" y="12058"/>
                      <a:pt x="29784" y="12814"/>
                      <a:pt x="29801" y="12419"/>
                    </a:cubicBezTo>
                    <a:cubicBezTo>
                      <a:pt x="29664" y="12522"/>
                      <a:pt x="29801" y="12161"/>
                      <a:pt x="29801" y="12195"/>
                    </a:cubicBezTo>
                    <a:cubicBezTo>
                      <a:pt x="29801" y="12230"/>
                      <a:pt x="29990" y="12006"/>
                      <a:pt x="30145" y="11766"/>
                    </a:cubicBezTo>
                    <a:cubicBezTo>
                      <a:pt x="29990" y="11886"/>
                      <a:pt x="30059" y="11525"/>
                      <a:pt x="30145" y="11611"/>
                    </a:cubicBezTo>
                    <a:cubicBezTo>
                      <a:pt x="30231" y="11697"/>
                      <a:pt x="30145" y="11440"/>
                      <a:pt x="30145" y="11525"/>
                    </a:cubicBezTo>
                    <a:cubicBezTo>
                      <a:pt x="30042" y="11319"/>
                      <a:pt x="30145" y="11440"/>
                      <a:pt x="30145" y="11337"/>
                    </a:cubicBezTo>
                    <a:cubicBezTo>
                      <a:pt x="29939" y="11337"/>
                      <a:pt x="30145" y="11233"/>
                      <a:pt x="30025" y="11148"/>
                    </a:cubicBezTo>
                    <a:cubicBezTo>
                      <a:pt x="29904" y="11062"/>
                      <a:pt x="30025" y="10821"/>
                      <a:pt x="30334" y="10976"/>
                    </a:cubicBezTo>
                    <a:cubicBezTo>
                      <a:pt x="30179" y="10890"/>
                      <a:pt x="30111" y="10735"/>
                      <a:pt x="30334" y="10838"/>
                    </a:cubicBezTo>
                    <a:cubicBezTo>
                      <a:pt x="30557" y="10941"/>
                      <a:pt x="30162" y="10701"/>
                      <a:pt x="30334" y="10684"/>
                    </a:cubicBezTo>
                    <a:cubicBezTo>
                      <a:pt x="30042" y="10684"/>
                      <a:pt x="30334" y="10684"/>
                      <a:pt x="30334" y="10478"/>
                    </a:cubicBezTo>
                    <a:cubicBezTo>
                      <a:pt x="30523" y="10478"/>
                      <a:pt x="30488" y="10478"/>
                      <a:pt x="30506" y="10478"/>
                    </a:cubicBezTo>
                    <a:cubicBezTo>
                      <a:pt x="30918" y="10564"/>
                      <a:pt x="30214" y="10323"/>
                      <a:pt x="30506" y="10323"/>
                    </a:cubicBezTo>
                    <a:cubicBezTo>
                      <a:pt x="30506" y="10323"/>
                      <a:pt x="30506" y="10220"/>
                      <a:pt x="30506" y="10220"/>
                    </a:cubicBezTo>
                    <a:cubicBezTo>
                      <a:pt x="30506" y="10220"/>
                      <a:pt x="30506" y="9911"/>
                      <a:pt x="30609" y="10117"/>
                    </a:cubicBezTo>
                    <a:cubicBezTo>
                      <a:pt x="30712" y="10323"/>
                      <a:pt x="30609" y="10117"/>
                      <a:pt x="30609" y="10117"/>
                    </a:cubicBezTo>
                    <a:cubicBezTo>
                      <a:pt x="30385" y="9980"/>
                      <a:pt x="30609" y="10014"/>
                      <a:pt x="30609" y="10117"/>
                    </a:cubicBezTo>
                    <a:cubicBezTo>
                      <a:pt x="30609" y="10220"/>
                      <a:pt x="30609" y="9773"/>
                      <a:pt x="30609" y="10117"/>
                    </a:cubicBezTo>
                    <a:cubicBezTo>
                      <a:pt x="30609" y="9670"/>
                      <a:pt x="30609" y="10237"/>
                      <a:pt x="30798" y="10117"/>
                    </a:cubicBezTo>
                    <a:cubicBezTo>
                      <a:pt x="30609" y="9773"/>
                      <a:pt x="31021" y="10117"/>
                      <a:pt x="30798" y="9739"/>
                    </a:cubicBezTo>
                    <a:cubicBezTo>
                      <a:pt x="30901" y="9739"/>
                      <a:pt x="31038" y="9911"/>
                      <a:pt x="31124" y="9894"/>
                    </a:cubicBezTo>
                    <a:cubicBezTo>
                      <a:pt x="31210" y="9877"/>
                      <a:pt x="31124" y="9602"/>
                      <a:pt x="31124" y="9619"/>
                    </a:cubicBezTo>
                    <a:cubicBezTo>
                      <a:pt x="31124" y="9636"/>
                      <a:pt x="30969" y="9464"/>
                      <a:pt x="31124" y="9619"/>
                    </a:cubicBezTo>
                    <a:cubicBezTo>
                      <a:pt x="31279" y="9773"/>
                      <a:pt x="31124" y="9499"/>
                      <a:pt x="31124" y="9619"/>
                    </a:cubicBezTo>
                    <a:cubicBezTo>
                      <a:pt x="31244" y="9447"/>
                      <a:pt x="31279" y="10426"/>
                      <a:pt x="31261" y="9619"/>
                    </a:cubicBezTo>
                    <a:cubicBezTo>
                      <a:pt x="31536" y="10134"/>
                      <a:pt x="31261" y="9516"/>
                      <a:pt x="31450" y="9499"/>
                    </a:cubicBezTo>
                    <a:cubicBezTo>
                      <a:pt x="31639" y="9481"/>
                      <a:pt x="31450" y="9653"/>
                      <a:pt x="31553" y="9842"/>
                    </a:cubicBezTo>
                    <a:cubicBezTo>
                      <a:pt x="31656" y="10031"/>
                      <a:pt x="31639" y="9842"/>
                      <a:pt x="31674" y="9842"/>
                    </a:cubicBezTo>
                    <a:cubicBezTo>
                      <a:pt x="31502" y="9499"/>
                      <a:pt x="31863" y="9688"/>
                      <a:pt x="31845" y="9842"/>
                    </a:cubicBezTo>
                    <a:cubicBezTo>
                      <a:pt x="32172" y="9842"/>
                      <a:pt x="32051" y="10134"/>
                      <a:pt x="31742" y="10031"/>
                    </a:cubicBezTo>
                    <a:cubicBezTo>
                      <a:pt x="31845" y="10031"/>
                      <a:pt x="31948" y="10031"/>
                      <a:pt x="32000" y="10220"/>
                    </a:cubicBezTo>
                    <a:cubicBezTo>
                      <a:pt x="32051" y="10409"/>
                      <a:pt x="32120" y="10083"/>
                      <a:pt x="32275" y="10220"/>
                    </a:cubicBezTo>
                    <a:cubicBezTo>
                      <a:pt x="32275" y="10100"/>
                      <a:pt x="32275" y="10117"/>
                      <a:pt x="32275" y="10048"/>
                    </a:cubicBezTo>
                    <a:cubicBezTo>
                      <a:pt x="32275" y="9980"/>
                      <a:pt x="32653" y="10306"/>
                      <a:pt x="32378" y="10048"/>
                    </a:cubicBezTo>
                    <a:cubicBezTo>
                      <a:pt x="32378" y="10237"/>
                      <a:pt x="32567" y="10048"/>
                      <a:pt x="32584" y="10220"/>
                    </a:cubicBezTo>
                    <a:cubicBezTo>
                      <a:pt x="32601" y="10392"/>
                      <a:pt x="33220" y="10220"/>
                      <a:pt x="33683" y="10529"/>
                    </a:cubicBezTo>
                    <a:cubicBezTo>
                      <a:pt x="33563" y="10392"/>
                      <a:pt x="34044" y="10735"/>
                      <a:pt x="33804" y="10529"/>
                    </a:cubicBezTo>
                    <a:cubicBezTo>
                      <a:pt x="34697" y="10838"/>
                      <a:pt x="34611" y="11852"/>
                      <a:pt x="33597" y="11354"/>
                    </a:cubicBezTo>
                    <a:cubicBezTo>
                      <a:pt x="33477" y="11354"/>
                      <a:pt x="33477" y="11354"/>
                      <a:pt x="33426" y="11354"/>
                    </a:cubicBezTo>
                    <a:cubicBezTo>
                      <a:pt x="33374" y="11354"/>
                      <a:pt x="32910" y="11096"/>
                      <a:pt x="33065" y="11354"/>
                    </a:cubicBezTo>
                    <a:cubicBezTo>
                      <a:pt x="33220" y="11611"/>
                      <a:pt x="33460" y="11491"/>
                      <a:pt x="33357" y="11663"/>
                    </a:cubicBezTo>
                    <a:cubicBezTo>
                      <a:pt x="33632" y="11663"/>
                      <a:pt x="34834" y="13277"/>
                      <a:pt x="34576" y="12333"/>
                    </a:cubicBezTo>
                    <a:cubicBezTo>
                      <a:pt x="34388" y="12505"/>
                      <a:pt x="34113" y="12058"/>
                      <a:pt x="34250" y="12006"/>
                    </a:cubicBezTo>
                    <a:cubicBezTo>
                      <a:pt x="35693" y="12917"/>
                      <a:pt x="33975" y="11148"/>
                      <a:pt x="34972" y="11474"/>
                    </a:cubicBezTo>
                    <a:cubicBezTo>
                      <a:pt x="34972" y="11337"/>
                      <a:pt x="35092" y="11474"/>
                      <a:pt x="35143" y="11474"/>
                    </a:cubicBezTo>
                    <a:cubicBezTo>
                      <a:pt x="34895" y="11040"/>
                      <a:pt x="34569" y="10656"/>
                      <a:pt x="34181" y="10340"/>
                    </a:cubicBezTo>
                    <a:cubicBezTo>
                      <a:pt x="34491" y="10340"/>
                      <a:pt x="34972" y="10443"/>
                      <a:pt x="34800" y="10753"/>
                    </a:cubicBezTo>
                    <a:cubicBezTo>
                      <a:pt x="35195" y="11354"/>
                      <a:pt x="35349" y="10753"/>
                      <a:pt x="35143" y="10529"/>
                    </a:cubicBezTo>
                    <a:cubicBezTo>
                      <a:pt x="35315" y="10529"/>
                      <a:pt x="35143" y="9945"/>
                      <a:pt x="35401" y="10289"/>
                    </a:cubicBezTo>
                    <a:cubicBezTo>
                      <a:pt x="35401" y="10186"/>
                      <a:pt x="35178" y="9980"/>
                      <a:pt x="35401" y="10151"/>
                    </a:cubicBezTo>
                    <a:cubicBezTo>
                      <a:pt x="35229" y="9705"/>
                      <a:pt x="35521" y="10151"/>
                      <a:pt x="35727" y="10306"/>
                    </a:cubicBezTo>
                    <a:cubicBezTo>
                      <a:pt x="35727" y="10203"/>
                      <a:pt x="35727" y="10169"/>
                      <a:pt x="35727" y="10306"/>
                    </a:cubicBezTo>
                    <a:cubicBezTo>
                      <a:pt x="35504" y="10048"/>
                      <a:pt x="35882" y="10134"/>
                      <a:pt x="35830" y="9842"/>
                    </a:cubicBezTo>
                    <a:cubicBezTo>
                      <a:pt x="35951" y="9997"/>
                      <a:pt x="36311" y="10272"/>
                      <a:pt x="36019" y="9945"/>
                    </a:cubicBezTo>
                    <a:cubicBezTo>
                      <a:pt x="36191" y="9945"/>
                      <a:pt x="35916" y="9791"/>
                      <a:pt x="36122" y="9945"/>
                    </a:cubicBezTo>
                    <a:cubicBezTo>
                      <a:pt x="36035" y="9882"/>
                      <a:pt x="35943" y="9824"/>
                      <a:pt x="35848" y="9773"/>
                    </a:cubicBezTo>
                    <a:lnTo>
                      <a:pt x="35848" y="9773"/>
                    </a:lnTo>
                    <a:cubicBezTo>
                      <a:pt x="35057" y="9155"/>
                      <a:pt x="36586" y="9619"/>
                      <a:pt x="36981" y="9894"/>
                    </a:cubicBezTo>
                    <a:cubicBezTo>
                      <a:pt x="36792" y="9619"/>
                      <a:pt x="36517" y="9567"/>
                      <a:pt x="36260" y="9361"/>
                    </a:cubicBezTo>
                    <a:lnTo>
                      <a:pt x="36260" y="9361"/>
                    </a:lnTo>
                    <a:cubicBezTo>
                      <a:pt x="36260" y="9361"/>
                      <a:pt x="36260" y="9361"/>
                      <a:pt x="36140" y="9361"/>
                    </a:cubicBezTo>
                    <a:lnTo>
                      <a:pt x="36140" y="9361"/>
                    </a:lnTo>
                    <a:lnTo>
                      <a:pt x="35882" y="9155"/>
                    </a:lnTo>
                    <a:cubicBezTo>
                      <a:pt x="36019" y="9155"/>
                      <a:pt x="35624" y="8983"/>
                      <a:pt x="35727" y="8983"/>
                    </a:cubicBezTo>
                    <a:cubicBezTo>
                      <a:pt x="35504" y="8880"/>
                      <a:pt x="34353" y="7918"/>
                      <a:pt x="34594" y="7884"/>
                    </a:cubicBezTo>
                    <a:cubicBezTo>
                      <a:pt x="35435" y="8193"/>
                      <a:pt x="36311" y="9086"/>
                      <a:pt x="37136" y="9602"/>
                    </a:cubicBezTo>
                    <a:lnTo>
                      <a:pt x="37136" y="9602"/>
                    </a:lnTo>
                    <a:cubicBezTo>
                      <a:pt x="37389" y="9800"/>
                      <a:pt x="37614" y="10031"/>
                      <a:pt x="37806" y="10289"/>
                    </a:cubicBezTo>
                    <a:lnTo>
                      <a:pt x="37806" y="10289"/>
                    </a:lnTo>
                    <a:cubicBezTo>
                      <a:pt x="37995" y="10409"/>
                      <a:pt x="37977" y="10581"/>
                      <a:pt x="37806" y="10289"/>
                    </a:cubicBezTo>
                    <a:cubicBezTo>
                      <a:pt x="37806" y="10289"/>
                      <a:pt x="37479" y="10289"/>
                      <a:pt x="37703" y="10426"/>
                    </a:cubicBezTo>
                    <a:cubicBezTo>
                      <a:pt x="38939" y="10701"/>
                      <a:pt x="37256" y="9619"/>
                      <a:pt x="37101" y="9275"/>
                    </a:cubicBezTo>
                    <a:cubicBezTo>
                      <a:pt x="37101" y="9275"/>
                      <a:pt x="37101" y="9275"/>
                      <a:pt x="37101" y="9275"/>
                    </a:cubicBezTo>
                    <a:cubicBezTo>
                      <a:pt x="36284" y="8916"/>
                      <a:pt x="35525" y="8435"/>
                      <a:pt x="34851" y="7850"/>
                    </a:cubicBezTo>
                    <a:cubicBezTo>
                      <a:pt x="35229" y="8021"/>
                      <a:pt x="35573" y="8399"/>
                      <a:pt x="35933" y="8451"/>
                    </a:cubicBezTo>
                    <a:cubicBezTo>
                      <a:pt x="35796" y="8262"/>
                      <a:pt x="36208" y="8571"/>
                      <a:pt x="36105" y="8451"/>
                    </a:cubicBezTo>
                    <a:cubicBezTo>
                      <a:pt x="35827" y="8436"/>
                      <a:pt x="35564" y="8320"/>
                      <a:pt x="35367" y="8125"/>
                    </a:cubicBezTo>
                    <a:cubicBezTo>
                      <a:pt x="35727" y="8279"/>
                      <a:pt x="35367" y="8125"/>
                      <a:pt x="35367" y="8039"/>
                    </a:cubicBezTo>
                    <a:lnTo>
                      <a:pt x="35367" y="8039"/>
                    </a:lnTo>
                    <a:cubicBezTo>
                      <a:pt x="34886" y="7455"/>
                      <a:pt x="37084" y="8880"/>
                      <a:pt x="36363" y="8331"/>
                    </a:cubicBezTo>
                    <a:cubicBezTo>
                      <a:pt x="36637" y="8531"/>
                      <a:pt x="36938" y="8693"/>
                      <a:pt x="37256" y="8812"/>
                    </a:cubicBezTo>
                    <a:cubicBezTo>
                      <a:pt x="36947" y="8605"/>
                      <a:pt x="37256" y="8691"/>
                      <a:pt x="37428" y="8812"/>
                    </a:cubicBezTo>
                    <a:cubicBezTo>
                      <a:pt x="37325" y="8709"/>
                      <a:pt x="37033" y="8588"/>
                      <a:pt x="37101" y="8709"/>
                    </a:cubicBezTo>
                    <a:cubicBezTo>
                      <a:pt x="36569" y="8468"/>
                      <a:pt x="36019" y="8056"/>
                      <a:pt x="35384" y="7798"/>
                    </a:cubicBezTo>
                    <a:cubicBezTo>
                      <a:pt x="35212" y="7798"/>
                      <a:pt x="34405" y="7403"/>
                      <a:pt x="34525" y="7231"/>
                    </a:cubicBezTo>
                    <a:cubicBezTo>
                      <a:pt x="34284" y="6922"/>
                      <a:pt x="34697" y="7334"/>
                      <a:pt x="34851" y="7317"/>
                    </a:cubicBezTo>
                    <a:cubicBezTo>
                      <a:pt x="34628" y="7317"/>
                      <a:pt x="34491" y="7042"/>
                      <a:pt x="34267" y="7008"/>
                    </a:cubicBezTo>
                    <a:cubicBezTo>
                      <a:pt x="34044" y="6974"/>
                      <a:pt x="34061" y="7008"/>
                      <a:pt x="34027" y="6922"/>
                    </a:cubicBezTo>
                    <a:cubicBezTo>
                      <a:pt x="33992" y="6836"/>
                      <a:pt x="34130" y="6922"/>
                      <a:pt x="34027" y="6922"/>
                    </a:cubicBezTo>
                    <a:cubicBezTo>
                      <a:pt x="33924" y="6922"/>
                      <a:pt x="33838" y="6836"/>
                      <a:pt x="33872" y="6922"/>
                    </a:cubicBezTo>
                    <a:cubicBezTo>
                      <a:pt x="33907" y="7008"/>
                      <a:pt x="33683" y="6802"/>
                      <a:pt x="33872" y="6922"/>
                    </a:cubicBezTo>
                    <a:lnTo>
                      <a:pt x="33615" y="6768"/>
                    </a:lnTo>
                    <a:cubicBezTo>
                      <a:pt x="33615" y="6768"/>
                      <a:pt x="33615" y="6768"/>
                      <a:pt x="33615" y="6768"/>
                    </a:cubicBezTo>
                    <a:lnTo>
                      <a:pt x="33168" y="6458"/>
                    </a:lnTo>
                    <a:lnTo>
                      <a:pt x="33168" y="6458"/>
                    </a:lnTo>
                    <a:cubicBezTo>
                      <a:pt x="33086" y="6395"/>
                      <a:pt x="33000" y="6338"/>
                      <a:pt x="32910" y="6287"/>
                    </a:cubicBezTo>
                    <a:lnTo>
                      <a:pt x="32910" y="6287"/>
                    </a:lnTo>
                    <a:lnTo>
                      <a:pt x="32910" y="6287"/>
                    </a:lnTo>
                    <a:lnTo>
                      <a:pt x="32910" y="6287"/>
                    </a:lnTo>
                    <a:lnTo>
                      <a:pt x="32687" y="6184"/>
                    </a:lnTo>
                    <a:lnTo>
                      <a:pt x="32687" y="6184"/>
                    </a:lnTo>
                    <a:cubicBezTo>
                      <a:pt x="32687" y="6184"/>
                      <a:pt x="32515" y="6184"/>
                      <a:pt x="32687" y="6184"/>
                    </a:cubicBezTo>
                    <a:lnTo>
                      <a:pt x="32687" y="6184"/>
                    </a:lnTo>
                    <a:lnTo>
                      <a:pt x="32687" y="6184"/>
                    </a:lnTo>
                    <a:lnTo>
                      <a:pt x="32962" y="6287"/>
                    </a:lnTo>
                    <a:lnTo>
                      <a:pt x="32739" y="6184"/>
                    </a:lnTo>
                    <a:lnTo>
                      <a:pt x="32893" y="6184"/>
                    </a:lnTo>
                    <a:lnTo>
                      <a:pt x="32807" y="6184"/>
                    </a:lnTo>
                    <a:cubicBezTo>
                      <a:pt x="32762" y="6174"/>
                      <a:pt x="32715" y="6174"/>
                      <a:pt x="32670" y="6184"/>
                    </a:cubicBezTo>
                    <a:lnTo>
                      <a:pt x="32670" y="6184"/>
                    </a:lnTo>
                    <a:cubicBezTo>
                      <a:pt x="32625" y="6193"/>
                      <a:pt x="32578" y="6193"/>
                      <a:pt x="32532" y="6184"/>
                    </a:cubicBezTo>
                    <a:lnTo>
                      <a:pt x="32876" y="6304"/>
                    </a:lnTo>
                    <a:cubicBezTo>
                      <a:pt x="32750" y="6242"/>
                      <a:pt x="32618" y="6196"/>
                      <a:pt x="32481" y="6166"/>
                    </a:cubicBezTo>
                    <a:lnTo>
                      <a:pt x="32481" y="6166"/>
                    </a:lnTo>
                    <a:cubicBezTo>
                      <a:pt x="32481" y="6166"/>
                      <a:pt x="32292" y="6166"/>
                      <a:pt x="32343" y="6166"/>
                    </a:cubicBezTo>
                    <a:cubicBezTo>
                      <a:pt x="32395" y="6166"/>
                      <a:pt x="32343" y="6166"/>
                      <a:pt x="32343" y="6166"/>
                    </a:cubicBezTo>
                    <a:lnTo>
                      <a:pt x="32343" y="6166"/>
                    </a:lnTo>
                    <a:lnTo>
                      <a:pt x="32206" y="6166"/>
                    </a:lnTo>
                    <a:lnTo>
                      <a:pt x="32206" y="6166"/>
                    </a:lnTo>
                    <a:lnTo>
                      <a:pt x="31742" y="6029"/>
                    </a:lnTo>
                    <a:lnTo>
                      <a:pt x="31742" y="6029"/>
                    </a:lnTo>
                    <a:cubicBezTo>
                      <a:pt x="31571" y="6029"/>
                      <a:pt x="30763" y="5720"/>
                      <a:pt x="30952" y="5754"/>
                    </a:cubicBezTo>
                    <a:lnTo>
                      <a:pt x="30952" y="5754"/>
                    </a:lnTo>
                    <a:lnTo>
                      <a:pt x="31055" y="5754"/>
                    </a:lnTo>
                    <a:lnTo>
                      <a:pt x="31055" y="5754"/>
                    </a:lnTo>
                    <a:cubicBezTo>
                      <a:pt x="31244" y="5754"/>
                      <a:pt x="31416" y="5857"/>
                      <a:pt x="31605" y="5909"/>
                    </a:cubicBezTo>
                    <a:lnTo>
                      <a:pt x="31416" y="5909"/>
                    </a:lnTo>
                    <a:lnTo>
                      <a:pt x="31588" y="5909"/>
                    </a:lnTo>
                    <a:lnTo>
                      <a:pt x="31485" y="5909"/>
                    </a:lnTo>
                    <a:cubicBezTo>
                      <a:pt x="31588" y="5909"/>
                      <a:pt x="31364" y="5909"/>
                      <a:pt x="31485" y="5909"/>
                    </a:cubicBezTo>
                    <a:lnTo>
                      <a:pt x="31485" y="5909"/>
                    </a:lnTo>
                    <a:cubicBezTo>
                      <a:pt x="31794" y="5995"/>
                      <a:pt x="32481" y="6201"/>
                      <a:pt x="31811" y="5909"/>
                    </a:cubicBezTo>
                    <a:lnTo>
                      <a:pt x="31811" y="5909"/>
                    </a:lnTo>
                    <a:lnTo>
                      <a:pt x="31708" y="5909"/>
                    </a:lnTo>
                    <a:lnTo>
                      <a:pt x="31708" y="5909"/>
                    </a:lnTo>
                    <a:lnTo>
                      <a:pt x="31708" y="5909"/>
                    </a:lnTo>
                    <a:lnTo>
                      <a:pt x="31708" y="5909"/>
                    </a:lnTo>
                    <a:lnTo>
                      <a:pt x="31708" y="5909"/>
                    </a:lnTo>
                    <a:lnTo>
                      <a:pt x="32292" y="6046"/>
                    </a:lnTo>
                    <a:lnTo>
                      <a:pt x="32051" y="6046"/>
                    </a:lnTo>
                    <a:lnTo>
                      <a:pt x="32378" y="6046"/>
                    </a:lnTo>
                    <a:lnTo>
                      <a:pt x="32635" y="6046"/>
                    </a:lnTo>
                    <a:lnTo>
                      <a:pt x="32635" y="6046"/>
                    </a:lnTo>
                    <a:cubicBezTo>
                      <a:pt x="32412" y="6046"/>
                      <a:pt x="32635" y="6046"/>
                      <a:pt x="32773" y="6046"/>
                    </a:cubicBezTo>
                    <a:lnTo>
                      <a:pt x="32773" y="6046"/>
                    </a:lnTo>
                    <a:lnTo>
                      <a:pt x="32773" y="6046"/>
                    </a:lnTo>
                    <a:cubicBezTo>
                      <a:pt x="33198" y="6156"/>
                      <a:pt x="33612" y="6306"/>
                      <a:pt x="34010" y="6493"/>
                    </a:cubicBezTo>
                    <a:cubicBezTo>
                      <a:pt x="34010" y="6493"/>
                      <a:pt x="34010" y="6493"/>
                      <a:pt x="34010" y="6493"/>
                    </a:cubicBezTo>
                    <a:cubicBezTo>
                      <a:pt x="34010" y="6493"/>
                      <a:pt x="34456" y="6665"/>
                      <a:pt x="34645" y="6768"/>
                    </a:cubicBezTo>
                    <a:lnTo>
                      <a:pt x="34645" y="6768"/>
                    </a:lnTo>
                    <a:lnTo>
                      <a:pt x="35470" y="7163"/>
                    </a:lnTo>
                    <a:cubicBezTo>
                      <a:pt x="35212" y="7025"/>
                      <a:pt x="34954" y="6871"/>
                      <a:pt x="34662" y="6733"/>
                    </a:cubicBezTo>
                    <a:lnTo>
                      <a:pt x="34662" y="6733"/>
                    </a:lnTo>
                    <a:lnTo>
                      <a:pt x="34353" y="6596"/>
                    </a:lnTo>
                    <a:lnTo>
                      <a:pt x="34491" y="6596"/>
                    </a:lnTo>
                    <a:cubicBezTo>
                      <a:pt x="34491" y="6596"/>
                      <a:pt x="34044" y="6441"/>
                      <a:pt x="34250" y="6493"/>
                    </a:cubicBezTo>
                    <a:lnTo>
                      <a:pt x="34113" y="6493"/>
                    </a:lnTo>
                    <a:lnTo>
                      <a:pt x="34422" y="6596"/>
                    </a:lnTo>
                    <a:cubicBezTo>
                      <a:pt x="34327" y="6538"/>
                      <a:pt x="34222" y="6497"/>
                      <a:pt x="34113" y="6476"/>
                    </a:cubicBezTo>
                    <a:cubicBezTo>
                      <a:pt x="34287" y="6517"/>
                      <a:pt x="34459" y="6568"/>
                      <a:pt x="34628" y="6630"/>
                    </a:cubicBezTo>
                    <a:lnTo>
                      <a:pt x="34473" y="6630"/>
                    </a:lnTo>
                    <a:lnTo>
                      <a:pt x="34473" y="6630"/>
                    </a:lnTo>
                    <a:lnTo>
                      <a:pt x="33700" y="4827"/>
                    </a:lnTo>
                    <a:cubicBezTo>
                      <a:pt x="42679" y="7791"/>
                      <a:pt x="48892" y="15993"/>
                      <a:pt x="49314" y="25438"/>
                    </a:cubicBezTo>
                    <a:cubicBezTo>
                      <a:pt x="49301" y="25780"/>
                      <a:pt x="49255" y="26119"/>
                      <a:pt x="49177" y="26452"/>
                    </a:cubicBezTo>
                    <a:cubicBezTo>
                      <a:pt x="49245" y="26349"/>
                      <a:pt x="49159" y="26538"/>
                      <a:pt x="49159" y="26589"/>
                    </a:cubicBezTo>
                    <a:close/>
                  </a:path>
                </a:pathLst>
              </a:custGeom>
              <a:solidFill>
                <a:srgbClr val="00B0F0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</a:pPr>
                <a:endParaRPr sz="1400" b="0" i="0" u="none" strike="noStrike" cap="none">
                  <a:solidFill>
                    <a:srgbClr val="B4B4B4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16" name="Google Shape;716;p83"/>
              <p:cNvSpPr/>
              <p:nvPr/>
            </p:nvSpPr>
            <p:spPr>
              <a:xfrm rot="-5400000">
                <a:off x="12026199" y="6563439"/>
                <a:ext cx="13277" cy="68070"/>
              </a:xfrm>
              <a:custGeom>
                <a:avLst/>
                <a:gdLst/>
                <a:ahLst/>
                <a:cxnLst/>
                <a:rect l="l" t="t" r="r" b="b"/>
                <a:pathLst>
                  <a:path w="13277" h="68070" extrusionOk="0">
                    <a:moveTo>
                      <a:pt x="13277" y="12024"/>
                    </a:moveTo>
                    <a:lnTo>
                      <a:pt x="0" y="12024"/>
                    </a:lnTo>
                    <a:lnTo>
                      <a:pt x="0" y="0"/>
                    </a:lnTo>
                    <a:lnTo>
                      <a:pt x="13277" y="0"/>
                    </a:lnTo>
                    <a:close/>
                    <a:moveTo>
                      <a:pt x="0" y="17984"/>
                    </a:moveTo>
                    <a:lnTo>
                      <a:pt x="13277" y="17984"/>
                    </a:lnTo>
                    <a:lnTo>
                      <a:pt x="13277" y="68070"/>
                    </a:lnTo>
                    <a:lnTo>
                      <a:pt x="0" y="68070"/>
                    </a:lnTo>
                    <a:close/>
                  </a:path>
                </a:pathLst>
              </a:custGeom>
              <a:solidFill>
                <a:srgbClr val="00B0F0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</a:pPr>
                <a:endParaRPr sz="1400" b="0" i="0" u="none" strike="noStrike" cap="none">
                  <a:solidFill>
                    <a:srgbClr val="B4B4B4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17" name="Google Shape;717;p83"/>
              <p:cNvSpPr/>
              <p:nvPr/>
            </p:nvSpPr>
            <p:spPr>
              <a:xfrm rot="-5400000">
                <a:off x="12018640" y="6529825"/>
                <a:ext cx="45208" cy="51256"/>
              </a:xfrm>
              <a:custGeom>
                <a:avLst/>
                <a:gdLst/>
                <a:ahLst/>
                <a:cxnLst/>
                <a:rect l="l" t="t" r="r" b="b"/>
                <a:pathLst>
                  <a:path w="45208" h="51256" extrusionOk="0">
                    <a:moveTo>
                      <a:pt x="40279" y="4038"/>
                    </a:moveTo>
                    <a:cubicBezTo>
                      <a:pt x="43565" y="6752"/>
                      <a:pt x="45209" y="11246"/>
                      <a:pt x="45209" y="17521"/>
                    </a:cubicBezTo>
                    <a:lnTo>
                      <a:pt x="45209" y="51256"/>
                    </a:lnTo>
                    <a:lnTo>
                      <a:pt x="31794" y="51256"/>
                    </a:lnTo>
                    <a:lnTo>
                      <a:pt x="31794" y="20785"/>
                    </a:lnTo>
                    <a:cubicBezTo>
                      <a:pt x="31892" y="18712"/>
                      <a:pt x="31535" y="16642"/>
                      <a:pt x="30746" y="14722"/>
                    </a:cubicBezTo>
                    <a:cubicBezTo>
                      <a:pt x="29458" y="12162"/>
                      <a:pt x="27036" y="10874"/>
                      <a:pt x="23446" y="10874"/>
                    </a:cubicBezTo>
                    <a:cubicBezTo>
                      <a:pt x="19509" y="10574"/>
                      <a:pt x="15832" y="12861"/>
                      <a:pt x="14360" y="16525"/>
                    </a:cubicBezTo>
                    <a:cubicBezTo>
                      <a:pt x="13437" y="18959"/>
                      <a:pt x="13005" y="21550"/>
                      <a:pt x="13089" y="24152"/>
                    </a:cubicBezTo>
                    <a:lnTo>
                      <a:pt x="13089" y="51256"/>
                    </a:lnTo>
                    <a:lnTo>
                      <a:pt x="0" y="51256"/>
                    </a:lnTo>
                    <a:lnTo>
                      <a:pt x="0" y="1272"/>
                    </a:lnTo>
                    <a:lnTo>
                      <a:pt x="12676" y="1272"/>
                    </a:lnTo>
                    <a:lnTo>
                      <a:pt x="12676" y="8607"/>
                    </a:lnTo>
                    <a:cubicBezTo>
                      <a:pt x="13939" y="6498"/>
                      <a:pt x="15548" y="4617"/>
                      <a:pt x="17434" y="3042"/>
                    </a:cubicBezTo>
                    <a:cubicBezTo>
                      <a:pt x="20409" y="938"/>
                      <a:pt x="23996" y="-125"/>
                      <a:pt x="27637" y="19"/>
                    </a:cubicBezTo>
                    <a:cubicBezTo>
                      <a:pt x="32194" y="-181"/>
                      <a:pt x="36674" y="1243"/>
                      <a:pt x="40279" y="4038"/>
                    </a:cubicBezTo>
                    <a:close/>
                  </a:path>
                </a:pathLst>
              </a:custGeom>
              <a:solidFill>
                <a:srgbClr val="00B0F0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</a:pPr>
                <a:endParaRPr sz="1400" b="0" i="0" u="none" strike="noStrike" cap="none">
                  <a:solidFill>
                    <a:srgbClr val="B4B4B4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18" name="Google Shape;718;p83"/>
              <p:cNvSpPr/>
              <p:nvPr/>
            </p:nvSpPr>
            <p:spPr>
              <a:xfrm rot="-5400000">
                <a:off x="12018195" y="6477145"/>
                <a:ext cx="28942" cy="68414"/>
              </a:xfrm>
              <a:custGeom>
                <a:avLst/>
                <a:gdLst/>
                <a:ahLst/>
                <a:cxnLst/>
                <a:rect l="l" t="t" r="r" b="b"/>
                <a:pathLst>
                  <a:path w="28942" h="68414" extrusionOk="0">
                    <a:moveTo>
                      <a:pt x="25868" y="0"/>
                    </a:moveTo>
                    <a:lnTo>
                      <a:pt x="28616" y="206"/>
                    </a:lnTo>
                    <a:lnTo>
                      <a:pt x="28616" y="10941"/>
                    </a:lnTo>
                    <a:cubicBezTo>
                      <a:pt x="27390" y="10808"/>
                      <a:pt x="26157" y="10739"/>
                      <a:pt x="24923" y="10735"/>
                    </a:cubicBezTo>
                    <a:cubicBezTo>
                      <a:pt x="23616" y="10538"/>
                      <a:pt x="22290" y="10956"/>
                      <a:pt x="21333" y="11869"/>
                    </a:cubicBezTo>
                    <a:cubicBezTo>
                      <a:pt x="20704" y="12627"/>
                      <a:pt x="20358" y="13580"/>
                      <a:pt x="20354" y="14566"/>
                    </a:cubicBezTo>
                    <a:lnTo>
                      <a:pt x="20354" y="18791"/>
                    </a:lnTo>
                    <a:lnTo>
                      <a:pt x="28943" y="18791"/>
                    </a:lnTo>
                    <a:lnTo>
                      <a:pt x="28943" y="28032"/>
                    </a:lnTo>
                    <a:lnTo>
                      <a:pt x="20354" y="28032"/>
                    </a:lnTo>
                    <a:lnTo>
                      <a:pt x="20354" y="68414"/>
                    </a:lnTo>
                    <a:lnTo>
                      <a:pt x="7352" y="68414"/>
                    </a:lnTo>
                    <a:lnTo>
                      <a:pt x="7352" y="28032"/>
                    </a:lnTo>
                    <a:lnTo>
                      <a:pt x="0" y="28032"/>
                    </a:lnTo>
                    <a:lnTo>
                      <a:pt x="0" y="18791"/>
                    </a:lnTo>
                    <a:lnTo>
                      <a:pt x="7163" y="18791"/>
                    </a:lnTo>
                    <a:lnTo>
                      <a:pt x="7163" y="15579"/>
                    </a:lnTo>
                    <a:cubicBezTo>
                      <a:pt x="7163" y="10220"/>
                      <a:pt x="8067" y="6527"/>
                      <a:pt x="9877" y="4500"/>
                    </a:cubicBezTo>
                    <a:cubicBezTo>
                      <a:pt x="11783" y="1494"/>
                      <a:pt x="16352" y="0"/>
                      <a:pt x="23618" y="0"/>
                    </a:cubicBezTo>
                    <a:cubicBezTo>
                      <a:pt x="24442" y="0"/>
                      <a:pt x="25198" y="0"/>
                      <a:pt x="25868" y="0"/>
                    </a:cubicBezTo>
                    <a:close/>
                  </a:path>
                </a:pathLst>
              </a:custGeom>
              <a:solidFill>
                <a:srgbClr val="00B0F0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</a:pPr>
                <a:endParaRPr sz="1400" b="0" i="0" u="none" strike="noStrike" cap="none">
                  <a:solidFill>
                    <a:srgbClr val="B4B4B4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19" name="Google Shape;719;p83"/>
              <p:cNvSpPr/>
              <p:nvPr/>
            </p:nvSpPr>
            <p:spPr>
              <a:xfrm rot="-5400000">
                <a:off x="12016830" y="6161182"/>
                <a:ext cx="49036" cy="51048"/>
              </a:xfrm>
              <a:custGeom>
                <a:avLst/>
                <a:gdLst/>
                <a:ahLst/>
                <a:cxnLst/>
                <a:rect l="l" t="t" r="r" b="b"/>
                <a:pathLst>
                  <a:path w="49036" h="51048" extrusionOk="0">
                    <a:moveTo>
                      <a:pt x="42949" y="43542"/>
                    </a:moveTo>
                    <a:cubicBezTo>
                      <a:pt x="38907" y="48535"/>
                      <a:pt x="32763" y="51037"/>
                      <a:pt x="24519" y="51049"/>
                    </a:cubicBezTo>
                    <a:cubicBezTo>
                      <a:pt x="16274" y="51060"/>
                      <a:pt x="10125" y="48558"/>
                      <a:pt x="6071" y="43542"/>
                    </a:cubicBezTo>
                    <a:cubicBezTo>
                      <a:pt x="2000" y="38452"/>
                      <a:pt x="-145" y="32091"/>
                      <a:pt x="8" y="25576"/>
                    </a:cubicBezTo>
                    <a:cubicBezTo>
                      <a:pt x="-130" y="19058"/>
                      <a:pt x="2016" y="12697"/>
                      <a:pt x="6071" y="7592"/>
                    </a:cubicBezTo>
                    <a:cubicBezTo>
                      <a:pt x="10125" y="2519"/>
                      <a:pt x="16274" y="-11"/>
                      <a:pt x="24519" y="0"/>
                    </a:cubicBezTo>
                    <a:cubicBezTo>
                      <a:pt x="32763" y="12"/>
                      <a:pt x="38907" y="2542"/>
                      <a:pt x="42949" y="7592"/>
                    </a:cubicBezTo>
                    <a:cubicBezTo>
                      <a:pt x="47010" y="12695"/>
                      <a:pt x="49160" y="19056"/>
                      <a:pt x="49030" y="25576"/>
                    </a:cubicBezTo>
                    <a:cubicBezTo>
                      <a:pt x="49177" y="32093"/>
                      <a:pt x="47023" y="38454"/>
                      <a:pt x="42949" y="43542"/>
                    </a:cubicBezTo>
                    <a:close/>
                    <a:moveTo>
                      <a:pt x="32918" y="36672"/>
                    </a:moveTo>
                    <a:cubicBezTo>
                      <a:pt x="35077" y="33390"/>
                      <a:pt x="36115" y="29497"/>
                      <a:pt x="35872" y="25576"/>
                    </a:cubicBezTo>
                    <a:cubicBezTo>
                      <a:pt x="36123" y="21654"/>
                      <a:pt x="35086" y="17758"/>
                      <a:pt x="32918" y="14480"/>
                    </a:cubicBezTo>
                    <a:cubicBezTo>
                      <a:pt x="28893" y="9808"/>
                      <a:pt x="21844" y="9283"/>
                      <a:pt x="17172" y="13307"/>
                    </a:cubicBezTo>
                    <a:cubicBezTo>
                      <a:pt x="16753" y="13668"/>
                      <a:pt x="16360" y="14060"/>
                      <a:pt x="15999" y="14480"/>
                    </a:cubicBezTo>
                    <a:cubicBezTo>
                      <a:pt x="13826" y="17756"/>
                      <a:pt x="12782" y="21652"/>
                      <a:pt x="13027" y="25576"/>
                    </a:cubicBezTo>
                    <a:cubicBezTo>
                      <a:pt x="12782" y="29510"/>
                      <a:pt x="13824" y="33418"/>
                      <a:pt x="15999" y="36706"/>
                    </a:cubicBezTo>
                    <a:cubicBezTo>
                      <a:pt x="19994" y="41378"/>
                      <a:pt x="27020" y="41927"/>
                      <a:pt x="31692" y="37932"/>
                    </a:cubicBezTo>
                    <a:cubicBezTo>
                      <a:pt x="32131" y="37556"/>
                      <a:pt x="32542" y="37146"/>
                      <a:pt x="32918" y="36706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</a:pPr>
                <a:endParaRPr sz="1400" b="0" i="0" u="none" strike="noStrike" cap="none">
                  <a:solidFill>
                    <a:srgbClr val="B4B4B4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20" name="Google Shape;720;p83"/>
              <p:cNvSpPr/>
              <p:nvPr/>
            </p:nvSpPr>
            <p:spPr>
              <a:xfrm rot="-5400000">
                <a:off x="12005374" y="6370523"/>
                <a:ext cx="71791" cy="51205"/>
              </a:xfrm>
              <a:custGeom>
                <a:avLst/>
                <a:gdLst/>
                <a:ahLst/>
                <a:cxnLst/>
                <a:rect l="l" t="t" r="r" b="b"/>
                <a:pathLst>
                  <a:path w="71791" h="51205" extrusionOk="0">
                    <a:moveTo>
                      <a:pt x="62643" y="1307"/>
                    </a:moveTo>
                    <a:cubicBezTo>
                      <a:pt x="64938" y="2282"/>
                      <a:pt x="66944" y="3832"/>
                      <a:pt x="68466" y="5808"/>
                    </a:cubicBezTo>
                    <a:cubicBezTo>
                      <a:pt x="69936" y="7685"/>
                      <a:pt x="70917" y="9898"/>
                      <a:pt x="71317" y="12249"/>
                    </a:cubicBezTo>
                    <a:cubicBezTo>
                      <a:pt x="71680" y="14693"/>
                      <a:pt x="71834" y="17164"/>
                      <a:pt x="71781" y="19635"/>
                    </a:cubicBezTo>
                    <a:lnTo>
                      <a:pt x="71781" y="51205"/>
                    </a:lnTo>
                    <a:lnTo>
                      <a:pt x="58349" y="51205"/>
                    </a:lnTo>
                    <a:lnTo>
                      <a:pt x="58349" y="19308"/>
                    </a:lnTo>
                    <a:cubicBezTo>
                      <a:pt x="58414" y="17701"/>
                      <a:pt x="58101" y="16101"/>
                      <a:pt x="57438" y="14636"/>
                    </a:cubicBezTo>
                    <a:cubicBezTo>
                      <a:pt x="56188" y="12289"/>
                      <a:pt x="53642" y="10931"/>
                      <a:pt x="50997" y="11201"/>
                    </a:cubicBezTo>
                    <a:cubicBezTo>
                      <a:pt x="47802" y="10957"/>
                      <a:pt x="44803" y="12763"/>
                      <a:pt x="43525" y="15701"/>
                    </a:cubicBezTo>
                    <a:cubicBezTo>
                      <a:pt x="42766" y="17522"/>
                      <a:pt x="42404" y="19483"/>
                      <a:pt x="42460" y="21455"/>
                    </a:cubicBezTo>
                    <a:lnTo>
                      <a:pt x="42460" y="51205"/>
                    </a:lnTo>
                    <a:lnTo>
                      <a:pt x="29269" y="51205"/>
                    </a:lnTo>
                    <a:lnTo>
                      <a:pt x="29269" y="21387"/>
                    </a:lnTo>
                    <a:cubicBezTo>
                      <a:pt x="29389" y="19189"/>
                      <a:pt x="29080" y="16990"/>
                      <a:pt x="28359" y="14911"/>
                    </a:cubicBezTo>
                    <a:cubicBezTo>
                      <a:pt x="27192" y="12446"/>
                      <a:pt x="24595" y="10986"/>
                      <a:pt x="21883" y="11270"/>
                    </a:cubicBezTo>
                    <a:cubicBezTo>
                      <a:pt x="18138" y="11270"/>
                      <a:pt x="15626" y="12484"/>
                      <a:pt x="14342" y="14911"/>
                    </a:cubicBezTo>
                    <a:cubicBezTo>
                      <a:pt x="13527" y="16854"/>
                      <a:pt x="13162" y="18956"/>
                      <a:pt x="13277" y="21060"/>
                    </a:cubicBezTo>
                    <a:lnTo>
                      <a:pt x="13277" y="51205"/>
                    </a:lnTo>
                    <a:lnTo>
                      <a:pt x="0" y="51205"/>
                    </a:lnTo>
                    <a:lnTo>
                      <a:pt x="0" y="1221"/>
                    </a:lnTo>
                    <a:lnTo>
                      <a:pt x="12728" y="1221"/>
                    </a:lnTo>
                    <a:lnTo>
                      <a:pt x="12728" y="8556"/>
                    </a:lnTo>
                    <a:cubicBezTo>
                      <a:pt x="13930" y="6449"/>
                      <a:pt x="15488" y="4567"/>
                      <a:pt x="17331" y="2991"/>
                    </a:cubicBezTo>
                    <a:cubicBezTo>
                      <a:pt x="23120" y="-769"/>
                      <a:pt x="30538" y="-929"/>
                      <a:pt x="36483" y="2578"/>
                    </a:cubicBezTo>
                    <a:cubicBezTo>
                      <a:pt x="38381" y="4179"/>
                      <a:pt x="39841" y="6236"/>
                      <a:pt x="40726" y="8556"/>
                    </a:cubicBezTo>
                    <a:cubicBezTo>
                      <a:pt x="42206" y="5843"/>
                      <a:pt x="44413" y="3595"/>
                      <a:pt x="47098" y="2063"/>
                    </a:cubicBezTo>
                    <a:cubicBezTo>
                      <a:pt x="49896" y="665"/>
                      <a:pt x="52988" y="-42"/>
                      <a:pt x="56116" y="2"/>
                    </a:cubicBezTo>
                    <a:cubicBezTo>
                      <a:pt x="58356" y="15"/>
                      <a:pt x="60571" y="458"/>
                      <a:pt x="62643" y="1307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</a:pPr>
                <a:endParaRPr sz="1400" b="0" i="0" u="none" strike="noStrike" cap="none">
                  <a:solidFill>
                    <a:srgbClr val="B4B4B4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21" name="Google Shape;721;p83"/>
              <p:cNvSpPr/>
              <p:nvPr/>
            </p:nvSpPr>
            <p:spPr>
              <a:xfrm rot="-5400000">
                <a:off x="12026199" y="6307354"/>
                <a:ext cx="13277" cy="68070"/>
              </a:xfrm>
              <a:custGeom>
                <a:avLst/>
                <a:gdLst/>
                <a:ahLst/>
                <a:cxnLst/>
                <a:rect l="l" t="t" r="r" b="b"/>
                <a:pathLst>
                  <a:path w="13277" h="68070" extrusionOk="0">
                    <a:moveTo>
                      <a:pt x="13278" y="12024"/>
                    </a:moveTo>
                    <a:lnTo>
                      <a:pt x="0" y="12024"/>
                    </a:lnTo>
                    <a:lnTo>
                      <a:pt x="0" y="0"/>
                    </a:lnTo>
                    <a:lnTo>
                      <a:pt x="13278" y="0"/>
                    </a:lnTo>
                    <a:close/>
                    <a:moveTo>
                      <a:pt x="0" y="17984"/>
                    </a:moveTo>
                    <a:lnTo>
                      <a:pt x="13278" y="17984"/>
                    </a:lnTo>
                    <a:lnTo>
                      <a:pt x="13278" y="68070"/>
                    </a:lnTo>
                    <a:lnTo>
                      <a:pt x="0" y="68070"/>
                    </a:ln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</a:pPr>
                <a:endParaRPr sz="1400" b="0" i="0" u="none" strike="noStrike" cap="none">
                  <a:solidFill>
                    <a:srgbClr val="B4B4B4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22" name="Google Shape;722;p83"/>
              <p:cNvSpPr/>
              <p:nvPr/>
            </p:nvSpPr>
            <p:spPr>
              <a:xfrm rot="-5400000">
                <a:off x="12018641" y="6273739"/>
                <a:ext cx="45208" cy="51255"/>
              </a:xfrm>
              <a:custGeom>
                <a:avLst/>
                <a:gdLst/>
                <a:ahLst/>
                <a:cxnLst/>
                <a:rect l="l" t="t" r="r" b="b"/>
                <a:pathLst>
                  <a:path w="45208" h="51255" extrusionOk="0">
                    <a:moveTo>
                      <a:pt x="40296" y="4038"/>
                    </a:moveTo>
                    <a:cubicBezTo>
                      <a:pt x="43560" y="6752"/>
                      <a:pt x="45209" y="11252"/>
                      <a:pt x="45209" y="17521"/>
                    </a:cubicBezTo>
                    <a:lnTo>
                      <a:pt x="45209" y="51256"/>
                    </a:lnTo>
                    <a:lnTo>
                      <a:pt x="31794" y="51256"/>
                    </a:lnTo>
                    <a:lnTo>
                      <a:pt x="31794" y="20785"/>
                    </a:lnTo>
                    <a:cubicBezTo>
                      <a:pt x="31900" y="18711"/>
                      <a:pt x="31543" y="16639"/>
                      <a:pt x="30746" y="14722"/>
                    </a:cubicBezTo>
                    <a:cubicBezTo>
                      <a:pt x="29458" y="12162"/>
                      <a:pt x="27036" y="10874"/>
                      <a:pt x="23446" y="10874"/>
                    </a:cubicBezTo>
                    <a:cubicBezTo>
                      <a:pt x="19511" y="10565"/>
                      <a:pt x="15833" y="12857"/>
                      <a:pt x="14377" y="16525"/>
                    </a:cubicBezTo>
                    <a:cubicBezTo>
                      <a:pt x="13439" y="18955"/>
                      <a:pt x="13001" y="21549"/>
                      <a:pt x="13089" y="24151"/>
                    </a:cubicBezTo>
                    <a:lnTo>
                      <a:pt x="13089" y="51256"/>
                    </a:lnTo>
                    <a:lnTo>
                      <a:pt x="0" y="51256"/>
                    </a:lnTo>
                    <a:lnTo>
                      <a:pt x="0" y="1272"/>
                    </a:lnTo>
                    <a:lnTo>
                      <a:pt x="12676" y="1272"/>
                    </a:lnTo>
                    <a:lnTo>
                      <a:pt x="12676" y="8607"/>
                    </a:lnTo>
                    <a:cubicBezTo>
                      <a:pt x="13946" y="6502"/>
                      <a:pt x="15553" y="4622"/>
                      <a:pt x="17434" y="3042"/>
                    </a:cubicBezTo>
                    <a:cubicBezTo>
                      <a:pt x="20409" y="938"/>
                      <a:pt x="23996" y="-125"/>
                      <a:pt x="27637" y="18"/>
                    </a:cubicBezTo>
                    <a:cubicBezTo>
                      <a:pt x="32199" y="-181"/>
                      <a:pt x="36684" y="1243"/>
                      <a:pt x="40296" y="4038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</a:pPr>
                <a:endParaRPr sz="1400" b="0" i="0" u="none" strike="noStrike" cap="none">
                  <a:solidFill>
                    <a:srgbClr val="B4B4B4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23" name="Google Shape;723;p83"/>
              <p:cNvSpPr/>
              <p:nvPr/>
            </p:nvSpPr>
            <p:spPr>
              <a:xfrm rot="-5400000">
                <a:off x="12017163" y="6218687"/>
                <a:ext cx="48082" cy="51510"/>
              </a:xfrm>
              <a:custGeom>
                <a:avLst/>
                <a:gdLst/>
                <a:ahLst/>
                <a:cxnLst/>
                <a:rect l="l" t="t" r="r" b="b"/>
                <a:pathLst>
                  <a:path w="48082" h="51510" extrusionOk="0">
                    <a:moveTo>
                      <a:pt x="35384" y="2281"/>
                    </a:moveTo>
                    <a:cubicBezTo>
                      <a:pt x="38804" y="3821"/>
                      <a:pt x="41712" y="6306"/>
                      <a:pt x="43766" y="9444"/>
                    </a:cubicBezTo>
                    <a:cubicBezTo>
                      <a:pt x="45803" y="12448"/>
                      <a:pt x="47126" y="15880"/>
                      <a:pt x="47631" y="19475"/>
                    </a:cubicBezTo>
                    <a:cubicBezTo>
                      <a:pt x="48021" y="22665"/>
                      <a:pt x="48160" y="25881"/>
                      <a:pt x="48043" y="29094"/>
                    </a:cubicBezTo>
                    <a:lnTo>
                      <a:pt x="12711" y="29094"/>
                    </a:lnTo>
                    <a:cubicBezTo>
                      <a:pt x="12900" y="33955"/>
                      <a:pt x="14600" y="37373"/>
                      <a:pt x="17778" y="39400"/>
                    </a:cubicBezTo>
                    <a:cubicBezTo>
                      <a:pt x="19884" y="40669"/>
                      <a:pt x="22311" y="41306"/>
                      <a:pt x="24769" y="41237"/>
                    </a:cubicBezTo>
                    <a:cubicBezTo>
                      <a:pt x="27307" y="41354"/>
                      <a:pt x="29803" y="40563"/>
                      <a:pt x="31811" y="39004"/>
                    </a:cubicBezTo>
                    <a:cubicBezTo>
                      <a:pt x="32891" y="38080"/>
                      <a:pt x="33774" y="36947"/>
                      <a:pt x="34405" y="35672"/>
                    </a:cubicBezTo>
                    <a:lnTo>
                      <a:pt x="47407" y="35672"/>
                    </a:lnTo>
                    <a:cubicBezTo>
                      <a:pt x="46818" y="39021"/>
                      <a:pt x="45169" y="42092"/>
                      <a:pt x="42701" y="44432"/>
                    </a:cubicBezTo>
                    <a:cubicBezTo>
                      <a:pt x="38355" y="49156"/>
                      <a:pt x="32292" y="51509"/>
                      <a:pt x="24459" y="51509"/>
                    </a:cubicBezTo>
                    <a:cubicBezTo>
                      <a:pt x="18245" y="51584"/>
                      <a:pt x="12202" y="49474"/>
                      <a:pt x="7386" y="45549"/>
                    </a:cubicBezTo>
                    <a:cubicBezTo>
                      <a:pt x="2461" y="41564"/>
                      <a:pt x="0" y="35094"/>
                      <a:pt x="0" y="26139"/>
                    </a:cubicBezTo>
                    <a:cubicBezTo>
                      <a:pt x="0" y="17746"/>
                      <a:pt x="2228" y="11304"/>
                      <a:pt x="6682" y="6816"/>
                    </a:cubicBezTo>
                    <a:cubicBezTo>
                      <a:pt x="11252" y="2254"/>
                      <a:pt x="17508" y="-208"/>
                      <a:pt x="23961" y="14"/>
                    </a:cubicBezTo>
                    <a:cubicBezTo>
                      <a:pt x="27886" y="-52"/>
                      <a:pt x="31782" y="721"/>
                      <a:pt x="35384" y="2281"/>
                    </a:cubicBezTo>
                    <a:close/>
                    <a:moveTo>
                      <a:pt x="16490" y="13223"/>
                    </a:moveTo>
                    <a:cubicBezTo>
                      <a:pt x="14554" y="15309"/>
                      <a:pt x="13350" y="17967"/>
                      <a:pt x="13054" y="20797"/>
                    </a:cubicBezTo>
                    <a:lnTo>
                      <a:pt x="34886" y="20797"/>
                    </a:lnTo>
                    <a:cubicBezTo>
                      <a:pt x="34844" y="17880"/>
                      <a:pt x="33601" y="15108"/>
                      <a:pt x="31450" y="13137"/>
                    </a:cubicBezTo>
                    <a:cubicBezTo>
                      <a:pt x="29363" y="11367"/>
                      <a:pt x="26698" y="10426"/>
                      <a:pt x="23961" y="10491"/>
                    </a:cubicBezTo>
                    <a:cubicBezTo>
                      <a:pt x="21201" y="10337"/>
                      <a:pt x="18499" y="11325"/>
                      <a:pt x="16490" y="13223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</a:pPr>
                <a:endParaRPr sz="1400" b="0" i="0" u="none" strike="noStrike" cap="none">
                  <a:solidFill>
                    <a:srgbClr val="B4B4B4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pic>
          <p:nvPicPr>
            <p:cNvPr id="724" name="Google Shape;724;p8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 rot="-5400000">
              <a:off x="11811888" y="6322371"/>
              <a:ext cx="441438" cy="68706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725" name="Google Shape;725;p83"/>
            <p:cNvSpPr txBox="1"/>
            <p:nvPr/>
          </p:nvSpPr>
          <p:spPr>
            <a:xfrm rot="-5400000">
              <a:off x="11250972" y="5263963"/>
              <a:ext cx="1567737" cy="1108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b" anchorCtr="0">
              <a:spAutoFit/>
            </a:bodyPr>
            <a:lstStyle/>
            <a:p>
              <a:pPr marL="0" marR="0" lvl="0" indent="0" algn="l" rtl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800"/>
                <a:buFont typeface="Arial"/>
                <a:buNone/>
              </a:pPr>
              <a:r>
                <a:rPr lang="en-US" sz="800" b="0" i="0" u="none" strike="noStrike" cap="none">
                  <a:solidFill>
                    <a:srgbClr val="B4B4B4"/>
                  </a:solidFill>
                  <a:latin typeface="Calibri"/>
                  <a:ea typeface="Calibri"/>
                  <a:cs typeface="Calibri"/>
                  <a:sym typeface="Calibri"/>
                </a:rPr>
                <a:t>Copyright © 2020. All rights reserved.</a:t>
              </a: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726" name="Google Shape;726;p83"/>
          <p:cNvSpPr txBox="1"/>
          <p:nvPr/>
        </p:nvSpPr>
        <p:spPr>
          <a:xfrm>
            <a:off x="11490153" y="6465614"/>
            <a:ext cx="150682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marR="0" lvl="0" indent="0" algn="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fld id="{00000000-1234-1234-1234-123412341234}" type="slidenum">
              <a:rPr lang="en-US"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rPr>
              <a:t>‹#›</a:t>
            </a:fld>
            <a:endParaRPr sz="1000" b="0" i="0" u="none" strike="noStrike" cap="none">
              <a:solidFill>
                <a:srgbClr val="7F7F7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404091968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 type="twoObj">
  <p:cSld name="TWO_OBJECTS">
    <p:spTree>
      <p:nvGrpSpPr>
        <p:cNvPr id="1" name="Shape 3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Google Shape;38;p14"/>
          <p:cNvSpPr txBox="1"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9" name="Google Shape;39;p14"/>
          <p:cNvSpPr txBox="1">
            <a:spLocks noGrp="1"/>
          </p:cNvSpPr>
          <p:nvPr>
            <p:ph type="body" idx="1"/>
          </p:nvPr>
        </p:nvSpPr>
        <p:spPr>
          <a:xfrm>
            <a:off x="838200" y="1825625"/>
            <a:ext cx="51816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0" name="Google Shape;40;p14"/>
          <p:cNvSpPr txBox="1">
            <a:spLocks noGrp="1"/>
          </p:cNvSpPr>
          <p:nvPr>
            <p:ph type="body" idx="2"/>
          </p:nvPr>
        </p:nvSpPr>
        <p:spPr>
          <a:xfrm>
            <a:off x="6172200" y="1825625"/>
            <a:ext cx="51816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1" name="Google Shape;41;p14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2" name="Google Shape;42;p14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3" name="Google Shape;43;p14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 type="twoTxTwoObj">
  <p:cSld name="TWO_OBJECTS_WITH_TEXT">
    <p:spTree>
      <p:nvGrpSpPr>
        <p:cNvPr id="1" name="Shape 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Google Shape;45;p15"/>
          <p:cNvSpPr txBox="1"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6" name="Google Shape;46;p15"/>
          <p:cNvSpPr txBox="1"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400"/>
              <a:buNone/>
              <a:defRPr sz="2400" b="1"/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2000" b="1"/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 b="1"/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47" name="Google Shape;47;p15"/>
          <p:cNvSpPr txBox="1">
            <a:spLocks noGrp="1"/>
          </p:cNvSpPr>
          <p:nvPr>
            <p:ph type="body" idx="2"/>
          </p:nvPr>
        </p:nvSpPr>
        <p:spPr>
          <a:xfrm>
            <a:off x="839788" y="2505075"/>
            <a:ext cx="5157787" cy="36845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8" name="Google Shape;48;p15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183188" cy="82391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400"/>
              <a:buNone/>
              <a:defRPr sz="2400" b="1"/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2000" b="1"/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 b="1"/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49" name="Google Shape;49;p15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183188" cy="36845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0" name="Google Shape;50;p15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1" name="Google Shape;51;p15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2" name="Google Shape;52;p15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type="titleOnly">
  <p:cSld name="TITLE_ONLY">
    <p:spTree>
      <p:nvGrpSpPr>
        <p:cNvPr id="1" name="Shape 5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" name="Google Shape;54;p16"/>
          <p:cNvSpPr txBox="1"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5" name="Google Shape;55;p16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6" name="Google Shape;56;p16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7" name="Google Shape;57;p16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with Caption" type="objTx">
  <p:cSld name="OBJECT_WITH_CAPTION_TEXT">
    <p:spTree>
      <p:nvGrpSpPr>
        <p:cNvPr id="1" name="Shape 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" name="Google Shape;59;p17"/>
          <p:cNvSpPr txBox="1"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Calibri"/>
              <a:buNone/>
              <a:defRPr sz="32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0" name="Google Shape;60;p17"/>
          <p:cNvSpPr txBox="1">
            <a:spLocks noGrp="1"/>
          </p:cNvSpPr>
          <p:nvPr>
            <p:ph type="body" idx="1"/>
          </p:nvPr>
        </p:nvSpPr>
        <p:spPr>
          <a:xfrm>
            <a:off x="5183188" y="987425"/>
            <a:ext cx="6172200" cy="48736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4318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3200"/>
              <a:buChar char="•"/>
              <a:defRPr sz="3200"/>
            </a:lvl1pPr>
            <a:lvl2pPr marL="914400" lvl="1" indent="-4064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800"/>
              <a:buChar char="•"/>
              <a:defRPr sz="2800"/>
            </a:lvl2pPr>
            <a:lvl3pPr marL="1371600" lvl="2" indent="-3810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Char char="•"/>
              <a:defRPr sz="2400"/>
            </a:lvl3pPr>
            <a:lvl4pPr marL="1828800" lvl="3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4pPr>
            <a:lvl5pPr marL="2286000" lvl="4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5pPr>
            <a:lvl6pPr marL="2743200" lvl="5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6pPr>
            <a:lvl7pPr marL="3200400" lvl="6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7pPr>
            <a:lvl8pPr marL="3657600" lvl="7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8pPr>
            <a:lvl9pPr marL="4114800" lvl="8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9pPr>
          </a:lstStyle>
          <a:p>
            <a:endParaRPr/>
          </a:p>
        </p:txBody>
      </p:sp>
      <p:sp>
        <p:nvSpPr>
          <p:cNvPr id="61" name="Google Shape;61;p17"/>
          <p:cNvSpPr txBox="1">
            <a:spLocks noGrp="1"/>
          </p:cNvSpPr>
          <p:nvPr>
            <p:ph type="body" idx="2"/>
          </p:nvPr>
        </p:nvSpPr>
        <p:spPr>
          <a:xfrm>
            <a:off x="839788" y="2057400"/>
            <a:ext cx="3932237" cy="38115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400"/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200"/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5pPr>
            <a:lvl6pPr marL="2743200" lvl="5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9pPr>
          </a:lstStyle>
          <a:p>
            <a:endParaRPr/>
          </a:p>
        </p:txBody>
      </p:sp>
      <p:sp>
        <p:nvSpPr>
          <p:cNvPr id="62" name="Google Shape;62;p17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3" name="Google Shape;63;p17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4" name="Google Shape;64;p17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icture with Caption" type="picTx">
  <p:cSld name="PICTURE_WITH_CAPTION_TEXT">
    <p:spTree>
      <p:nvGrpSpPr>
        <p:cNvPr id="1" name="Shape 6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" name="Google Shape;66;p18"/>
          <p:cNvSpPr txBox="1"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Calibri"/>
              <a:buNone/>
              <a:defRPr sz="32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7" name="Google Shape;67;p18"/>
          <p:cNvSpPr>
            <a:spLocks noGrp="1"/>
          </p:cNvSpPr>
          <p:nvPr>
            <p:ph type="pic" idx="2"/>
          </p:nvPr>
        </p:nvSpPr>
        <p:spPr>
          <a:xfrm>
            <a:off x="5183188" y="987425"/>
            <a:ext cx="6172200" cy="4873625"/>
          </a:xfrm>
          <a:prstGeom prst="rect">
            <a:avLst/>
          </a:prstGeom>
          <a:noFill/>
          <a:ln>
            <a:noFill/>
          </a:ln>
        </p:spPr>
      </p:sp>
      <p:sp>
        <p:nvSpPr>
          <p:cNvPr id="68" name="Google Shape;68;p18"/>
          <p:cNvSpPr txBox="1">
            <a:spLocks noGrp="1"/>
          </p:cNvSpPr>
          <p:nvPr>
            <p:ph type="body" idx="1"/>
          </p:nvPr>
        </p:nvSpPr>
        <p:spPr>
          <a:xfrm>
            <a:off x="839788" y="2057400"/>
            <a:ext cx="3932237" cy="38115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400"/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200"/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5pPr>
            <a:lvl6pPr marL="2743200" lvl="5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9pPr>
          </a:lstStyle>
          <a:p>
            <a:endParaRPr/>
          </a:p>
        </p:txBody>
      </p:sp>
      <p:sp>
        <p:nvSpPr>
          <p:cNvPr id="69" name="Google Shape;69;p18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0" name="Google Shape;70;p18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1" name="Google Shape;71;p18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slideLayout" Target="../slideLayouts/slideLayout24.xml"/><Relationship Id="rId18" Type="http://schemas.openxmlformats.org/officeDocument/2006/relationships/tags" Target="../tags/tag3.xml"/><Relationship Id="rId3" Type="http://schemas.openxmlformats.org/officeDocument/2006/relationships/slideLayout" Target="../slideLayouts/slideLayout14.xml"/><Relationship Id="rId21" Type="http://schemas.openxmlformats.org/officeDocument/2006/relationships/image" Target="../media/image2.png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17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6" Type="http://schemas.openxmlformats.org/officeDocument/2006/relationships/slideLayout" Target="../slideLayouts/slideLayout27.xml"/><Relationship Id="rId20" Type="http://schemas.openxmlformats.org/officeDocument/2006/relationships/image" Target="../media/image1.emf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5" Type="http://schemas.openxmlformats.org/officeDocument/2006/relationships/slideLayout" Target="../slideLayouts/slideLayout26.xml"/><Relationship Id="rId10" Type="http://schemas.openxmlformats.org/officeDocument/2006/relationships/slideLayout" Target="../slideLayouts/slideLayout21.xml"/><Relationship Id="rId19" Type="http://schemas.openxmlformats.org/officeDocument/2006/relationships/oleObject" Target="../embeddings/oleObject2.bin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slideLayout" Target="../slideLayouts/slideLayout25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5.xml"/><Relationship Id="rId13" Type="http://schemas.openxmlformats.org/officeDocument/2006/relationships/slideLayout" Target="../slideLayouts/slideLayout40.xml"/><Relationship Id="rId18" Type="http://schemas.openxmlformats.org/officeDocument/2006/relationships/slideLayout" Target="../slideLayouts/slideLayout45.xml"/><Relationship Id="rId3" Type="http://schemas.openxmlformats.org/officeDocument/2006/relationships/slideLayout" Target="../slideLayouts/slideLayout30.xml"/><Relationship Id="rId21" Type="http://schemas.openxmlformats.org/officeDocument/2006/relationships/tags" Target="../tags/tag4.xml"/><Relationship Id="rId7" Type="http://schemas.openxmlformats.org/officeDocument/2006/relationships/slideLayout" Target="../slideLayouts/slideLayout34.xml"/><Relationship Id="rId12" Type="http://schemas.openxmlformats.org/officeDocument/2006/relationships/slideLayout" Target="../slideLayouts/slideLayout39.xml"/><Relationship Id="rId17" Type="http://schemas.openxmlformats.org/officeDocument/2006/relationships/slideLayout" Target="../slideLayouts/slideLayout44.xml"/><Relationship Id="rId2" Type="http://schemas.openxmlformats.org/officeDocument/2006/relationships/slideLayout" Target="../slideLayouts/slideLayout29.xml"/><Relationship Id="rId16" Type="http://schemas.openxmlformats.org/officeDocument/2006/relationships/slideLayout" Target="../slideLayouts/slideLayout43.xml"/><Relationship Id="rId20" Type="http://schemas.openxmlformats.org/officeDocument/2006/relationships/theme" Target="../theme/theme3.xml"/><Relationship Id="rId1" Type="http://schemas.openxmlformats.org/officeDocument/2006/relationships/slideLayout" Target="../slideLayouts/slideLayout28.xml"/><Relationship Id="rId6" Type="http://schemas.openxmlformats.org/officeDocument/2006/relationships/slideLayout" Target="../slideLayouts/slideLayout33.xml"/><Relationship Id="rId11" Type="http://schemas.openxmlformats.org/officeDocument/2006/relationships/slideLayout" Target="../slideLayouts/slideLayout38.xml"/><Relationship Id="rId24" Type="http://schemas.openxmlformats.org/officeDocument/2006/relationships/image" Target="../media/image2.png"/><Relationship Id="rId5" Type="http://schemas.openxmlformats.org/officeDocument/2006/relationships/slideLayout" Target="../slideLayouts/slideLayout32.xml"/><Relationship Id="rId15" Type="http://schemas.openxmlformats.org/officeDocument/2006/relationships/slideLayout" Target="../slideLayouts/slideLayout42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37.xml"/><Relationship Id="rId19" Type="http://schemas.openxmlformats.org/officeDocument/2006/relationships/slideLayout" Target="../slideLayouts/slideLayout46.xml"/><Relationship Id="rId4" Type="http://schemas.openxmlformats.org/officeDocument/2006/relationships/slideLayout" Target="../slideLayouts/slideLayout31.xml"/><Relationship Id="rId9" Type="http://schemas.openxmlformats.org/officeDocument/2006/relationships/slideLayout" Target="../slideLayouts/slideLayout36.xml"/><Relationship Id="rId14" Type="http://schemas.openxmlformats.org/officeDocument/2006/relationships/slideLayout" Target="../slideLayouts/slideLayout41.xml"/><Relationship Id="rId22" Type="http://schemas.openxmlformats.org/officeDocument/2006/relationships/oleObject" Target="../embeddings/oleObject3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FFB9C734-1128-7B67-643E-08CAC6FA5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21067830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395" imgH="396" progId="TCLayout.ActiveDocument.1">
                  <p:embed/>
                </p:oleObj>
              </mc:Choice>
              <mc:Fallback>
                <p:oleObj name="think-cell Slide" r:id="rId14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Google Shape;10;p6"/>
          <p:cNvSpPr txBox="1"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400"/>
              <a:buFont typeface="Calibri"/>
              <a:buNone/>
              <a:defRPr sz="4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  <p:sp>
        <p:nvSpPr>
          <p:cNvPr id="11" name="Google Shape;11;p6"/>
          <p:cNvSpPr txBox="1"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marR="0" lvl="0" indent="-4064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Char char="•"/>
              <a:defRPr sz="2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3810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355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2" name="Google Shape;12;p6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3" name="Google Shape;13;p6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4" name="Google Shape;14;p6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8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CC19D75E-A889-05C9-7587-C794DBD1A18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8"/>
            </p:custDataLst>
            <p:extLst>
              <p:ext uri="{D42A27DB-BD31-4B8C-83A1-F6EECF244321}">
                <p14:modId xmlns:p14="http://schemas.microsoft.com/office/powerpoint/2010/main" val="40446189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9" imgW="395" imgH="396" progId="TCLayout.ActiveDocument.1">
                  <p:embed/>
                </p:oleObj>
              </mc:Choice>
              <mc:Fallback>
                <p:oleObj name="think-cell Slide" r:id="rId19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85" name="Google Shape;85;p8"/>
          <p:cNvGrpSpPr/>
          <p:nvPr/>
        </p:nvGrpSpPr>
        <p:grpSpPr>
          <a:xfrm>
            <a:off x="11998459" y="6162188"/>
            <a:ext cx="68500" cy="441925"/>
            <a:chOff x="11998459" y="6162188"/>
            <a:chExt cx="68500" cy="441925"/>
          </a:xfrm>
        </p:grpSpPr>
        <p:sp>
          <p:nvSpPr>
            <p:cNvPr id="86" name="Google Shape;86;p8"/>
            <p:cNvSpPr/>
            <p:nvPr/>
          </p:nvSpPr>
          <p:spPr>
            <a:xfrm rot="-5400000">
              <a:off x="12063068" y="6476346"/>
              <a:ext cx="17" cy="1717"/>
            </a:xfrm>
            <a:custGeom>
              <a:avLst/>
              <a:gdLst/>
              <a:ahLst/>
              <a:cxnLst/>
              <a:rect l="l" t="t" r="r" b="b"/>
              <a:pathLst>
                <a:path w="17" h="1717" extrusionOk="0">
                  <a:moveTo>
                    <a:pt x="0" y="0"/>
                  </a:moveTo>
                  <a:lnTo>
                    <a:pt x="17" y="0"/>
                  </a:lnTo>
                  <a:lnTo>
                    <a:pt x="17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B0F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B4B4B4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7" name="Google Shape;87;p8"/>
            <p:cNvSpPr/>
            <p:nvPr/>
          </p:nvSpPr>
          <p:spPr>
            <a:xfrm rot="-5400000">
              <a:off x="12023737" y="6455896"/>
              <a:ext cx="453" cy="271"/>
            </a:xfrm>
            <a:custGeom>
              <a:avLst/>
              <a:gdLst/>
              <a:ahLst/>
              <a:cxnLst/>
              <a:rect l="l" t="t" r="r" b="b"/>
              <a:pathLst>
                <a:path w="453" h="271" extrusionOk="0">
                  <a:moveTo>
                    <a:pt x="0" y="0"/>
                  </a:moveTo>
                  <a:cubicBezTo>
                    <a:pt x="258" y="172"/>
                    <a:pt x="498" y="344"/>
                    <a:pt x="447" y="240"/>
                  </a:cubicBezTo>
                  <a:close/>
                </a:path>
              </a:pathLst>
            </a:custGeom>
            <a:solidFill>
              <a:srgbClr val="00B0F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B4B4B4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8" name="Google Shape;88;p8"/>
            <p:cNvSpPr/>
            <p:nvPr/>
          </p:nvSpPr>
          <p:spPr>
            <a:xfrm rot="-5400000">
              <a:off x="12023907" y="6477766"/>
              <a:ext cx="15" cy="76"/>
            </a:xfrm>
            <a:custGeom>
              <a:avLst/>
              <a:gdLst/>
              <a:ahLst/>
              <a:cxnLst/>
              <a:rect l="l" t="t" r="r" b="b"/>
              <a:pathLst>
                <a:path w="15" h="76" extrusionOk="0">
                  <a:moveTo>
                    <a:pt x="15" y="38"/>
                  </a:moveTo>
                  <a:cubicBezTo>
                    <a:pt x="15" y="38"/>
                    <a:pt x="15" y="-48"/>
                    <a:pt x="15" y="38"/>
                  </a:cubicBezTo>
                  <a:cubicBezTo>
                    <a:pt x="15" y="124"/>
                    <a:pt x="-19" y="38"/>
                    <a:pt x="15" y="38"/>
                  </a:cubicBezTo>
                  <a:close/>
                </a:path>
              </a:pathLst>
            </a:custGeom>
            <a:solidFill>
              <a:srgbClr val="00B0F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B4B4B4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9" name="Google Shape;89;p8"/>
            <p:cNvSpPr/>
            <p:nvPr/>
          </p:nvSpPr>
          <p:spPr>
            <a:xfrm rot="-5400000">
              <a:off x="12021636" y="6473651"/>
              <a:ext cx="261" cy="103"/>
            </a:xfrm>
            <a:custGeom>
              <a:avLst/>
              <a:gdLst/>
              <a:ahLst/>
              <a:cxnLst/>
              <a:rect l="l" t="t" r="r" b="b"/>
              <a:pathLst>
                <a:path w="261" h="103" extrusionOk="0">
                  <a:moveTo>
                    <a:pt x="262" y="0"/>
                  </a:moveTo>
                  <a:lnTo>
                    <a:pt x="56" y="103"/>
                  </a:lnTo>
                  <a:cubicBezTo>
                    <a:pt x="176" y="103"/>
                    <a:pt x="-116" y="103"/>
                    <a:pt x="56" y="103"/>
                  </a:cubicBezTo>
                  <a:close/>
                </a:path>
              </a:pathLst>
            </a:custGeom>
            <a:solidFill>
              <a:srgbClr val="00B0F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B4B4B4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0" name="Google Shape;90;p8"/>
            <p:cNvSpPr/>
            <p:nvPr/>
          </p:nvSpPr>
          <p:spPr>
            <a:xfrm rot="-5400000">
              <a:off x="12015635" y="6442208"/>
              <a:ext cx="51323" cy="51323"/>
            </a:xfrm>
            <a:custGeom>
              <a:avLst/>
              <a:gdLst/>
              <a:ahLst/>
              <a:cxnLst/>
              <a:rect l="l" t="t" r="r" b="b"/>
              <a:pathLst>
                <a:path w="51323" h="51323" extrusionOk="0">
                  <a:moveTo>
                    <a:pt x="25662" y="0"/>
                  </a:moveTo>
                  <a:cubicBezTo>
                    <a:pt x="11489" y="0"/>
                    <a:pt x="0" y="11489"/>
                    <a:pt x="0" y="25662"/>
                  </a:cubicBezTo>
                  <a:cubicBezTo>
                    <a:pt x="0" y="39834"/>
                    <a:pt x="11489" y="51323"/>
                    <a:pt x="25662" y="51323"/>
                  </a:cubicBezTo>
                  <a:cubicBezTo>
                    <a:pt x="39835" y="51323"/>
                    <a:pt x="51324" y="39834"/>
                    <a:pt x="51324" y="25662"/>
                  </a:cubicBezTo>
                  <a:cubicBezTo>
                    <a:pt x="51324" y="25645"/>
                    <a:pt x="51324" y="25627"/>
                    <a:pt x="51324" y="25610"/>
                  </a:cubicBezTo>
                  <a:cubicBezTo>
                    <a:pt x="51314" y="11457"/>
                    <a:pt x="39833" y="-9"/>
                    <a:pt x="25679" y="0"/>
                  </a:cubicBezTo>
                  <a:cubicBezTo>
                    <a:pt x="25673" y="0"/>
                    <a:pt x="25667" y="0"/>
                    <a:pt x="25662" y="0"/>
                  </a:cubicBezTo>
                  <a:close/>
                  <a:moveTo>
                    <a:pt x="26967" y="15648"/>
                  </a:moveTo>
                  <a:cubicBezTo>
                    <a:pt x="26864" y="15648"/>
                    <a:pt x="26967" y="15785"/>
                    <a:pt x="26967" y="15837"/>
                  </a:cubicBezTo>
                  <a:cubicBezTo>
                    <a:pt x="26894" y="15820"/>
                    <a:pt x="26817" y="15820"/>
                    <a:pt x="26744" y="15837"/>
                  </a:cubicBezTo>
                  <a:cubicBezTo>
                    <a:pt x="26899" y="15837"/>
                    <a:pt x="27139" y="16043"/>
                    <a:pt x="26933" y="16163"/>
                  </a:cubicBezTo>
                  <a:cubicBezTo>
                    <a:pt x="26727" y="16283"/>
                    <a:pt x="27019" y="16163"/>
                    <a:pt x="27036" y="16163"/>
                  </a:cubicBezTo>
                  <a:cubicBezTo>
                    <a:pt x="27173" y="15854"/>
                    <a:pt x="27586" y="16283"/>
                    <a:pt x="27294" y="16489"/>
                  </a:cubicBezTo>
                  <a:lnTo>
                    <a:pt x="27294" y="16489"/>
                  </a:lnTo>
                  <a:cubicBezTo>
                    <a:pt x="27294" y="16489"/>
                    <a:pt x="27294" y="16489"/>
                    <a:pt x="27294" y="16489"/>
                  </a:cubicBezTo>
                  <a:lnTo>
                    <a:pt x="27294" y="16489"/>
                  </a:lnTo>
                  <a:cubicBezTo>
                    <a:pt x="27294" y="16489"/>
                    <a:pt x="27191" y="16489"/>
                    <a:pt x="27156" y="16489"/>
                  </a:cubicBezTo>
                  <a:cubicBezTo>
                    <a:pt x="27122" y="16489"/>
                    <a:pt x="27156" y="16489"/>
                    <a:pt x="27156" y="16593"/>
                  </a:cubicBezTo>
                  <a:cubicBezTo>
                    <a:pt x="27156" y="16696"/>
                    <a:pt x="27276" y="16593"/>
                    <a:pt x="27156" y="16593"/>
                  </a:cubicBezTo>
                  <a:cubicBezTo>
                    <a:pt x="27036" y="16593"/>
                    <a:pt x="27294" y="16593"/>
                    <a:pt x="27379" y="16593"/>
                  </a:cubicBezTo>
                  <a:cubicBezTo>
                    <a:pt x="27465" y="16593"/>
                    <a:pt x="27276" y="16713"/>
                    <a:pt x="27276" y="16799"/>
                  </a:cubicBezTo>
                  <a:cubicBezTo>
                    <a:pt x="27276" y="16885"/>
                    <a:pt x="26795" y="16936"/>
                    <a:pt x="26744" y="16799"/>
                  </a:cubicBezTo>
                  <a:cubicBezTo>
                    <a:pt x="26692" y="16661"/>
                    <a:pt x="26297" y="16799"/>
                    <a:pt x="26074" y="16902"/>
                  </a:cubicBezTo>
                  <a:cubicBezTo>
                    <a:pt x="25851" y="17005"/>
                    <a:pt x="26074" y="17125"/>
                    <a:pt x="25868" y="16988"/>
                  </a:cubicBezTo>
                  <a:cubicBezTo>
                    <a:pt x="25662" y="16850"/>
                    <a:pt x="25610" y="16988"/>
                    <a:pt x="25559" y="17142"/>
                  </a:cubicBezTo>
                  <a:cubicBezTo>
                    <a:pt x="25507" y="17297"/>
                    <a:pt x="25559" y="17142"/>
                    <a:pt x="25404" y="17142"/>
                  </a:cubicBezTo>
                  <a:cubicBezTo>
                    <a:pt x="25553" y="17029"/>
                    <a:pt x="25690" y="16902"/>
                    <a:pt x="25816" y="16764"/>
                  </a:cubicBezTo>
                  <a:cubicBezTo>
                    <a:pt x="25816" y="16593"/>
                    <a:pt x="26057" y="16764"/>
                    <a:pt x="26194" y="16764"/>
                  </a:cubicBezTo>
                  <a:cubicBezTo>
                    <a:pt x="26332" y="16764"/>
                    <a:pt x="26297" y="16610"/>
                    <a:pt x="26349" y="16541"/>
                  </a:cubicBezTo>
                  <a:cubicBezTo>
                    <a:pt x="26400" y="16472"/>
                    <a:pt x="26091" y="16764"/>
                    <a:pt x="26005" y="16627"/>
                  </a:cubicBezTo>
                  <a:cubicBezTo>
                    <a:pt x="25919" y="16489"/>
                    <a:pt x="25748" y="16627"/>
                    <a:pt x="25902" y="16627"/>
                  </a:cubicBezTo>
                  <a:cubicBezTo>
                    <a:pt x="26057" y="16627"/>
                    <a:pt x="25765" y="16627"/>
                    <a:pt x="25662" y="16627"/>
                  </a:cubicBezTo>
                  <a:lnTo>
                    <a:pt x="25662" y="16627"/>
                  </a:lnTo>
                  <a:cubicBezTo>
                    <a:pt x="25662" y="16627"/>
                    <a:pt x="25662" y="16627"/>
                    <a:pt x="25662" y="16627"/>
                  </a:cubicBezTo>
                  <a:cubicBezTo>
                    <a:pt x="25919" y="16541"/>
                    <a:pt x="26040" y="16472"/>
                    <a:pt x="26005" y="16215"/>
                  </a:cubicBezTo>
                  <a:lnTo>
                    <a:pt x="25834" y="16215"/>
                  </a:lnTo>
                  <a:cubicBezTo>
                    <a:pt x="25954" y="16094"/>
                    <a:pt x="26126" y="15940"/>
                    <a:pt x="26297" y="16060"/>
                  </a:cubicBezTo>
                  <a:cubicBezTo>
                    <a:pt x="26160" y="15888"/>
                    <a:pt x="26297" y="16060"/>
                    <a:pt x="26297" y="16060"/>
                  </a:cubicBezTo>
                  <a:cubicBezTo>
                    <a:pt x="26297" y="16060"/>
                    <a:pt x="26194" y="15837"/>
                    <a:pt x="26297" y="15785"/>
                  </a:cubicBezTo>
                  <a:cubicBezTo>
                    <a:pt x="26400" y="15734"/>
                    <a:pt x="26297" y="15648"/>
                    <a:pt x="26194" y="15785"/>
                  </a:cubicBezTo>
                  <a:lnTo>
                    <a:pt x="26194" y="15785"/>
                  </a:lnTo>
                  <a:cubicBezTo>
                    <a:pt x="26057" y="15785"/>
                    <a:pt x="26194" y="15476"/>
                    <a:pt x="26194" y="15493"/>
                  </a:cubicBezTo>
                  <a:cubicBezTo>
                    <a:pt x="26023" y="15493"/>
                    <a:pt x="25988" y="15613"/>
                    <a:pt x="25834" y="15493"/>
                  </a:cubicBezTo>
                  <a:cubicBezTo>
                    <a:pt x="25679" y="15373"/>
                    <a:pt x="25834" y="15493"/>
                    <a:pt x="25834" y="15596"/>
                  </a:cubicBezTo>
                  <a:cubicBezTo>
                    <a:pt x="25834" y="15699"/>
                    <a:pt x="25662" y="15459"/>
                    <a:pt x="25713" y="15596"/>
                  </a:cubicBezTo>
                  <a:cubicBezTo>
                    <a:pt x="25765" y="15734"/>
                    <a:pt x="25713" y="15493"/>
                    <a:pt x="25713" y="15459"/>
                  </a:cubicBezTo>
                  <a:lnTo>
                    <a:pt x="25713" y="15459"/>
                  </a:lnTo>
                  <a:cubicBezTo>
                    <a:pt x="25713" y="15459"/>
                    <a:pt x="25713" y="15287"/>
                    <a:pt x="25816" y="15236"/>
                  </a:cubicBezTo>
                  <a:cubicBezTo>
                    <a:pt x="25919" y="15184"/>
                    <a:pt x="25713" y="15029"/>
                    <a:pt x="25816" y="15064"/>
                  </a:cubicBezTo>
                  <a:cubicBezTo>
                    <a:pt x="25919" y="15098"/>
                    <a:pt x="25816" y="15064"/>
                    <a:pt x="25816" y="14961"/>
                  </a:cubicBezTo>
                  <a:cubicBezTo>
                    <a:pt x="25816" y="14858"/>
                    <a:pt x="25816" y="15047"/>
                    <a:pt x="25816" y="15081"/>
                  </a:cubicBezTo>
                  <a:lnTo>
                    <a:pt x="25816" y="15081"/>
                  </a:lnTo>
                  <a:cubicBezTo>
                    <a:pt x="25816" y="15081"/>
                    <a:pt x="25816" y="15081"/>
                    <a:pt x="25816" y="15081"/>
                  </a:cubicBezTo>
                  <a:cubicBezTo>
                    <a:pt x="25816" y="15081"/>
                    <a:pt x="25816" y="15081"/>
                    <a:pt x="25816" y="15081"/>
                  </a:cubicBezTo>
                  <a:cubicBezTo>
                    <a:pt x="25812" y="15173"/>
                    <a:pt x="25812" y="15264"/>
                    <a:pt x="25816" y="15356"/>
                  </a:cubicBezTo>
                  <a:cubicBezTo>
                    <a:pt x="25713" y="15356"/>
                    <a:pt x="25816" y="15218"/>
                    <a:pt x="25816" y="15167"/>
                  </a:cubicBezTo>
                  <a:cubicBezTo>
                    <a:pt x="25816" y="15115"/>
                    <a:pt x="25816" y="14858"/>
                    <a:pt x="25919" y="14823"/>
                  </a:cubicBezTo>
                  <a:cubicBezTo>
                    <a:pt x="26023" y="14789"/>
                    <a:pt x="25919" y="14823"/>
                    <a:pt x="25919" y="14823"/>
                  </a:cubicBezTo>
                  <a:cubicBezTo>
                    <a:pt x="25919" y="14823"/>
                    <a:pt x="25799" y="14978"/>
                    <a:pt x="25731" y="14823"/>
                  </a:cubicBezTo>
                  <a:cubicBezTo>
                    <a:pt x="25662" y="14669"/>
                    <a:pt x="25731" y="14823"/>
                    <a:pt x="25731" y="14823"/>
                  </a:cubicBezTo>
                  <a:cubicBezTo>
                    <a:pt x="25731" y="14823"/>
                    <a:pt x="25731" y="14686"/>
                    <a:pt x="25868" y="14737"/>
                  </a:cubicBezTo>
                  <a:cubicBezTo>
                    <a:pt x="26005" y="14789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lnTo>
                    <a:pt x="25868" y="14737"/>
                  </a:lnTo>
                  <a:lnTo>
                    <a:pt x="25868" y="14652"/>
                  </a:lnTo>
                  <a:cubicBezTo>
                    <a:pt x="25868" y="14652"/>
                    <a:pt x="25868" y="14652"/>
                    <a:pt x="25868" y="14652"/>
                  </a:cubicBezTo>
                  <a:cubicBezTo>
                    <a:pt x="25868" y="14652"/>
                    <a:pt x="25868" y="14566"/>
                    <a:pt x="25868" y="14514"/>
                  </a:cubicBezTo>
                  <a:lnTo>
                    <a:pt x="25868" y="14514"/>
                  </a:lnTo>
                  <a:cubicBezTo>
                    <a:pt x="25868" y="14514"/>
                    <a:pt x="25868" y="14514"/>
                    <a:pt x="25868" y="14514"/>
                  </a:cubicBezTo>
                  <a:cubicBezTo>
                    <a:pt x="25868" y="14514"/>
                    <a:pt x="25868" y="14514"/>
                    <a:pt x="25971" y="14514"/>
                  </a:cubicBezTo>
                  <a:cubicBezTo>
                    <a:pt x="25976" y="14486"/>
                    <a:pt x="25976" y="14457"/>
                    <a:pt x="25971" y="14428"/>
                  </a:cubicBezTo>
                  <a:cubicBezTo>
                    <a:pt x="25971" y="14428"/>
                    <a:pt x="26091" y="14085"/>
                    <a:pt x="26126" y="14291"/>
                  </a:cubicBezTo>
                  <a:cubicBezTo>
                    <a:pt x="26160" y="14497"/>
                    <a:pt x="26126" y="14291"/>
                    <a:pt x="26126" y="14291"/>
                  </a:cubicBezTo>
                  <a:cubicBezTo>
                    <a:pt x="26538" y="14136"/>
                    <a:pt x="26435" y="14291"/>
                    <a:pt x="26126" y="14531"/>
                  </a:cubicBezTo>
                  <a:lnTo>
                    <a:pt x="26126" y="14531"/>
                  </a:lnTo>
                  <a:cubicBezTo>
                    <a:pt x="25902" y="14737"/>
                    <a:pt x="26366" y="14531"/>
                    <a:pt x="26486" y="14531"/>
                  </a:cubicBezTo>
                  <a:cubicBezTo>
                    <a:pt x="26607" y="14531"/>
                    <a:pt x="26486" y="15029"/>
                    <a:pt x="26263" y="14995"/>
                  </a:cubicBezTo>
                  <a:cubicBezTo>
                    <a:pt x="26040" y="14961"/>
                    <a:pt x="26263" y="14995"/>
                    <a:pt x="26263" y="14995"/>
                  </a:cubicBezTo>
                  <a:cubicBezTo>
                    <a:pt x="26263" y="14995"/>
                    <a:pt x="26108" y="15133"/>
                    <a:pt x="26005" y="14995"/>
                  </a:cubicBezTo>
                  <a:cubicBezTo>
                    <a:pt x="26064" y="15057"/>
                    <a:pt x="26162" y="15059"/>
                    <a:pt x="26224" y="15000"/>
                  </a:cubicBezTo>
                  <a:cubicBezTo>
                    <a:pt x="26226" y="14998"/>
                    <a:pt x="26227" y="14997"/>
                    <a:pt x="26229" y="14995"/>
                  </a:cubicBezTo>
                  <a:cubicBezTo>
                    <a:pt x="26486" y="15098"/>
                    <a:pt x="26503" y="15373"/>
                    <a:pt x="26589" y="15579"/>
                  </a:cubicBezTo>
                  <a:cubicBezTo>
                    <a:pt x="26675" y="15785"/>
                    <a:pt x="26830" y="15545"/>
                    <a:pt x="26967" y="15613"/>
                  </a:cubicBezTo>
                  <a:close/>
                  <a:moveTo>
                    <a:pt x="18138" y="47476"/>
                  </a:moveTo>
                  <a:lnTo>
                    <a:pt x="18138" y="47476"/>
                  </a:lnTo>
                  <a:lnTo>
                    <a:pt x="18138" y="47476"/>
                  </a:lnTo>
                  <a:lnTo>
                    <a:pt x="18138" y="47476"/>
                  </a:lnTo>
                  <a:lnTo>
                    <a:pt x="18224" y="47476"/>
                  </a:lnTo>
                  <a:lnTo>
                    <a:pt x="18224" y="47476"/>
                  </a:lnTo>
                  <a:lnTo>
                    <a:pt x="17984" y="47338"/>
                  </a:lnTo>
                  <a:lnTo>
                    <a:pt x="17984" y="47338"/>
                  </a:lnTo>
                  <a:lnTo>
                    <a:pt x="17984" y="47338"/>
                  </a:lnTo>
                  <a:lnTo>
                    <a:pt x="18070" y="47338"/>
                  </a:lnTo>
                  <a:lnTo>
                    <a:pt x="18070" y="47338"/>
                  </a:lnTo>
                  <a:lnTo>
                    <a:pt x="18070" y="47338"/>
                  </a:lnTo>
                  <a:lnTo>
                    <a:pt x="17795" y="47218"/>
                  </a:lnTo>
                  <a:lnTo>
                    <a:pt x="17795" y="47218"/>
                  </a:lnTo>
                  <a:cubicBezTo>
                    <a:pt x="17795" y="47218"/>
                    <a:pt x="17795" y="47218"/>
                    <a:pt x="17795" y="47218"/>
                  </a:cubicBezTo>
                  <a:cubicBezTo>
                    <a:pt x="17762" y="47203"/>
                    <a:pt x="17725" y="47203"/>
                    <a:pt x="17692" y="47218"/>
                  </a:cubicBezTo>
                  <a:lnTo>
                    <a:pt x="17692" y="47218"/>
                  </a:lnTo>
                  <a:lnTo>
                    <a:pt x="17692" y="47218"/>
                  </a:lnTo>
                  <a:lnTo>
                    <a:pt x="17692" y="47218"/>
                  </a:lnTo>
                  <a:lnTo>
                    <a:pt x="17864" y="47218"/>
                  </a:lnTo>
                  <a:lnTo>
                    <a:pt x="17658" y="47218"/>
                  </a:lnTo>
                  <a:lnTo>
                    <a:pt x="17658" y="47218"/>
                  </a:lnTo>
                  <a:lnTo>
                    <a:pt x="17417" y="47115"/>
                  </a:lnTo>
                  <a:lnTo>
                    <a:pt x="17417" y="47115"/>
                  </a:lnTo>
                  <a:lnTo>
                    <a:pt x="17417" y="47115"/>
                  </a:lnTo>
                  <a:lnTo>
                    <a:pt x="17280" y="47115"/>
                  </a:lnTo>
                  <a:lnTo>
                    <a:pt x="17469" y="47218"/>
                  </a:lnTo>
                  <a:lnTo>
                    <a:pt x="17194" y="47081"/>
                  </a:lnTo>
                  <a:lnTo>
                    <a:pt x="17194" y="47081"/>
                  </a:lnTo>
                  <a:lnTo>
                    <a:pt x="17366" y="47081"/>
                  </a:lnTo>
                  <a:lnTo>
                    <a:pt x="17228" y="47081"/>
                  </a:lnTo>
                  <a:lnTo>
                    <a:pt x="17366" y="47081"/>
                  </a:lnTo>
                  <a:lnTo>
                    <a:pt x="17108" y="46961"/>
                  </a:lnTo>
                  <a:lnTo>
                    <a:pt x="17108" y="46961"/>
                  </a:lnTo>
                  <a:lnTo>
                    <a:pt x="17005" y="46961"/>
                  </a:lnTo>
                  <a:lnTo>
                    <a:pt x="17005" y="46961"/>
                  </a:lnTo>
                  <a:lnTo>
                    <a:pt x="16782" y="46858"/>
                  </a:lnTo>
                  <a:lnTo>
                    <a:pt x="16782" y="46858"/>
                  </a:lnTo>
                  <a:lnTo>
                    <a:pt x="16696" y="46858"/>
                  </a:lnTo>
                  <a:lnTo>
                    <a:pt x="16696" y="46858"/>
                  </a:lnTo>
                  <a:cubicBezTo>
                    <a:pt x="16557" y="46803"/>
                    <a:pt x="16425" y="46733"/>
                    <a:pt x="16301" y="46651"/>
                  </a:cubicBezTo>
                  <a:lnTo>
                    <a:pt x="16301" y="46651"/>
                  </a:lnTo>
                  <a:lnTo>
                    <a:pt x="16129" y="46548"/>
                  </a:lnTo>
                  <a:lnTo>
                    <a:pt x="16283" y="46651"/>
                  </a:lnTo>
                  <a:lnTo>
                    <a:pt x="15940" y="46462"/>
                  </a:lnTo>
                  <a:lnTo>
                    <a:pt x="15940" y="46462"/>
                  </a:lnTo>
                  <a:lnTo>
                    <a:pt x="15837" y="46462"/>
                  </a:lnTo>
                  <a:lnTo>
                    <a:pt x="15837" y="46462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510" y="46274"/>
                  </a:lnTo>
                  <a:lnTo>
                    <a:pt x="15510" y="46274"/>
                  </a:lnTo>
                  <a:lnTo>
                    <a:pt x="15339" y="46153"/>
                  </a:lnTo>
                  <a:lnTo>
                    <a:pt x="15339" y="46153"/>
                  </a:lnTo>
                  <a:lnTo>
                    <a:pt x="15201" y="46153"/>
                  </a:lnTo>
                  <a:lnTo>
                    <a:pt x="15201" y="46153"/>
                  </a:lnTo>
                  <a:cubicBezTo>
                    <a:pt x="15162" y="46164"/>
                    <a:pt x="15120" y="46164"/>
                    <a:pt x="15081" y="46153"/>
                  </a:cubicBezTo>
                  <a:lnTo>
                    <a:pt x="15081" y="46153"/>
                  </a:lnTo>
                  <a:lnTo>
                    <a:pt x="15218" y="46239"/>
                  </a:lnTo>
                  <a:lnTo>
                    <a:pt x="15081" y="46153"/>
                  </a:lnTo>
                  <a:lnTo>
                    <a:pt x="15081" y="46153"/>
                  </a:lnTo>
                  <a:lnTo>
                    <a:pt x="14961" y="46153"/>
                  </a:lnTo>
                  <a:lnTo>
                    <a:pt x="14961" y="46153"/>
                  </a:lnTo>
                  <a:lnTo>
                    <a:pt x="14823" y="46067"/>
                  </a:lnTo>
                  <a:cubicBezTo>
                    <a:pt x="14890" y="46095"/>
                    <a:pt x="14953" y="46130"/>
                    <a:pt x="15012" y="46170"/>
                  </a:cubicBezTo>
                  <a:cubicBezTo>
                    <a:pt x="15012" y="46170"/>
                    <a:pt x="15150" y="46274"/>
                    <a:pt x="15184" y="46274"/>
                  </a:cubicBezTo>
                  <a:lnTo>
                    <a:pt x="14720" y="45947"/>
                  </a:lnTo>
                  <a:lnTo>
                    <a:pt x="14720" y="45947"/>
                  </a:lnTo>
                  <a:cubicBezTo>
                    <a:pt x="14446" y="45724"/>
                    <a:pt x="14136" y="45535"/>
                    <a:pt x="13879" y="45312"/>
                  </a:cubicBezTo>
                  <a:lnTo>
                    <a:pt x="13982" y="45312"/>
                  </a:lnTo>
                  <a:lnTo>
                    <a:pt x="13827" y="45191"/>
                  </a:lnTo>
                  <a:lnTo>
                    <a:pt x="13827" y="45191"/>
                  </a:lnTo>
                  <a:cubicBezTo>
                    <a:pt x="13827" y="45191"/>
                    <a:pt x="13827" y="45191"/>
                    <a:pt x="13724" y="45191"/>
                  </a:cubicBezTo>
                  <a:lnTo>
                    <a:pt x="13724" y="45191"/>
                  </a:lnTo>
                  <a:lnTo>
                    <a:pt x="13724" y="45191"/>
                  </a:lnTo>
                  <a:lnTo>
                    <a:pt x="13724" y="45191"/>
                  </a:lnTo>
                  <a:cubicBezTo>
                    <a:pt x="13500" y="45056"/>
                    <a:pt x="13292" y="44895"/>
                    <a:pt x="13106" y="44710"/>
                  </a:cubicBezTo>
                  <a:lnTo>
                    <a:pt x="13106" y="44710"/>
                  </a:lnTo>
                  <a:cubicBezTo>
                    <a:pt x="12865" y="44453"/>
                    <a:pt x="12573" y="44264"/>
                    <a:pt x="12316" y="44023"/>
                  </a:cubicBezTo>
                  <a:cubicBezTo>
                    <a:pt x="12316" y="44023"/>
                    <a:pt x="12316" y="44023"/>
                    <a:pt x="12316" y="44023"/>
                  </a:cubicBezTo>
                  <a:cubicBezTo>
                    <a:pt x="11271" y="42931"/>
                    <a:pt x="10350" y="41727"/>
                    <a:pt x="9567" y="40434"/>
                  </a:cubicBezTo>
                  <a:lnTo>
                    <a:pt x="9567" y="40434"/>
                  </a:lnTo>
                  <a:cubicBezTo>
                    <a:pt x="9215" y="39466"/>
                    <a:pt x="8691" y="38570"/>
                    <a:pt x="8021" y="37788"/>
                  </a:cubicBezTo>
                  <a:lnTo>
                    <a:pt x="8021" y="37788"/>
                  </a:lnTo>
                  <a:cubicBezTo>
                    <a:pt x="6949" y="36560"/>
                    <a:pt x="6200" y="35084"/>
                    <a:pt x="5840" y="33494"/>
                  </a:cubicBezTo>
                  <a:cubicBezTo>
                    <a:pt x="5840" y="33494"/>
                    <a:pt x="5840" y="33494"/>
                    <a:pt x="5840" y="33580"/>
                  </a:cubicBezTo>
                  <a:cubicBezTo>
                    <a:pt x="5850" y="33546"/>
                    <a:pt x="5850" y="33511"/>
                    <a:pt x="5840" y="33477"/>
                  </a:cubicBezTo>
                  <a:cubicBezTo>
                    <a:pt x="5840" y="33477"/>
                    <a:pt x="5840" y="33580"/>
                    <a:pt x="5840" y="33614"/>
                  </a:cubicBezTo>
                  <a:cubicBezTo>
                    <a:pt x="5600" y="33202"/>
                    <a:pt x="5685" y="28461"/>
                    <a:pt x="5222" y="30299"/>
                  </a:cubicBezTo>
                  <a:cubicBezTo>
                    <a:pt x="5222" y="30299"/>
                    <a:pt x="5222" y="30093"/>
                    <a:pt x="5222" y="30042"/>
                  </a:cubicBezTo>
                  <a:cubicBezTo>
                    <a:pt x="5222" y="29990"/>
                    <a:pt x="5222" y="30042"/>
                    <a:pt x="5222" y="30128"/>
                  </a:cubicBezTo>
                  <a:cubicBezTo>
                    <a:pt x="5222" y="30213"/>
                    <a:pt x="5222" y="29887"/>
                    <a:pt x="5067" y="29784"/>
                  </a:cubicBezTo>
                  <a:cubicBezTo>
                    <a:pt x="4913" y="29681"/>
                    <a:pt x="5067" y="29784"/>
                    <a:pt x="5067" y="29784"/>
                  </a:cubicBezTo>
                  <a:lnTo>
                    <a:pt x="5067" y="29784"/>
                  </a:lnTo>
                  <a:cubicBezTo>
                    <a:pt x="5067" y="29784"/>
                    <a:pt x="5067" y="29612"/>
                    <a:pt x="5067" y="29544"/>
                  </a:cubicBezTo>
                  <a:cubicBezTo>
                    <a:pt x="5067" y="29475"/>
                    <a:pt x="5067" y="29664"/>
                    <a:pt x="5067" y="29715"/>
                  </a:cubicBezTo>
                  <a:cubicBezTo>
                    <a:pt x="5067" y="29458"/>
                    <a:pt x="4947" y="29166"/>
                    <a:pt x="4844" y="28908"/>
                  </a:cubicBezTo>
                  <a:cubicBezTo>
                    <a:pt x="4844" y="28994"/>
                    <a:pt x="4844" y="29080"/>
                    <a:pt x="4844" y="29183"/>
                  </a:cubicBezTo>
                  <a:cubicBezTo>
                    <a:pt x="4689" y="28753"/>
                    <a:pt x="4672" y="28290"/>
                    <a:pt x="4552" y="27843"/>
                  </a:cubicBezTo>
                  <a:cubicBezTo>
                    <a:pt x="4552" y="27929"/>
                    <a:pt x="4552" y="27843"/>
                    <a:pt x="4552" y="27740"/>
                  </a:cubicBezTo>
                  <a:cubicBezTo>
                    <a:pt x="4552" y="27637"/>
                    <a:pt x="4552" y="27740"/>
                    <a:pt x="4552" y="27740"/>
                  </a:cubicBezTo>
                  <a:cubicBezTo>
                    <a:pt x="4552" y="27740"/>
                    <a:pt x="4552" y="27740"/>
                    <a:pt x="4552" y="27740"/>
                  </a:cubicBezTo>
                  <a:cubicBezTo>
                    <a:pt x="4552" y="27740"/>
                    <a:pt x="4552" y="27740"/>
                    <a:pt x="4552" y="27740"/>
                  </a:cubicBezTo>
                  <a:cubicBezTo>
                    <a:pt x="4343" y="27287"/>
                    <a:pt x="4226" y="26796"/>
                    <a:pt x="4208" y="26297"/>
                  </a:cubicBezTo>
                  <a:cubicBezTo>
                    <a:pt x="4218" y="26366"/>
                    <a:pt x="4218" y="26435"/>
                    <a:pt x="4208" y="26503"/>
                  </a:cubicBezTo>
                  <a:cubicBezTo>
                    <a:pt x="4218" y="26435"/>
                    <a:pt x="4218" y="26366"/>
                    <a:pt x="4208" y="26297"/>
                  </a:cubicBezTo>
                  <a:lnTo>
                    <a:pt x="4208" y="26297"/>
                  </a:lnTo>
                  <a:cubicBezTo>
                    <a:pt x="4208" y="26297"/>
                    <a:pt x="4208" y="26297"/>
                    <a:pt x="4208" y="26297"/>
                  </a:cubicBezTo>
                  <a:lnTo>
                    <a:pt x="4208" y="26297"/>
                  </a:lnTo>
                  <a:lnTo>
                    <a:pt x="4208" y="26297"/>
                  </a:lnTo>
                  <a:cubicBezTo>
                    <a:pt x="4208" y="26297"/>
                    <a:pt x="4208" y="26297"/>
                    <a:pt x="4208" y="26400"/>
                  </a:cubicBezTo>
                  <a:cubicBezTo>
                    <a:pt x="4208" y="26503"/>
                    <a:pt x="4208" y="26400"/>
                    <a:pt x="4208" y="26400"/>
                  </a:cubicBezTo>
                  <a:lnTo>
                    <a:pt x="4208" y="26400"/>
                  </a:lnTo>
                  <a:lnTo>
                    <a:pt x="4208" y="26400"/>
                  </a:lnTo>
                  <a:cubicBezTo>
                    <a:pt x="4208" y="26314"/>
                    <a:pt x="4208" y="26194"/>
                    <a:pt x="4208" y="26091"/>
                  </a:cubicBezTo>
                  <a:lnTo>
                    <a:pt x="4208" y="26091"/>
                  </a:lnTo>
                  <a:cubicBezTo>
                    <a:pt x="4200" y="26034"/>
                    <a:pt x="4200" y="25976"/>
                    <a:pt x="4208" y="25919"/>
                  </a:cubicBezTo>
                  <a:lnTo>
                    <a:pt x="4208" y="25919"/>
                  </a:lnTo>
                  <a:cubicBezTo>
                    <a:pt x="4191" y="25679"/>
                    <a:pt x="4191" y="25438"/>
                    <a:pt x="4208" y="25198"/>
                  </a:cubicBezTo>
                  <a:lnTo>
                    <a:pt x="4208" y="25198"/>
                  </a:lnTo>
                  <a:cubicBezTo>
                    <a:pt x="4208" y="25198"/>
                    <a:pt x="4208" y="25112"/>
                    <a:pt x="4208" y="25078"/>
                  </a:cubicBezTo>
                  <a:lnTo>
                    <a:pt x="4208" y="25078"/>
                  </a:lnTo>
                  <a:cubicBezTo>
                    <a:pt x="4764" y="15747"/>
                    <a:pt x="10928" y="7687"/>
                    <a:pt x="19787" y="4706"/>
                  </a:cubicBezTo>
                  <a:lnTo>
                    <a:pt x="19787" y="4706"/>
                  </a:lnTo>
                  <a:lnTo>
                    <a:pt x="19994" y="4706"/>
                  </a:lnTo>
                  <a:lnTo>
                    <a:pt x="19994" y="4706"/>
                  </a:lnTo>
                  <a:lnTo>
                    <a:pt x="20217" y="4706"/>
                  </a:lnTo>
                  <a:lnTo>
                    <a:pt x="20062" y="4706"/>
                  </a:lnTo>
                  <a:lnTo>
                    <a:pt x="20337" y="4706"/>
                  </a:lnTo>
                  <a:lnTo>
                    <a:pt x="20234" y="4706"/>
                  </a:lnTo>
                  <a:lnTo>
                    <a:pt x="20234" y="4706"/>
                  </a:lnTo>
                  <a:lnTo>
                    <a:pt x="20423" y="4706"/>
                  </a:lnTo>
                  <a:lnTo>
                    <a:pt x="20423" y="4706"/>
                  </a:lnTo>
                  <a:lnTo>
                    <a:pt x="21711" y="4414"/>
                  </a:lnTo>
                  <a:lnTo>
                    <a:pt x="21711" y="4414"/>
                  </a:lnTo>
                  <a:lnTo>
                    <a:pt x="22038" y="4414"/>
                  </a:lnTo>
                  <a:lnTo>
                    <a:pt x="21814" y="4414"/>
                  </a:lnTo>
                  <a:lnTo>
                    <a:pt x="21814" y="4414"/>
                  </a:lnTo>
                  <a:lnTo>
                    <a:pt x="22415" y="4414"/>
                  </a:lnTo>
                  <a:lnTo>
                    <a:pt x="22415" y="4414"/>
                  </a:lnTo>
                  <a:lnTo>
                    <a:pt x="22106" y="4414"/>
                  </a:lnTo>
                  <a:lnTo>
                    <a:pt x="22398" y="4414"/>
                  </a:lnTo>
                  <a:lnTo>
                    <a:pt x="22398" y="4414"/>
                  </a:lnTo>
                  <a:lnTo>
                    <a:pt x="22690" y="4414"/>
                  </a:lnTo>
                  <a:lnTo>
                    <a:pt x="22587" y="4414"/>
                  </a:lnTo>
                  <a:lnTo>
                    <a:pt x="22484" y="4414"/>
                  </a:lnTo>
                  <a:lnTo>
                    <a:pt x="22725" y="4414"/>
                  </a:lnTo>
                  <a:lnTo>
                    <a:pt x="22347" y="4414"/>
                  </a:lnTo>
                  <a:lnTo>
                    <a:pt x="22244" y="4414"/>
                  </a:lnTo>
                  <a:lnTo>
                    <a:pt x="22055" y="4414"/>
                  </a:lnTo>
                  <a:lnTo>
                    <a:pt x="22415" y="4414"/>
                  </a:lnTo>
                  <a:lnTo>
                    <a:pt x="22020" y="4414"/>
                  </a:lnTo>
                  <a:lnTo>
                    <a:pt x="22020" y="4414"/>
                  </a:lnTo>
                  <a:lnTo>
                    <a:pt x="21608" y="4414"/>
                  </a:lnTo>
                  <a:lnTo>
                    <a:pt x="21608" y="4414"/>
                  </a:lnTo>
                  <a:lnTo>
                    <a:pt x="21213" y="4500"/>
                  </a:lnTo>
                  <a:lnTo>
                    <a:pt x="21385" y="4500"/>
                  </a:lnTo>
                  <a:lnTo>
                    <a:pt x="21385" y="4500"/>
                  </a:lnTo>
                  <a:cubicBezTo>
                    <a:pt x="21251" y="4544"/>
                    <a:pt x="21113" y="4572"/>
                    <a:pt x="20973" y="4586"/>
                  </a:cubicBezTo>
                  <a:lnTo>
                    <a:pt x="21144" y="4586"/>
                  </a:lnTo>
                  <a:lnTo>
                    <a:pt x="20955" y="4586"/>
                  </a:lnTo>
                  <a:lnTo>
                    <a:pt x="20955" y="4586"/>
                  </a:lnTo>
                  <a:lnTo>
                    <a:pt x="20835" y="4586"/>
                  </a:lnTo>
                  <a:lnTo>
                    <a:pt x="20835" y="4586"/>
                  </a:lnTo>
                  <a:lnTo>
                    <a:pt x="20835" y="4586"/>
                  </a:lnTo>
                  <a:cubicBezTo>
                    <a:pt x="20835" y="4586"/>
                    <a:pt x="20835" y="4586"/>
                    <a:pt x="20835" y="4586"/>
                  </a:cubicBezTo>
                  <a:lnTo>
                    <a:pt x="20835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560" y="4586"/>
                  </a:lnTo>
                  <a:lnTo>
                    <a:pt x="20560" y="4586"/>
                  </a:lnTo>
                  <a:lnTo>
                    <a:pt x="20114" y="4706"/>
                  </a:lnTo>
                  <a:lnTo>
                    <a:pt x="20114" y="4706"/>
                  </a:lnTo>
                  <a:lnTo>
                    <a:pt x="19787" y="4827"/>
                  </a:lnTo>
                  <a:lnTo>
                    <a:pt x="19787" y="4827"/>
                  </a:lnTo>
                  <a:lnTo>
                    <a:pt x="19392" y="4947"/>
                  </a:lnTo>
                  <a:lnTo>
                    <a:pt x="19392" y="4947"/>
                  </a:lnTo>
                  <a:lnTo>
                    <a:pt x="19100" y="5153"/>
                  </a:lnTo>
                  <a:lnTo>
                    <a:pt x="19100" y="5153"/>
                  </a:lnTo>
                  <a:lnTo>
                    <a:pt x="18997" y="5153"/>
                  </a:lnTo>
                  <a:lnTo>
                    <a:pt x="18997" y="5153"/>
                  </a:lnTo>
                  <a:lnTo>
                    <a:pt x="18430" y="5359"/>
                  </a:lnTo>
                  <a:lnTo>
                    <a:pt x="18568" y="5359"/>
                  </a:lnTo>
                  <a:lnTo>
                    <a:pt x="18568" y="5359"/>
                  </a:lnTo>
                  <a:cubicBezTo>
                    <a:pt x="18763" y="5286"/>
                    <a:pt x="18964" y="5229"/>
                    <a:pt x="19169" y="5187"/>
                  </a:cubicBezTo>
                  <a:lnTo>
                    <a:pt x="19169" y="5187"/>
                  </a:lnTo>
                  <a:lnTo>
                    <a:pt x="19341" y="5187"/>
                  </a:lnTo>
                  <a:lnTo>
                    <a:pt x="19461" y="5187"/>
                  </a:lnTo>
                  <a:lnTo>
                    <a:pt x="19186" y="5187"/>
                  </a:lnTo>
                  <a:lnTo>
                    <a:pt x="19186" y="5187"/>
                  </a:lnTo>
                  <a:lnTo>
                    <a:pt x="19032" y="5187"/>
                  </a:lnTo>
                  <a:lnTo>
                    <a:pt x="19032" y="5187"/>
                  </a:lnTo>
                  <a:lnTo>
                    <a:pt x="18911" y="5187"/>
                  </a:lnTo>
                  <a:lnTo>
                    <a:pt x="18911" y="5187"/>
                  </a:lnTo>
                  <a:lnTo>
                    <a:pt x="18740" y="5187"/>
                  </a:lnTo>
                  <a:lnTo>
                    <a:pt x="18740" y="5187"/>
                  </a:lnTo>
                  <a:lnTo>
                    <a:pt x="18894" y="5187"/>
                  </a:lnTo>
                  <a:lnTo>
                    <a:pt x="18894" y="5187"/>
                  </a:lnTo>
                  <a:lnTo>
                    <a:pt x="19049" y="5187"/>
                  </a:lnTo>
                  <a:lnTo>
                    <a:pt x="19049" y="5187"/>
                  </a:lnTo>
                  <a:lnTo>
                    <a:pt x="18860" y="5187"/>
                  </a:lnTo>
                  <a:cubicBezTo>
                    <a:pt x="18997" y="5187"/>
                    <a:pt x="19392" y="5067"/>
                    <a:pt x="19032" y="5187"/>
                  </a:cubicBezTo>
                  <a:lnTo>
                    <a:pt x="19186" y="5187"/>
                  </a:lnTo>
                  <a:lnTo>
                    <a:pt x="19289" y="5187"/>
                  </a:lnTo>
                  <a:lnTo>
                    <a:pt x="19650" y="5084"/>
                  </a:lnTo>
                  <a:cubicBezTo>
                    <a:pt x="19252" y="5196"/>
                    <a:pt x="18862" y="5334"/>
                    <a:pt x="18482" y="5497"/>
                  </a:cubicBezTo>
                  <a:lnTo>
                    <a:pt x="18654" y="5497"/>
                  </a:lnTo>
                  <a:lnTo>
                    <a:pt x="18654" y="5497"/>
                  </a:lnTo>
                  <a:cubicBezTo>
                    <a:pt x="18654" y="5497"/>
                    <a:pt x="18860" y="5497"/>
                    <a:pt x="18740" y="5497"/>
                  </a:cubicBezTo>
                  <a:lnTo>
                    <a:pt x="18894" y="5497"/>
                  </a:lnTo>
                  <a:lnTo>
                    <a:pt x="18894" y="5497"/>
                  </a:lnTo>
                  <a:lnTo>
                    <a:pt x="19032" y="5497"/>
                  </a:lnTo>
                  <a:cubicBezTo>
                    <a:pt x="18929" y="5497"/>
                    <a:pt x="18808" y="5497"/>
                    <a:pt x="18722" y="5617"/>
                  </a:cubicBezTo>
                  <a:lnTo>
                    <a:pt x="18722" y="5617"/>
                  </a:lnTo>
                  <a:lnTo>
                    <a:pt x="18585" y="5617"/>
                  </a:lnTo>
                  <a:lnTo>
                    <a:pt x="18585" y="5617"/>
                  </a:lnTo>
                  <a:lnTo>
                    <a:pt x="18413" y="5617"/>
                  </a:lnTo>
                  <a:cubicBezTo>
                    <a:pt x="18505" y="5624"/>
                    <a:pt x="18597" y="5624"/>
                    <a:pt x="18688" y="5617"/>
                  </a:cubicBezTo>
                  <a:cubicBezTo>
                    <a:pt x="18396" y="5771"/>
                    <a:pt x="18035" y="5909"/>
                    <a:pt x="17743" y="6098"/>
                  </a:cubicBezTo>
                  <a:lnTo>
                    <a:pt x="17743" y="6098"/>
                  </a:lnTo>
                  <a:lnTo>
                    <a:pt x="17554" y="6201"/>
                  </a:lnTo>
                  <a:lnTo>
                    <a:pt x="17743" y="6201"/>
                  </a:lnTo>
                  <a:lnTo>
                    <a:pt x="17743" y="6201"/>
                  </a:lnTo>
                  <a:cubicBezTo>
                    <a:pt x="17743" y="6201"/>
                    <a:pt x="17743" y="6201"/>
                    <a:pt x="17743" y="6201"/>
                  </a:cubicBezTo>
                  <a:cubicBezTo>
                    <a:pt x="17557" y="6309"/>
                    <a:pt x="17362" y="6402"/>
                    <a:pt x="17159" y="6476"/>
                  </a:cubicBezTo>
                  <a:cubicBezTo>
                    <a:pt x="17159" y="6476"/>
                    <a:pt x="17159" y="6476"/>
                    <a:pt x="17159" y="6476"/>
                  </a:cubicBezTo>
                  <a:cubicBezTo>
                    <a:pt x="17159" y="6476"/>
                    <a:pt x="17056" y="6476"/>
                    <a:pt x="17039" y="6476"/>
                  </a:cubicBezTo>
                  <a:lnTo>
                    <a:pt x="17039" y="6476"/>
                  </a:lnTo>
                  <a:cubicBezTo>
                    <a:pt x="16976" y="6499"/>
                    <a:pt x="16918" y="6534"/>
                    <a:pt x="16867" y="6579"/>
                  </a:cubicBezTo>
                  <a:lnTo>
                    <a:pt x="16867" y="6579"/>
                  </a:lnTo>
                  <a:cubicBezTo>
                    <a:pt x="16867" y="6579"/>
                    <a:pt x="16627" y="6750"/>
                    <a:pt x="16730" y="6716"/>
                  </a:cubicBezTo>
                  <a:lnTo>
                    <a:pt x="16730" y="6716"/>
                  </a:lnTo>
                  <a:lnTo>
                    <a:pt x="16730" y="6716"/>
                  </a:lnTo>
                  <a:lnTo>
                    <a:pt x="16730" y="6716"/>
                  </a:lnTo>
                  <a:cubicBezTo>
                    <a:pt x="16730" y="6716"/>
                    <a:pt x="16730" y="6716"/>
                    <a:pt x="16730" y="6716"/>
                  </a:cubicBezTo>
                  <a:lnTo>
                    <a:pt x="16885" y="6716"/>
                  </a:lnTo>
                  <a:lnTo>
                    <a:pt x="16627" y="6853"/>
                  </a:lnTo>
                  <a:lnTo>
                    <a:pt x="16627" y="6853"/>
                  </a:lnTo>
                  <a:cubicBezTo>
                    <a:pt x="16627" y="6853"/>
                    <a:pt x="16455" y="6853"/>
                    <a:pt x="16386" y="6991"/>
                  </a:cubicBezTo>
                  <a:cubicBezTo>
                    <a:pt x="16318" y="7128"/>
                    <a:pt x="16507" y="6991"/>
                    <a:pt x="16558" y="6991"/>
                  </a:cubicBezTo>
                  <a:cubicBezTo>
                    <a:pt x="16389" y="7066"/>
                    <a:pt x="16228" y="7158"/>
                    <a:pt x="16077" y="7266"/>
                  </a:cubicBezTo>
                  <a:lnTo>
                    <a:pt x="16077" y="7266"/>
                  </a:lnTo>
                  <a:lnTo>
                    <a:pt x="16077" y="7266"/>
                  </a:lnTo>
                  <a:cubicBezTo>
                    <a:pt x="16317" y="7116"/>
                    <a:pt x="16570" y="6989"/>
                    <a:pt x="16833" y="6888"/>
                  </a:cubicBezTo>
                  <a:lnTo>
                    <a:pt x="16833" y="6888"/>
                  </a:lnTo>
                  <a:cubicBezTo>
                    <a:pt x="16833" y="6888"/>
                    <a:pt x="16833" y="6888"/>
                    <a:pt x="16833" y="6888"/>
                  </a:cubicBezTo>
                  <a:lnTo>
                    <a:pt x="16833" y="6888"/>
                  </a:lnTo>
                  <a:lnTo>
                    <a:pt x="16936" y="6888"/>
                  </a:lnTo>
                  <a:lnTo>
                    <a:pt x="16833" y="6888"/>
                  </a:lnTo>
                  <a:cubicBezTo>
                    <a:pt x="16833" y="6888"/>
                    <a:pt x="16988" y="6785"/>
                    <a:pt x="17056" y="6785"/>
                  </a:cubicBezTo>
                  <a:lnTo>
                    <a:pt x="17056" y="6785"/>
                  </a:lnTo>
                  <a:cubicBezTo>
                    <a:pt x="17056" y="6785"/>
                    <a:pt x="17314" y="6682"/>
                    <a:pt x="17159" y="6785"/>
                  </a:cubicBezTo>
                  <a:lnTo>
                    <a:pt x="17039" y="6785"/>
                  </a:lnTo>
                  <a:cubicBezTo>
                    <a:pt x="17073" y="6775"/>
                    <a:pt x="17109" y="6775"/>
                    <a:pt x="17142" y="6785"/>
                  </a:cubicBezTo>
                  <a:lnTo>
                    <a:pt x="17022" y="6785"/>
                  </a:lnTo>
                  <a:lnTo>
                    <a:pt x="17022" y="6785"/>
                  </a:lnTo>
                  <a:cubicBezTo>
                    <a:pt x="17022" y="6785"/>
                    <a:pt x="17022" y="6785"/>
                    <a:pt x="16885" y="6785"/>
                  </a:cubicBezTo>
                  <a:cubicBezTo>
                    <a:pt x="16747" y="6785"/>
                    <a:pt x="17074" y="6785"/>
                    <a:pt x="17005" y="6785"/>
                  </a:cubicBezTo>
                  <a:cubicBezTo>
                    <a:pt x="17104" y="6745"/>
                    <a:pt x="17215" y="6745"/>
                    <a:pt x="17314" y="6785"/>
                  </a:cubicBezTo>
                  <a:lnTo>
                    <a:pt x="17314" y="6785"/>
                  </a:lnTo>
                  <a:cubicBezTo>
                    <a:pt x="17125" y="6922"/>
                    <a:pt x="16902" y="7025"/>
                    <a:pt x="16696" y="7145"/>
                  </a:cubicBezTo>
                  <a:lnTo>
                    <a:pt x="16696" y="7145"/>
                  </a:lnTo>
                  <a:lnTo>
                    <a:pt x="16696" y="7145"/>
                  </a:lnTo>
                  <a:lnTo>
                    <a:pt x="16696" y="7145"/>
                  </a:lnTo>
                  <a:cubicBezTo>
                    <a:pt x="16696" y="7145"/>
                    <a:pt x="16696" y="7145"/>
                    <a:pt x="16696" y="7145"/>
                  </a:cubicBezTo>
                  <a:lnTo>
                    <a:pt x="16696" y="7145"/>
                  </a:lnTo>
                  <a:lnTo>
                    <a:pt x="16696" y="7145"/>
                  </a:lnTo>
                  <a:lnTo>
                    <a:pt x="16455" y="7300"/>
                  </a:lnTo>
                  <a:lnTo>
                    <a:pt x="16455" y="7300"/>
                  </a:lnTo>
                  <a:cubicBezTo>
                    <a:pt x="16455" y="7300"/>
                    <a:pt x="16455" y="7300"/>
                    <a:pt x="16455" y="7386"/>
                  </a:cubicBezTo>
                  <a:lnTo>
                    <a:pt x="16610" y="7386"/>
                  </a:lnTo>
                  <a:lnTo>
                    <a:pt x="16610" y="7386"/>
                  </a:lnTo>
                  <a:lnTo>
                    <a:pt x="16610" y="7489"/>
                  </a:lnTo>
                  <a:cubicBezTo>
                    <a:pt x="16610" y="7489"/>
                    <a:pt x="16610" y="7489"/>
                    <a:pt x="16610" y="7489"/>
                  </a:cubicBezTo>
                  <a:lnTo>
                    <a:pt x="16610" y="7489"/>
                  </a:lnTo>
                  <a:cubicBezTo>
                    <a:pt x="16953" y="7266"/>
                    <a:pt x="16713" y="7489"/>
                    <a:pt x="16610" y="7592"/>
                  </a:cubicBezTo>
                  <a:cubicBezTo>
                    <a:pt x="16730" y="7592"/>
                    <a:pt x="16833" y="7386"/>
                    <a:pt x="16970" y="7334"/>
                  </a:cubicBezTo>
                  <a:lnTo>
                    <a:pt x="16970" y="7334"/>
                  </a:lnTo>
                  <a:cubicBezTo>
                    <a:pt x="16970" y="7334"/>
                    <a:pt x="17280" y="7145"/>
                    <a:pt x="17108" y="7334"/>
                  </a:cubicBezTo>
                  <a:lnTo>
                    <a:pt x="17245" y="7334"/>
                  </a:lnTo>
                  <a:lnTo>
                    <a:pt x="17142" y="7334"/>
                  </a:lnTo>
                  <a:cubicBezTo>
                    <a:pt x="17142" y="7334"/>
                    <a:pt x="17142" y="7334"/>
                    <a:pt x="17142" y="7334"/>
                  </a:cubicBezTo>
                  <a:cubicBezTo>
                    <a:pt x="17142" y="7334"/>
                    <a:pt x="17022" y="7334"/>
                    <a:pt x="16988" y="7437"/>
                  </a:cubicBezTo>
                  <a:lnTo>
                    <a:pt x="16988" y="7437"/>
                  </a:lnTo>
                  <a:cubicBezTo>
                    <a:pt x="16988" y="7437"/>
                    <a:pt x="16885" y="7437"/>
                    <a:pt x="16867" y="7437"/>
                  </a:cubicBezTo>
                  <a:cubicBezTo>
                    <a:pt x="17211" y="7317"/>
                    <a:pt x="16747" y="7437"/>
                    <a:pt x="16610" y="7575"/>
                  </a:cubicBezTo>
                  <a:lnTo>
                    <a:pt x="16610" y="7575"/>
                  </a:lnTo>
                  <a:lnTo>
                    <a:pt x="16421" y="7678"/>
                  </a:lnTo>
                  <a:lnTo>
                    <a:pt x="16421" y="7678"/>
                  </a:lnTo>
                  <a:lnTo>
                    <a:pt x="16283" y="7678"/>
                  </a:lnTo>
                  <a:cubicBezTo>
                    <a:pt x="16438" y="7678"/>
                    <a:pt x="16283" y="7678"/>
                    <a:pt x="16283" y="7678"/>
                  </a:cubicBezTo>
                  <a:lnTo>
                    <a:pt x="16283" y="7678"/>
                  </a:lnTo>
                  <a:lnTo>
                    <a:pt x="16129" y="7678"/>
                  </a:lnTo>
                  <a:lnTo>
                    <a:pt x="16129" y="7678"/>
                  </a:lnTo>
                  <a:lnTo>
                    <a:pt x="16129" y="7678"/>
                  </a:lnTo>
                  <a:lnTo>
                    <a:pt x="16129" y="7678"/>
                  </a:lnTo>
                  <a:cubicBezTo>
                    <a:pt x="16026" y="7678"/>
                    <a:pt x="15923" y="7833"/>
                    <a:pt x="15820" y="7867"/>
                  </a:cubicBezTo>
                  <a:cubicBezTo>
                    <a:pt x="15717" y="7901"/>
                    <a:pt x="15974" y="7764"/>
                    <a:pt x="16043" y="7747"/>
                  </a:cubicBezTo>
                  <a:cubicBezTo>
                    <a:pt x="16112" y="7729"/>
                    <a:pt x="16043" y="7747"/>
                    <a:pt x="16043" y="7747"/>
                  </a:cubicBezTo>
                  <a:cubicBezTo>
                    <a:pt x="16131" y="7705"/>
                    <a:pt x="16223" y="7670"/>
                    <a:pt x="16318" y="7644"/>
                  </a:cubicBezTo>
                  <a:lnTo>
                    <a:pt x="16198" y="7644"/>
                  </a:lnTo>
                  <a:cubicBezTo>
                    <a:pt x="16386" y="7558"/>
                    <a:pt x="16558" y="7420"/>
                    <a:pt x="16747" y="7352"/>
                  </a:cubicBezTo>
                  <a:lnTo>
                    <a:pt x="16747" y="7352"/>
                  </a:lnTo>
                  <a:lnTo>
                    <a:pt x="16747" y="7352"/>
                  </a:lnTo>
                  <a:cubicBezTo>
                    <a:pt x="16976" y="7288"/>
                    <a:pt x="17195" y="7196"/>
                    <a:pt x="17400" y="7077"/>
                  </a:cubicBezTo>
                  <a:cubicBezTo>
                    <a:pt x="17400" y="7077"/>
                    <a:pt x="17400" y="7077"/>
                    <a:pt x="17262" y="7077"/>
                  </a:cubicBezTo>
                  <a:lnTo>
                    <a:pt x="17262" y="7077"/>
                  </a:lnTo>
                  <a:cubicBezTo>
                    <a:pt x="17366" y="7077"/>
                    <a:pt x="17761" y="6836"/>
                    <a:pt x="17520" y="6991"/>
                  </a:cubicBezTo>
                  <a:cubicBezTo>
                    <a:pt x="17692" y="6991"/>
                    <a:pt x="17692" y="6819"/>
                    <a:pt x="17846" y="6768"/>
                  </a:cubicBezTo>
                  <a:cubicBezTo>
                    <a:pt x="17692" y="6768"/>
                    <a:pt x="17846" y="6768"/>
                    <a:pt x="17846" y="6768"/>
                  </a:cubicBezTo>
                  <a:lnTo>
                    <a:pt x="17846" y="6768"/>
                  </a:lnTo>
                  <a:cubicBezTo>
                    <a:pt x="18036" y="6628"/>
                    <a:pt x="18252" y="6528"/>
                    <a:pt x="18482" y="6476"/>
                  </a:cubicBezTo>
                  <a:lnTo>
                    <a:pt x="18482" y="6476"/>
                  </a:lnTo>
                  <a:cubicBezTo>
                    <a:pt x="18662" y="6364"/>
                    <a:pt x="18859" y="6282"/>
                    <a:pt x="19066" y="6235"/>
                  </a:cubicBezTo>
                  <a:lnTo>
                    <a:pt x="18911" y="6321"/>
                  </a:lnTo>
                  <a:cubicBezTo>
                    <a:pt x="19100" y="6321"/>
                    <a:pt x="19238" y="6149"/>
                    <a:pt x="19427" y="6115"/>
                  </a:cubicBezTo>
                  <a:lnTo>
                    <a:pt x="19238" y="6252"/>
                  </a:lnTo>
                  <a:cubicBezTo>
                    <a:pt x="20286" y="5617"/>
                    <a:pt x="22038" y="4998"/>
                    <a:pt x="20303" y="5909"/>
                  </a:cubicBezTo>
                  <a:cubicBezTo>
                    <a:pt x="20578" y="5823"/>
                    <a:pt x="21230" y="5411"/>
                    <a:pt x="21024" y="5651"/>
                  </a:cubicBezTo>
                  <a:cubicBezTo>
                    <a:pt x="21780" y="5393"/>
                    <a:pt x="20629" y="6012"/>
                    <a:pt x="20303" y="6149"/>
                  </a:cubicBezTo>
                  <a:cubicBezTo>
                    <a:pt x="20698" y="6012"/>
                    <a:pt x="20303" y="6149"/>
                    <a:pt x="20303" y="6149"/>
                  </a:cubicBezTo>
                  <a:cubicBezTo>
                    <a:pt x="20303" y="6149"/>
                    <a:pt x="20560" y="5977"/>
                    <a:pt x="20406" y="6149"/>
                  </a:cubicBezTo>
                  <a:cubicBezTo>
                    <a:pt x="20663" y="5857"/>
                    <a:pt x="20921" y="6149"/>
                    <a:pt x="20492" y="6235"/>
                  </a:cubicBezTo>
                  <a:cubicBezTo>
                    <a:pt x="20448" y="6218"/>
                    <a:pt x="20398" y="6218"/>
                    <a:pt x="20354" y="6235"/>
                  </a:cubicBezTo>
                  <a:cubicBezTo>
                    <a:pt x="20612" y="6235"/>
                    <a:pt x="20251" y="6321"/>
                    <a:pt x="20165" y="6355"/>
                  </a:cubicBezTo>
                  <a:cubicBezTo>
                    <a:pt x="20818" y="6149"/>
                    <a:pt x="19616" y="6647"/>
                    <a:pt x="20337" y="6355"/>
                  </a:cubicBezTo>
                  <a:cubicBezTo>
                    <a:pt x="19427" y="6750"/>
                    <a:pt x="20749" y="6355"/>
                    <a:pt x="19856" y="6716"/>
                  </a:cubicBezTo>
                  <a:cubicBezTo>
                    <a:pt x="19856" y="6819"/>
                    <a:pt x="19856" y="6716"/>
                    <a:pt x="20097" y="6716"/>
                  </a:cubicBezTo>
                  <a:cubicBezTo>
                    <a:pt x="19967" y="6814"/>
                    <a:pt x="19822" y="6889"/>
                    <a:pt x="19667" y="6939"/>
                  </a:cubicBezTo>
                  <a:cubicBezTo>
                    <a:pt x="19564" y="6939"/>
                    <a:pt x="20423" y="6939"/>
                    <a:pt x="19495" y="7145"/>
                  </a:cubicBezTo>
                  <a:cubicBezTo>
                    <a:pt x="19392" y="7145"/>
                    <a:pt x="19959" y="7145"/>
                    <a:pt x="19358" y="7266"/>
                  </a:cubicBezTo>
                  <a:cubicBezTo>
                    <a:pt x="19856" y="7094"/>
                    <a:pt x="19925" y="7266"/>
                    <a:pt x="19358" y="7352"/>
                  </a:cubicBezTo>
                  <a:cubicBezTo>
                    <a:pt x="19581" y="7541"/>
                    <a:pt x="19255" y="7592"/>
                    <a:pt x="19358" y="7523"/>
                  </a:cubicBezTo>
                  <a:cubicBezTo>
                    <a:pt x="19083" y="7523"/>
                    <a:pt x="19358" y="7747"/>
                    <a:pt x="19049" y="7626"/>
                  </a:cubicBezTo>
                  <a:cubicBezTo>
                    <a:pt x="18860" y="7953"/>
                    <a:pt x="19186" y="7764"/>
                    <a:pt x="18860" y="7918"/>
                  </a:cubicBezTo>
                  <a:cubicBezTo>
                    <a:pt x="19118" y="7833"/>
                    <a:pt x="18654" y="8193"/>
                    <a:pt x="18860" y="8039"/>
                  </a:cubicBezTo>
                  <a:cubicBezTo>
                    <a:pt x="18534" y="8365"/>
                    <a:pt x="19152" y="7850"/>
                    <a:pt x="18705" y="8399"/>
                  </a:cubicBezTo>
                  <a:cubicBezTo>
                    <a:pt x="18482" y="8520"/>
                    <a:pt x="19066" y="8399"/>
                    <a:pt x="18551" y="8588"/>
                  </a:cubicBezTo>
                  <a:cubicBezTo>
                    <a:pt x="18929" y="8434"/>
                    <a:pt x="18637" y="8966"/>
                    <a:pt x="18396" y="8829"/>
                  </a:cubicBezTo>
                  <a:cubicBezTo>
                    <a:pt x="18396" y="8966"/>
                    <a:pt x="18242" y="9069"/>
                    <a:pt x="18190" y="8966"/>
                  </a:cubicBezTo>
                  <a:cubicBezTo>
                    <a:pt x="18138" y="8863"/>
                    <a:pt x="18018" y="9155"/>
                    <a:pt x="18190" y="8966"/>
                  </a:cubicBezTo>
                  <a:cubicBezTo>
                    <a:pt x="18362" y="8777"/>
                    <a:pt x="17692" y="9447"/>
                    <a:pt x="17846" y="9155"/>
                  </a:cubicBezTo>
                  <a:cubicBezTo>
                    <a:pt x="17709" y="8966"/>
                    <a:pt x="18173" y="8709"/>
                    <a:pt x="18224" y="8605"/>
                  </a:cubicBezTo>
                  <a:cubicBezTo>
                    <a:pt x="17915" y="8777"/>
                    <a:pt x="18104" y="8605"/>
                    <a:pt x="18224" y="8434"/>
                  </a:cubicBezTo>
                  <a:cubicBezTo>
                    <a:pt x="18345" y="8262"/>
                    <a:pt x="17967" y="8640"/>
                    <a:pt x="18053" y="8434"/>
                  </a:cubicBezTo>
                  <a:cubicBezTo>
                    <a:pt x="17761" y="8709"/>
                    <a:pt x="17589" y="8743"/>
                    <a:pt x="17486" y="9155"/>
                  </a:cubicBezTo>
                  <a:cubicBezTo>
                    <a:pt x="17383" y="9567"/>
                    <a:pt x="16816" y="10065"/>
                    <a:pt x="16747" y="9842"/>
                  </a:cubicBezTo>
                  <a:cubicBezTo>
                    <a:pt x="16678" y="9619"/>
                    <a:pt x="16867" y="9722"/>
                    <a:pt x="16747" y="9396"/>
                  </a:cubicBezTo>
                  <a:cubicBezTo>
                    <a:pt x="16524" y="9791"/>
                    <a:pt x="16524" y="10306"/>
                    <a:pt x="16524" y="10306"/>
                  </a:cubicBezTo>
                  <a:cubicBezTo>
                    <a:pt x="15820" y="10461"/>
                    <a:pt x="16644" y="9104"/>
                    <a:pt x="16799" y="9069"/>
                  </a:cubicBezTo>
                  <a:cubicBezTo>
                    <a:pt x="16524" y="9172"/>
                    <a:pt x="16799" y="9069"/>
                    <a:pt x="16558" y="9069"/>
                  </a:cubicBezTo>
                  <a:cubicBezTo>
                    <a:pt x="16678" y="8897"/>
                    <a:pt x="16386" y="9155"/>
                    <a:pt x="16301" y="9069"/>
                  </a:cubicBezTo>
                  <a:cubicBezTo>
                    <a:pt x="16215" y="8983"/>
                    <a:pt x="17005" y="8382"/>
                    <a:pt x="16850" y="8794"/>
                  </a:cubicBezTo>
                  <a:cubicBezTo>
                    <a:pt x="18310" y="8485"/>
                    <a:pt x="19203" y="7077"/>
                    <a:pt x="19530" y="6733"/>
                  </a:cubicBezTo>
                  <a:cubicBezTo>
                    <a:pt x="19032" y="7145"/>
                    <a:pt x="19169" y="6733"/>
                    <a:pt x="18980" y="6733"/>
                  </a:cubicBezTo>
                  <a:cubicBezTo>
                    <a:pt x="18791" y="6733"/>
                    <a:pt x="19238" y="6579"/>
                    <a:pt x="18980" y="6561"/>
                  </a:cubicBezTo>
                  <a:cubicBezTo>
                    <a:pt x="19203" y="6321"/>
                    <a:pt x="18980" y="6561"/>
                    <a:pt x="18980" y="6373"/>
                  </a:cubicBezTo>
                  <a:lnTo>
                    <a:pt x="19083" y="6373"/>
                  </a:lnTo>
                  <a:lnTo>
                    <a:pt x="18929" y="6458"/>
                  </a:lnTo>
                  <a:cubicBezTo>
                    <a:pt x="18671" y="6579"/>
                    <a:pt x="18430" y="6733"/>
                    <a:pt x="18173" y="6871"/>
                  </a:cubicBezTo>
                  <a:lnTo>
                    <a:pt x="18173" y="6871"/>
                  </a:lnTo>
                  <a:lnTo>
                    <a:pt x="18293" y="6871"/>
                  </a:lnTo>
                  <a:lnTo>
                    <a:pt x="18242" y="6871"/>
                  </a:lnTo>
                  <a:lnTo>
                    <a:pt x="18242" y="6871"/>
                  </a:lnTo>
                  <a:cubicBezTo>
                    <a:pt x="18242" y="6957"/>
                    <a:pt x="17984" y="6871"/>
                    <a:pt x="17898" y="7025"/>
                  </a:cubicBezTo>
                  <a:lnTo>
                    <a:pt x="17898" y="7025"/>
                  </a:lnTo>
                  <a:lnTo>
                    <a:pt x="17898" y="7025"/>
                  </a:lnTo>
                  <a:lnTo>
                    <a:pt x="18001" y="7025"/>
                  </a:lnTo>
                  <a:cubicBezTo>
                    <a:pt x="18001" y="7025"/>
                    <a:pt x="18001" y="7025"/>
                    <a:pt x="18001" y="7025"/>
                  </a:cubicBezTo>
                  <a:lnTo>
                    <a:pt x="18001" y="7025"/>
                  </a:lnTo>
                  <a:cubicBezTo>
                    <a:pt x="18001" y="7025"/>
                    <a:pt x="17881" y="7025"/>
                    <a:pt x="17829" y="7025"/>
                  </a:cubicBezTo>
                  <a:lnTo>
                    <a:pt x="17829" y="7025"/>
                  </a:lnTo>
                  <a:lnTo>
                    <a:pt x="17829" y="7025"/>
                  </a:lnTo>
                  <a:cubicBezTo>
                    <a:pt x="17623" y="7180"/>
                    <a:pt x="17400" y="7300"/>
                    <a:pt x="17177" y="7437"/>
                  </a:cubicBezTo>
                  <a:lnTo>
                    <a:pt x="17434" y="7334"/>
                  </a:lnTo>
                  <a:lnTo>
                    <a:pt x="17434" y="7334"/>
                  </a:lnTo>
                  <a:lnTo>
                    <a:pt x="17864" y="7111"/>
                  </a:lnTo>
                  <a:cubicBezTo>
                    <a:pt x="17702" y="7258"/>
                    <a:pt x="17523" y="7385"/>
                    <a:pt x="17331" y="7489"/>
                  </a:cubicBezTo>
                  <a:lnTo>
                    <a:pt x="17331" y="7489"/>
                  </a:lnTo>
                  <a:cubicBezTo>
                    <a:pt x="17075" y="7607"/>
                    <a:pt x="16843" y="7770"/>
                    <a:pt x="16644" y="7970"/>
                  </a:cubicBezTo>
                  <a:cubicBezTo>
                    <a:pt x="16644" y="7970"/>
                    <a:pt x="16747" y="7884"/>
                    <a:pt x="16799" y="7884"/>
                  </a:cubicBezTo>
                  <a:lnTo>
                    <a:pt x="16799" y="7884"/>
                  </a:lnTo>
                  <a:lnTo>
                    <a:pt x="17675" y="7437"/>
                  </a:lnTo>
                  <a:lnTo>
                    <a:pt x="17675" y="7437"/>
                  </a:lnTo>
                  <a:lnTo>
                    <a:pt x="17675" y="7437"/>
                  </a:lnTo>
                  <a:cubicBezTo>
                    <a:pt x="17675" y="7437"/>
                    <a:pt x="17675" y="7334"/>
                    <a:pt x="17812" y="7352"/>
                  </a:cubicBezTo>
                  <a:lnTo>
                    <a:pt x="17812" y="7352"/>
                  </a:lnTo>
                  <a:cubicBezTo>
                    <a:pt x="17812" y="7352"/>
                    <a:pt x="17812" y="7352"/>
                    <a:pt x="17932" y="7352"/>
                  </a:cubicBezTo>
                  <a:lnTo>
                    <a:pt x="17932" y="7352"/>
                  </a:lnTo>
                  <a:lnTo>
                    <a:pt x="18362" y="7111"/>
                  </a:lnTo>
                  <a:cubicBezTo>
                    <a:pt x="18362" y="7111"/>
                    <a:pt x="18362" y="7111"/>
                    <a:pt x="18362" y="7266"/>
                  </a:cubicBezTo>
                  <a:lnTo>
                    <a:pt x="18362" y="7266"/>
                  </a:lnTo>
                  <a:cubicBezTo>
                    <a:pt x="18341" y="7321"/>
                    <a:pt x="18297" y="7365"/>
                    <a:pt x="18242" y="7386"/>
                  </a:cubicBezTo>
                  <a:cubicBezTo>
                    <a:pt x="18242" y="7300"/>
                    <a:pt x="18242" y="7472"/>
                    <a:pt x="18104" y="7489"/>
                  </a:cubicBezTo>
                  <a:cubicBezTo>
                    <a:pt x="17967" y="7506"/>
                    <a:pt x="17967" y="7626"/>
                    <a:pt x="17898" y="7626"/>
                  </a:cubicBezTo>
                  <a:cubicBezTo>
                    <a:pt x="17829" y="7626"/>
                    <a:pt x="17898" y="7626"/>
                    <a:pt x="17898" y="7626"/>
                  </a:cubicBezTo>
                  <a:lnTo>
                    <a:pt x="17898" y="7626"/>
                  </a:lnTo>
                  <a:cubicBezTo>
                    <a:pt x="17898" y="7626"/>
                    <a:pt x="17606" y="7764"/>
                    <a:pt x="17692" y="7626"/>
                  </a:cubicBezTo>
                  <a:lnTo>
                    <a:pt x="17692" y="7626"/>
                  </a:lnTo>
                  <a:cubicBezTo>
                    <a:pt x="17692" y="7626"/>
                    <a:pt x="17692" y="7712"/>
                    <a:pt x="17537" y="7729"/>
                  </a:cubicBezTo>
                  <a:lnTo>
                    <a:pt x="17537" y="7729"/>
                  </a:lnTo>
                  <a:cubicBezTo>
                    <a:pt x="17537" y="7729"/>
                    <a:pt x="17417" y="7729"/>
                    <a:pt x="17537" y="7729"/>
                  </a:cubicBezTo>
                  <a:cubicBezTo>
                    <a:pt x="17222" y="8004"/>
                    <a:pt x="16845" y="8199"/>
                    <a:pt x="16438" y="8296"/>
                  </a:cubicBezTo>
                  <a:cubicBezTo>
                    <a:pt x="16466" y="8278"/>
                    <a:pt x="16495" y="8261"/>
                    <a:pt x="16524" y="8245"/>
                  </a:cubicBezTo>
                  <a:lnTo>
                    <a:pt x="16524" y="8245"/>
                  </a:lnTo>
                  <a:lnTo>
                    <a:pt x="16661" y="8125"/>
                  </a:lnTo>
                  <a:lnTo>
                    <a:pt x="16661" y="8125"/>
                  </a:lnTo>
                  <a:cubicBezTo>
                    <a:pt x="16661" y="8125"/>
                    <a:pt x="16490" y="8210"/>
                    <a:pt x="16661" y="8125"/>
                  </a:cubicBezTo>
                  <a:cubicBezTo>
                    <a:pt x="16557" y="8250"/>
                    <a:pt x="16436" y="8360"/>
                    <a:pt x="16301" y="8451"/>
                  </a:cubicBezTo>
                  <a:lnTo>
                    <a:pt x="16404" y="8296"/>
                  </a:lnTo>
                  <a:cubicBezTo>
                    <a:pt x="16404" y="8296"/>
                    <a:pt x="16404" y="8382"/>
                    <a:pt x="16283" y="8399"/>
                  </a:cubicBezTo>
                  <a:cubicBezTo>
                    <a:pt x="16163" y="8417"/>
                    <a:pt x="16283" y="8399"/>
                    <a:pt x="16283" y="8399"/>
                  </a:cubicBezTo>
                  <a:lnTo>
                    <a:pt x="16283" y="8399"/>
                  </a:lnTo>
                  <a:lnTo>
                    <a:pt x="16438" y="8279"/>
                  </a:lnTo>
                  <a:cubicBezTo>
                    <a:pt x="16438" y="8279"/>
                    <a:pt x="16335" y="8279"/>
                    <a:pt x="16438" y="8279"/>
                  </a:cubicBezTo>
                  <a:lnTo>
                    <a:pt x="16438" y="8279"/>
                  </a:lnTo>
                  <a:lnTo>
                    <a:pt x="16438" y="8279"/>
                  </a:lnTo>
                  <a:cubicBezTo>
                    <a:pt x="16260" y="8438"/>
                    <a:pt x="16057" y="8566"/>
                    <a:pt x="15837" y="8657"/>
                  </a:cubicBezTo>
                  <a:lnTo>
                    <a:pt x="15837" y="8657"/>
                  </a:lnTo>
                  <a:cubicBezTo>
                    <a:pt x="15510" y="8846"/>
                    <a:pt x="15837" y="8520"/>
                    <a:pt x="15837" y="8365"/>
                  </a:cubicBezTo>
                  <a:cubicBezTo>
                    <a:pt x="15545" y="8537"/>
                    <a:pt x="15614" y="8846"/>
                    <a:pt x="15287" y="8932"/>
                  </a:cubicBezTo>
                  <a:lnTo>
                    <a:pt x="15287" y="8932"/>
                  </a:lnTo>
                  <a:lnTo>
                    <a:pt x="14841" y="9138"/>
                  </a:lnTo>
                  <a:cubicBezTo>
                    <a:pt x="14841" y="9138"/>
                    <a:pt x="14841" y="9138"/>
                    <a:pt x="14841" y="9138"/>
                  </a:cubicBezTo>
                  <a:lnTo>
                    <a:pt x="14841" y="9138"/>
                  </a:lnTo>
                  <a:lnTo>
                    <a:pt x="14841" y="9138"/>
                  </a:lnTo>
                  <a:cubicBezTo>
                    <a:pt x="14841" y="9138"/>
                    <a:pt x="14841" y="9138"/>
                    <a:pt x="14961" y="9035"/>
                  </a:cubicBezTo>
                  <a:cubicBezTo>
                    <a:pt x="15081" y="8932"/>
                    <a:pt x="14841" y="9035"/>
                    <a:pt x="14806" y="9121"/>
                  </a:cubicBezTo>
                  <a:cubicBezTo>
                    <a:pt x="14849" y="9096"/>
                    <a:pt x="14884" y="9060"/>
                    <a:pt x="14909" y="9018"/>
                  </a:cubicBezTo>
                  <a:cubicBezTo>
                    <a:pt x="14909" y="9018"/>
                    <a:pt x="14514" y="9344"/>
                    <a:pt x="14686" y="9138"/>
                  </a:cubicBezTo>
                  <a:lnTo>
                    <a:pt x="14531" y="9258"/>
                  </a:lnTo>
                  <a:cubicBezTo>
                    <a:pt x="14601" y="9111"/>
                    <a:pt x="14687" y="8973"/>
                    <a:pt x="14789" y="8846"/>
                  </a:cubicBezTo>
                  <a:lnTo>
                    <a:pt x="14789" y="8846"/>
                  </a:lnTo>
                  <a:lnTo>
                    <a:pt x="14789" y="8846"/>
                  </a:lnTo>
                  <a:lnTo>
                    <a:pt x="14703" y="8949"/>
                  </a:lnTo>
                  <a:cubicBezTo>
                    <a:pt x="14909" y="8794"/>
                    <a:pt x="14600" y="9138"/>
                    <a:pt x="14549" y="9121"/>
                  </a:cubicBezTo>
                  <a:lnTo>
                    <a:pt x="14686" y="9121"/>
                  </a:lnTo>
                  <a:cubicBezTo>
                    <a:pt x="14549" y="9361"/>
                    <a:pt x="13999" y="9653"/>
                    <a:pt x="14411" y="9121"/>
                  </a:cubicBezTo>
                  <a:cubicBezTo>
                    <a:pt x="14274" y="9207"/>
                    <a:pt x="14205" y="9361"/>
                    <a:pt x="14085" y="9447"/>
                  </a:cubicBezTo>
                  <a:lnTo>
                    <a:pt x="14085" y="9447"/>
                  </a:lnTo>
                  <a:lnTo>
                    <a:pt x="14085" y="9447"/>
                  </a:lnTo>
                  <a:lnTo>
                    <a:pt x="14085" y="9447"/>
                  </a:lnTo>
                  <a:lnTo>
                    <a:pt x="13930" y="9585"/>
                  </a:lnTo>
                  <a:cubicBezTo>
                    <a:pt x="13930" y="9585"/>
                    <a:pt x="13930" y="9585"/>
                    <a:pt x="13930" y="9585"/>
                  </a:cubicBezTo>
                  <a:cubicBezTo>
                    <a:pt x="13930" y="9585"/>
                    <a:pt x="13810" y="9585"/>
                    <a:pt x="13776" y="9585"/>
                  </a:cubicBezTo>
                  <a:cubicBezTo>
                    <a:pt x="13741" y="9585"/>
                    <a:pt x="13260" y="9911"/>
                    <a:pt x="13123" y="9945"/>
                  </a:cubicBezTo>
                  <a:lnTo>
                    <a:pt x="13123" y="9945"/>
                  </a:lnTo>
                  <a:cubicBezTo>
                    <a:pt x="12737" y="10291"/>
                    <a:pt x="12330" y="10612"/>
                    <a:pt x="11903" y="10907"/>
                  </a:cubicBezTo>
                  <a:cubicBezTo>
                    <a:pt x="12900" y="10254"/>
                    <a:pt x="11749" y="11405"/>
                    <a:pt x="11525" y="11405"/>
                  </a:cubicBezTo>
                  <a:cubicBezTo>
                    <a:pt x="11972" y="11405"/>
                    <a:pt x="11732" y="11783"/>
                    <a:pt x="11525" y="12092"/>
                  </a:cubicBezTo>
                  <a:lnTo>
                    <a:pt x="11525" y="12092"/>
                  </a:lnTo>
                  <a:cubicBezTo>
                    <a:pt x="11512" y="12253"/>
                    <a:pt x="11471" y="12409"/>
                    <a:pt x="11405" y="12556"/>
                  </a:cubicBezTo>
                  <a:cubicBezTo>
                    <a:pt x="11525" y="12556"/>
                    <a:pt x="11508" y="12693"/>
                    <a:pt x="11629" y="12693"/>
                  </a:cubicBezTo>
                  <a:lnTo>
                    <a:pt x="11629" y="12693"/>
                  </a:lnTo>
                  <a:cubicBezTo>
                    <a:pt x="11143" y="13178"/>
                    <a:pt x="10727" y="13727"/>
                    <a:pt x="10392" y="14325"/>
                  </a:cubicBezTo>
                  <a:cubicBezTo>
                    <a:pt x="10598" y="14325"/>
                    <a:pt x="10546" y="14325"/>
                    <a:pt x="10753" y="14188"/>
                  </a:cubicBezTo>
                  <a:cubicBezTo>
                    <a:pt x="10753" y="14274"/>
                    <a:pt x="10546" y="14445"/>
                    <a:pt x="10649" y="14514"/>
                  </a:cubicBezTo>
                  <a:cubicBezTo>
                    <a:pt x="11067" y="13670"/>
                    <a:pt x="11757" y="12992"/>
                    <a:pt x="12608" y="12590"/>
                  </a:cubicBezTo>
                  <a:cubicBezTo>
                    <a:pt x="13106" y="12024"/>
                    <a:pt x="13484" y="11337"/>
                    <a:pt x="13999" y="11148"/>
                  </a:cubicBezTo>
                  <a:lnTo>
                    <a:pt x="13999" y="11148"/>
                  </a:lnTo>
                  <a:cubicBezTo>
                    <a:pt x="14085" y="11148"/>
                    <a:pt x="14119" y="10976"/>
                    <a:pt x="14205" y="10976"/>
                  </a:cubicBezTo>
                  <a:cubicBezTo>
                    <a:pt x="14291" y="10976"/>
                    <a:pt x="14205" y="10873"/>
                    <a:pt x="14325" y="10856"/>
                  </a:cubicBezTo>
                  <a:cubicBezTo>
                    <a:pt x="14446" y="10838"/>
                    <a:pt x="15493" y="9808"/>
                    <a:pt x="15081" y="10409"/>
                  </a:cubicBezTo>
                  <a:cubicBezTo>
                    <a:pt x="15081" y="10409"/>
                    <a:pt x="15253" y="10409"/>
                    <a:pt x="15201" y="10409"/>
                  </a:cubicBezTo>
                  <a:lnTo>
                    <a:pt x="15201" y="10409"/>
                  </a:lnTo>
                  <a:cubicBezTo>
                    <a:pt x="15510" y="10409"/>
                    <a:pt x="15201" y="10409"/>
                    <a:pt x="15304" y="10564"/>
                  </a:cubicBezTo>
                  <a:cubicBezTo>
                    <a:pt x="15407" y="10718"/>
                    <a:pt x="15201" y="10649"/>
                    <a:pt x="15167" y="10701"/>
                  </a:cubicBezTo>
                  <a:lnTo>
                    <a:pt x="15167" y="10701"/>
                  </a:lnTo>
                  <a:cubicBezTo>
                    <a:pt x="15167" y="10701"/>
                    <a:pt x="15167" y="10804"/>
                    <a:pt x="15167" y="10856"/>
                  </a:cubicBezTo>
                  <a:lnTo>
                    <a:pt x="15167" y="10856"/>
                  </a:lnTo>
                  <a:cubicBezTo>
                    <a:pt x="15167" y="10856"/>
                    <a:pt x="15167" y="10941"/>
                    <a:pt x="15167" y="10941"/>
                  </a:cubicBezTo>
                  <a:lnTo>
                    <a:pt x="15167" y="10941"/>
                  </a:lnTo>
                  <a:cubicBezTo>
                    <a:pt x="15167" y="10941"/>
                    <a:pt x="15167" y="11027"/>
                    <a:pt x="15047" y="11079"/>
                  </a:cubicBez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cubicBezTo>
                    <a:pt x="15201" y="11079"/>
                    <a:pt x="15047" y="11165"/>
                    <a:pt x="15047" y="11216"/>
                  </a:cubicBezTo>
                  <a:cubicBezTo>
                    <a:pt x="15047" y="11268"/>
                    <a:pt x="15150" y="11113"/>
                    <a:pt x="15201" y="11130"/>
                  </a:cubicBezTo>
                  <a:cubicBezTo>
                    <a:pt x="15253" y="11148"/>
                    <a:pt x="14909" y="11337"/>
                    <a:pt x="14789" y="11508"/>
                  </a:cubicBezTo>
                  <a:lnTo>
                    <a:pt x="14789" y="11508"/>
                  </a:lnTo>
                  <a:cubicBezTo>
                    <a:pt x="14789" y="11508"/>
                    <a:pt x="14652" y="11629"/>
                    <a:pt x="14583" y="11508"/>
                  </a:cubicBezTo>
                  <a:cubicBezTo>
                    <a:pt x="14772" y="11680"/>
                    <a:pt x="14308" y="12041"/>
                    <a:pt x="14325" y="11989"/>
                  </a:cubicBezTo>
                  <a:cubicBezTo>
                    <a:pt x="14342" y="11938"/>
                    <a:pt x="14325" y="12144"/>
                    <a:pt x="14325" y="11989"/>
                  </a:cubicBezTo>
                  <a:cubicBezTo>
                    <a:pt x="14325" y="11835"/>
                    <a:pt x="14119" y="12264"/>
                    <a:pt x="14016" y="12367"/>
                  </a:cubicBezTo>
                  <a:cubicBezTo>
                    <a:pt x="14291" y="12178"/>
                    <a:pt x="14360" y="12144"/>
                    <a:pt x="14016" y="12367"/>
                  </a:cubicBezTo>
                  <a:cubicBezTo>
                    <a:pt x="14016" y="12367"/>
                    <a:pt x="14308" y="12127"/>
                    <a:pt x="14308" y="12230"/>
                  </a:cubicBezTo>
                  <a:cubicBezTo>
                    <a:pt x="14308" y="12333"/>
                    <a:pt x="14463" y="12109"/>
                    <a:pt x="14549" y="12075"/>
                  </a:cubicBezTo>
                  <a:cubicBezTo>
                    <a:pt x="14564" y="12131"/>
                    <a:pt x="14564" y="12191"/>
                    <a:pt x="14549" y="12247"/>
                  </a:cubicBezTo>
                  <a:cubicBezTo>
                    <a:pt x="14549" y="12161"/>
                    <a:pt x="14961" y="11800"/>
                    <a:pt x="14995" y="11921"/>
                  </a:cubicBezTo>
                  <a:cubicBezTo>
                    <a:pt x="15030" y="12041"/>
                    <a:pt x="14995" y="11921"/>
                    <a:pt x="14995" y="11921"/>
                  </a:cubicBezTo>
                  <a:cubicBezTo>
                    <a:pt x="14995" y="11921"/>
                    <a:pt x="14995" y="11817"/>
                    <a:pt x="15133" y="11817"/>
                  </a:cubicBezTo>
                  <a:lnTo>
                    <a:pt x="15133" y="11817"/>
                  </a:lnTo>
                  <a:cubicBezTo>
                    <a:pt x="15133" y="11732"/>
                    <a:pt x="15579" y="11457"/>
                    <a:pt x="15442" y="11577"/>
                  </a:cubicBezTo>
                  <a:lnTo>
                    <a:pt x="15442" y="11577"/>
                  </a:lnTo>
                  <a:cubicBezTo>
                    <a:pt x="15442" y="11577"/>
                    <a:pt x="15442" y="11697"/>
                    <a:pt x="15322" y="11697"/>
                  </a:cubicBezTo>
                  <a:cubicBezTo>
                    <a:pt x="15201" y="11697"/>
                    <a:pt x="15322" y="11697"/>
                    <a:pt x="15322" y="11783"/>
                  </a:cubicBezTo>
                  <a:lnTo>
                    <a:pt x="15322" y="11783"/>
                  </a:lnTo>
                  <a:cubicBezTo>
                    <a:pt x="15218" y="11783"/>
                    <a:pt x="15322" y="11955"/>
                    <a:pt x="15150" y="12006"/>
                  </a:cubicBezTo>
                  <a:cubicBezTo>
                    <a:pt x="14978" y="12058"/>
                    <a:pt x="15150" y="12127"/>
                    <a:pt x="15150" y="12006"/>
                  </a:cubicBezTo>
                  <a:cubicBezTo>
                    <a:pt x="15150" y="11886"/>
                    <a:pt x="14789" y="12161"/>
                    <a:pt x="15150" y="12144"/>
                  </a:cubicBezTo>
                  <a:cubicBezTo>
                    <a:pt x="15510" y="12127"/>
                    <a:pt x="14961" y="12298"/>
                    <a:pt x="15150" y="12247"/>
                  </a:cubicBezTo>
                  <a:cubicBezTo>
                    <a:pt x="15339" y="12195"/>
                    <a:pt x="14995" y="12419"/>
                    <a:pt x="14978" y="12247"/>
                  </a:cubicBezTo>
                  <a:cubicBezTo>
                    <a:pt x="14961" y="12075"/>
                    <a:pt x="14978" y="12333"/>
                    <a:pt x="14978" y="12350"/>
                  </a:cubicBezTo>
                  <a:cubicBezTo>
                    <a:pt x="14978" y="12367"/>
                    <a:pt x="15098" y="12350"/>
                    <a:pt x="15150" y="12350"/>
                  </a:cubicBezTo>
                  <a:cubicBezTo>
                    <a:pt x="15201" y="12350"/>
                    <a:pt x="14961" y="12350"/>
                    <a:pt x="14892" y="12505"/>
                  </a:cubicBezTo>
                  <a:cubicBezTo>
                    <a:pt x="15133" y="12505"/>
                    <a:pt x="15047" y="12505"/>
                    <a:pt x="14892" y="12608"/>
                  </a:cubicBezTo>
                  <a:cubicBezTo>
                    <a:pt x="14738" y="12711"/>
                    <a:pt x="14892" y="12608"/>
                    <a:pt x="14995" y="12608"/>
                  </a:cubicBezTo>
                  <a:cubicBezTo>
                    <a:pt x="15011" y="12682"/>
                    <a:pt x="14963" y="12755"/>
                    <a:pt x="14889" y="12770"/>
                  </a:cubicBezTo>
                  <a:cubicBezTo>
                    <a:pt x="14861" y="12776"/>
                    <a:pt x="14832" y="12773"/>
                    <a:pt x="14806" y="12762"/>
                  </a:cubicBezTo>
                  <a:cubicBezTo>
                    <a:pt x="14806" y="12762"/>
                    <a:pt x="14961" y="12848"/>
                    <a:pt x="14806" y="12917"/>
                  </a:cubicBezTo>
                  <a:cubicBezTo>
                    <a:pt x="14995" y="13020"/>
                    <a:pt x="14600" y="13157"/>
                    <a:pt x="14566" y="13089"/>
                  </a:cubicBezTo>
                  <a:cubicBezTo>
                    <a:pt x="14531" y="13020"/>
                    <a:pt x="14566" y="13363"/>
                    <a:pt x="14411" y="13312"/>
                  </a:cubicBezTo>
                  <a:cubicBezTo>
                    <a:pt x="14257" y="13260"/>
                    <a:pt x="14669" y="13312"/>
                    <a:pt x="14531" y="13415"/>
                  </a:cubicBezTo>
                  <a:cubicBezTo>
                    <a:pt x="14394" y="13518"/>
                    <a:pt x="14531" y="13415"/>
                    <a:pt x="14531" y="13501"/>
                  </a:cubicBezTo>
                  <a:cubicBezTo>
                    <a:pt x="14531" y="13587"/>
                    <a:pt x="14531" y="13501"/>
                    <a:pt x="14531" y="13621"/>
                  </a:cubicBezTo>
                  <a:lnTo>
                    <a:pt x="14634" y="13621"/>
                  </a:lnTo>
                  <a:cubicBezTo>
                    <a:pt x="14634" y="13707"/>
                    <a:pt x="14428" y="13879"/>
                    <a:pt x="14325" y="13844"/>
                  </a:cubicBezTo>
                  <a:cubicBezTo>
                    <a:pt x="14222" y="13810"/>
                    <a:pt x="14480" y="13844"/>
                    <a:pt x="14549" y="13844"/>
                  </a:cubicBezTo>
                  <a:cubicBezTo>
                    <a:pt x="14325" y="14050"/>
                    <a:pt x="14549" y="13844"/>
                    <a:pt x="14549" y="13844"/>
                  </a:cubicBezTo>
                  <a:cubicBezTo>
                    <a:pt x="14549" y="13844"/>
                    <a:pt x="14549" y="13844"/>
                    <a:pt x="14394" y="13999"/>
                  </a:cubicBezTo>
                  <a:cubicBezTo>
                    <a:pt x="14394" y="13999"/>
                    <a:pt x="14686" y="13810"/>
                    <a:pt x="14549" y="13999"/>
                  </a:cubicBezTo>
                  <a:lnTo>
                    <a:pt x="14549" y="13999"/>
                  </a:lnTo>
                  <a:cubicBezTo>
                    <a:pt x="14549" y="13999"/>
                    <a:pt x="14463" y="14102"/>
                    <a:pt x="14446" y="14153"/>
                  </a:cubicBezTo>
                  <a:cubicBezTo>
                    <a:pt x="14428" y="14205"/>
                    <a:pt x="14755" y="14153"/>
                    <a:pt x="14549" y="14153"/>
                  </a:cubicBezTo>
                  <a:cubicBezTo>
                    <a:pt x="14806" y="14342"/>
                    <a:pt x="14205" y="14239"/>
                    <a:pt x="14119" y="14360"/>
                  </a:cubicBezTo>
                  <a:cubicBezTo>
                    <a:pt x="14566" y="14360"/>
                    <a:pt x="13982" y="14360"/>
                    <a:pt x="13896" y="14497"/>
                  </a:cubicBezTo>
                  <a:cubicBezTo>
                    <a:pt x="13870" y="14437"/>
                    <a:pt x="13870" y="14368"/>
                    <a:pt x="13896" y="14308"/>
                  </a:cubicBezTo>
                  <a:cubicBezTo>
                    <a:pt x="13896" y="14445"/>
                    <a:pt x="13896" y="14531"/>
                    <a:pt x="13793" y="14634"/>
                  </a:cubicBezTo>
                  <a:cubicBezTo>
                    <a:pt x="13982" y="14634"/>
                    <a:pt x="14188" y="14342"/>
                    <a:pt x="14428" y="14411"/>
                  </a:cubicBezTo>
                  <a:cubicBezTo>
                    <a:pt x="14308" y="14257"/>
                    <a:pt x="14806" y="14411"/>
                    <a:pt x="14428" y="14617"/>
                  </a:cubicBezTo>
                  <a:cubicBezTo>
                    <a:pt x="14428" y="14617"/>
                    <a:pt x="14428" y="14617"/>
                    <a:pt x="14428" y="14617"/>
                  </a:cubicBezTo>
                  <a:cubicBezTo>
                    <a:pt x="14428" y="14617"/>
                    <a:pt x="14703" y="14463"/>
                    <a:pt x="14566" y="14617"/>
                  </a:cubicBezTo>
                  <a:cubicBezTo>
                    <a:pt x="14428" y="14772"/>
                    <a:pt x="14669" y="14617"/>
                    <a:pt x="14652" y="14617"/>
                  </a:cubicBezTo>
                  <a:cubicBezTo>
                    <a:pt x="14634" y="14617"/>
                    <a:pt x="14652" y="14789"/>
                    <a:pt x="14497" y="14772"/>
                  </a:cubicBezTo>
                  <a:cubicBezTo>
                    <a:pt x="14600" y="14772"/>
                    <a:pt x="14360" y="14995"/>
                    <a:pt x="14360" y="14875"/>
                  </a:cubicBezTo>
                  <a:cubicBezTo>
                    <a:pt x="14360" y="14755"/>
                    <a:pt x="14549" y="15047"/>
                    <a:pt x="14360" y="15012"/>
                  </a:cubicBezTo>
                  <a:cubicBezTo>
                    <a:pt x="14583" y="15115"/>
                    <a:pt x="13879" y="15407"/>
                    <a:pt x="13844" y="15287"/>
                  </a:cubicBezTo>
                  <a:cubicBezTo>
                    <a:pt x="13810" y="15167"/>
                    <a:pt x="13724" y="15287"/>
                    <a:pt x="13844" y="15287"/>
                  </a:cubicBezTo>
                  <a:cubicBezTo>
                    <a:pt x="13381" y="15682"/>
                    <a:pt x="13003" y="15734"/>
                    <a:pt x="12590" y="15407"/>
                  </a:cubicBezTo>
                  <a:cubicBezTo>
                    <a:pt x="12590" y="15407"/>
                    <a:pt x="12213" y="15407"/>
                    <a:pt x="12247" y="15253"/>
                  </a:cubicBezTo>
                  <a:cubicBezTo>
                    <a:pt x="11629" y="15631"/>
                    <a:pt x="11062" y="16026"/>
                    <a:pt x="10426" y="16369"/>
                  </a:cubicBezTo>
                  <a:cubicBezTo>
                    <a:pt x="10849" y="16193"/>
                    <a:pt x="11326" y="16193"/>
                    <a:pt x="11749" y="16369"/>
                  </a:cubicBezTo>
                  <a:cubicBezTo>
                    <a:pt x="11704" y="16429"/>
                    <a:pt x="11645" y="16477"/>
                    <a:pt x="11577" y="16507"/>
                  </a:cubicBezTo>
                  <a:cubicBezTo>
                    <a:pt x="11749" y="16507"/>
                    <a:pt x="11354" y="16885"/>
                    <a:pt x="11577" y="16936"/>
                  </a:cubicBezTo>
                  <a:cubicBezTo>
                    <a:pt x="11405" y="17022"/>
                    <a:pt x="11732" y="17262"/>
                    <a:pt x="11835" y="17125"/>
                  </a:cubicBezTo>
                  <a:cubicBezTo>
                    <a:pt x="11835" y="17125"/>
                    <a:pt x="11972" y="17262"/>
                    <a:pt x="11835" y="17245"/>
                  </a:cubicBezTo>
                  <a:cubicBezTo>
                    <a:pt x="12075" y="17245"/>
                    <a:pt x="11182" y="17520"/>
                    <a:pt x="11251" y="17365"/>
                  </a:cubicBezTo>
                  <a:cubicBezTo>
                    <a:pt x="11101" y="17505"/>
                    <a:pt x="10940" y="17631"/>
                    <a:pt x="10770" y="17743"/>
                  </a:cubicBezTo>
                  <a:lnTo>
                    <a:pt x="10770" y="17743"/>
                  </a:lnTo>
                  <a:cubicBezTo>
                    <a:pt x="10667" y="17743"/>
                    <a:pt x="10770" y="17589"/>
                    <a:pt x="10770" y="17640"/>
                  </a:cubicBezTo>
                  <a:cubicBezTo>
                    <a:pt x="10770" y="17417"/>
                    <a:pt x="11371" y="16988"/>
                    <a:pt x="11371" y="17280"/>
                  </a:cubicBezTo>
                  <a:cubicBezTo>
                    <a:pt x="11371" y="17177"/>
                    <a:pt x="11491" y="17280"/>
                    <a:pt x="11543" y="17194"/>
                  </a:cubicBezTo>
                  <a:cubicBezTo>
                    <a:pt x="11233" y="17073"/>
                    <a:pt x="11233" y="17194"/>
                    <a:pt x="11543" y="16970"/>
                  </a:cubicBezTo>
                  <a:lnTo>
                    <a:pt x="11543" y="16970"/>
                  </a:lnTo>
                  <a:lnTo>
                    <a:pt x="11543" y="16970"/>
                  </a:lnTo>
                  <a:cubicBezTo>
                    <a:pt x="11543" y="17073"/>
                    <a:pt x="11045" y="17245"/>
                    <a:pt x="11233" y="16970"/>
                  </a:cubicBezTo>
                  <a:cubicBezTo>
                    <a:pt x="11096" y="17125"/>
                    <a:pt x="11045" y="17073"/>
                    <a:pt x="10924" y="16970"/>
                  </a:cubicBezTo>
                  <a:cubicBezTo>
                    <a:pt x="10804" y="16867"/>
                    <a:pt x="10924" y="17091"/>
                    <a:pt x="10924" y="17159"/>
                  </a:cubicBezTo>
                  <a:cubicBezTo>
                    <a:pt x="10924" y="17228"/>
                    <a:pt x="10924" y="17331"/>
                    <a:pt x="10924" y="17159"/>
                  </a:cubicBezTo>
                  <a:cubicBezTo>
                    <a:pt x="10924" y="16988"/>
                    <a:pt x="10598" y="17314"/>
                    <a:pt x="10667" y="17159"/>
                  </a:cubicBezTo>
                  <a:cubicBezTo>
                    <a:pt x="10735" y="17005"/>
                    <a:pt x="10478" y="17245"/>
                    <a:pt x="10667" y="17159"/>
                  </a:cubicBezTo>
                  <a:cubicBezTo>
                    <a:pt x="10856" y="17073"/>
                    <a:pt x="10546" y="17297"/>
                    <a:pt x="10478" y="17331"/>
                  </a:cubicBezTo>
                  <a:lnTo>
                    <a:pt x="10478" y="17331"/>
                  </a:lnTo>
                  <a:cubicBezTo>
                    <a:pt x="10478" y="17331"/>
                    <a:pt x="10478" y="17417"/>
                    <a:pt x="10478" y="17331"/>
                  </a:cubicBezTo>
                  <a:cubicBezTo>
                    <a:pt x="10478" y="17245"/>
                    <a:pt x="10357" y="17469"/>
                    <a:pt x="10478" y="17331"/>
                  </a:cubicBezTo>
                  <a:cubicBezTo>
                    <a:pt x="10254" y="17331"/>
                    <a:pt x="9722" y="18345"/>
                    <a:pt x="10083" y="18001"/>
                  </a:cubicBezTo>
                  <a:cubicBezTo>
                    <a:pt x="10083" y="18138"/>
                    <a:pt x="9842" y="18327"/>
                    <a:pt x="9911" y="18087"/>
                  </a:cubicBezTo>
                  <a:cubicBezTo>
                    <a:pt x="9773" y="18259"/>
                    <a:pt x="9791" y="18241"/>
                    <a:pt x="9808" y="18087"/>
                  </a:cubicBezTo>
                  <a:cubicBezTo>
                    <a:pt x="9360" y="18252"/>
                    <a:pt x="8984" y="18568"/>
                    <a:pt x="8743" y="18980"/>
                  </a:cubicBezTo>
                  <a:lnTo>
                    <a:pt x="8743" y="18980"/>
                  </a:lnTo>
                  <a:lnTo>
                    <a:pt x="8743" y="18980"/>
                  </a:lnTo>
                  <a:cubicBezTo>
                    <a:pt x="8743" y="18980"/>
                    <a:pt x="8743" y="18825"/>
                    <a:pt x="8743" y="18740"/>
                  </a:cubicBezTo>
                  <a:cubicBezTo>
                    <a:pt x="8605" y="18980"/>
                    <a:pt x="8588" y="19289"/>
                    <a:pt x="8365" y="19495"/>
                  </a:cubicBezTo>
                  <a:lnTo>
                    <a:pt x="8365" y="19495"/>
                  </a:lnTo>
                  <a:lnTo>
                    <a:pt x="8262" y="19650"/>
                  </a:lnTo>
                  <a:cubicBezTo>
                    <a:pt x="8298" y="19536"/>
                    <a:pt x="8356" y="19431"/>
                    <a:pt x="8434" y="19341"/>
                  </a:cubicBezTo>
                  <a:cubicBezTo>
                    <a:pt x="8434" y="19341"/>
                    <a:pt x="8434" y="19255"/>
                    <a:pt x="8434" y="19221"/>
                  </a:cubicBezTo>
                  <a:lnTo>
                    <a:pt x="8434" y="19221"/>
                  </a:lnTo>
                  <a:cubicBezTo>
                    <a:pt x="8434" y="19014"/>
                    <a:pt x="8605" y="18860"/>
                    <a:pt x="8674" y="18671"/>
                  </a:cubicBezTo>
                  <a:cubicBezTo>
                    <a:pt x="8545" y="18838"/>
                    <a:pt x="8441" y="19023"/>
                    <a:pt x="8365" y="19221"/>
                  </a:cubicBezTo>
                  <a:cubicBezTo>
                    <a:pt x="8365" y="19117"/>
                    <a:pt x="8365" y="19032"/>
                    <a:pt x="8365" y="18929"/>
                  </a:cubicBezTo>
                  <a:cubicBezTo>
                    <a:pt x="8365" y="18825"/>
                    <a:pt x="8365" y="19581"/>
                    <a:pt x="8365" y="19324"/>
                  </a:cubicBezTo>
                  <a:cubicBezTo>
                    <a:pt x="8365" y="19324"/>
                    <a:pt x="8365" y="19598"/>
                    <a:pt x="8365" y="19530"/>
                  </a:cubicBezTo>
                  <a:cubicBezTo>
                    <a:pt x="8365" y="19461"/>
                    <a:pt x="8365" y="19616"/>
                    <a:pt x="8365" y="19650"/>
                  </a:cubicBezTo>
                  <a:cubicBezTo>
                    <a:pt x="8374" y="19605"/>
                    <a:pt x="8374" y="19558"/>
                    <a:pt x="8365" y="19513"/>
                  </a:cubicBezTo>
                  <a:cubicBezTo>
                    <a:pt x="8365" y="19650"/>
                    <a:pt x="8502" y="19719"/>
                    <a:pt x="8365" y="19856"/>
                  </a:cubicBezTo>
                  <a:lnTo>
                    <a:pt x="8365" y="19856"/>
                  </a:lnTo>
                  <a:cubicBezTo>
                    <a:pt x="8365" y="19993"/>
                    <a:pt x="8176" y="20148"/>
                    <a:pt x="8210" y="19976"/>
                  </a:cubicBezTo>
                  <a:cubicBezTo>
                    <a:pt x="8245" y="19805"/>
                    <a:pt x="8210" y="20079"/>
                    <a:pt x="8210" y="20097"/>
                  </a:cubicBezTo>
                  <a:cubicBezTo>
                    <a:pt x="8210" y="20114"/>
                    <a:pt x="8296" y="20097"/>
                    <a:pt x="8313" y="20234"/>
                  </a:cubicBezTo>
                  <a:cubicBezTo>
                    <a:pt x="8304" y="20200"/>
                    <a:pt x="8304" y="20165"/>
                    <a:pt x="8313" y="20131"/>
                  </a:cubicBezTo>
                  <a:cubicBezTo>
                    <a:pt x="8313" y="20234"/>
                    <a:pt x="8313" y="20285"/>
                    <a:pt x="8176" y="20354"/>
                  </a:cubicBezTo>
                  <a:cubicBezTo>
                    <a:pt x="8039" y="20423"/>
                    <a:pt x="8176" y="20354"/>
                    <a:pt x="8176" y="20251"/>
                  </a:cubicBezTo>
                  <a:cubicBezTo>
                    <a:pt x="8176" y="20148"/>
                    <a:pt x="8176" y="20251"/>
                    <a:pt x="8176" y="20251"/>
                  </a:cubicBezTo>
                  <a:cubicBezTo>
                    <a:pt x="8176" y="20251"/>
                    <a:pt x="8176" y="20474"/>
                    <a:pt x="8176" y="20389"/>
                  </a:cubicBezTo>
                  <a:lnTo>
                    <a:pt x="8176" y="20389"/>
                  </a:lnTo>
                  <a:lnTo>
                    <a:pt x="8176" y="20389"/>
                  </a:lnTo>
                  <a:lnTo>
                    <a:pt x="8176" y="20389"/>
                  </a:lnTo>
                  <a:cubicBezTo>
                    <a:pt x="6991" y="20389"/>
                    <a:pt x="6458" y="24992"/>
                    <a:pt x="6579" y="22982"/>
                  </a:cubicBezTo>
                  <a:cubicBezTo>
                    <a:pt x="6579" y="22982"/>
                    <a:pt x="6579" y="22982"/>
                    <a:pt x="6579" y="22982"/>
                  </a:cubicBezTo>
                  <a:cubicBezTo>
                    <a:pt x="6579" y="22982"/>
                    <a:pt x="6579" y="22982"/>
                    <a:pt x="6579" y="22982"/>
                  </a:cubicBezTo>
                  <a:lnTo>
                    <a:pt x="6579" y="22982"/>
                  </a:lnTo>
                  <a:cubicBezTo>
                    <a:pt x="6579" y="22879"/>
                    <a:pt x="6579" y="22707"/>
                    <a:pt x="6579" y="22604"/>
                  </a:cubicBezTo>
                  <a:cubicBezTo>
                    <a:pt x="6579" y="22501"/>
                    <a:pt x="6579" y="22604"/>
                    <a:pt x="6579" y="22707"/>
                  </a:cubicBezTo>
                  <a:cubicBezTo>
                    <a:pt x="6579" y="22810"/>
                    <a:pt x="6853" y="21780"/>
                    <a:pt x="6579" y="21745"/>
                  </a:cubicBezTo>
                  <a:cubicBezTo>
                    <a:pt x="6304" y="21711"/>
                    <a:pt x="6476" y="21849"/>
                    <a:pt x="6579" y="21745"/>
                  </a:cubicBezTo>
                  <a:lnTo>
                    <a:pt x="6579" y="21745"/>
                  </a:lnTo>
                  <a:lnTo>
                    <a:pt x="6579" y="21745"/>
                  </a:lnTo>
                  <a:cubicBezTo>
                    <a:pt x="6579" y="21745"/>
                    <a:pt x="6579" y="21574"/>
                    <a:pt x="6579" y="21642"/>
                  </a:cubicBezTo>
                  <a:cubicBezTo>
                    <a:pt x="6587" y="21603"/>
                    <a:pt x="6587" y="21562"/>
                    <a:pt x="6579" y="21522"/>
                  </a:cubicBezTo>
                  <a:lnTo>
                    <a:pt x="6579" y="21522"/>
                  </a:lnTo>
                  <a:cubicBezTo>
                    <a:pt x="6579" y="21522"/>
                    <a:pt x="6579" y="21436"/>
                    <a:pt x="6579" y="21385"/>
                  </a:cubicBezTo>
                  <a:lnTo>
                    <a:pt x="6579" y="21385"/>
                  </a:lnTo>
                  <a:cubicBezTo>
                    <a:pt x="6579" y="21385"/>
                    <a:pt x="6579" y="21385"/>
                    <a:pt x="6579" y="21385"/>
                  </a:cubicBezTo>
                  <a:cubicBezTo>
                    <a:pt x="6579" y="21385"/>
                    <a:pt x="6579" y="21385"/>
                    <a:pt x="6579" y="21385"/>
                  </a:cubicBezTo>
                  <a:cubicBezTo>
                    <a:pt x="6579" y="21385"/>
                    <a:pt x="6579" y="21282"/>
                    <a:pt x="6579" y="21230"/>
                  </a:cubicBezTo>
                  <a:lnTo>
                    <a:pt x="6579" y="21333"/>
                  </a:lnTo>
                  <a:cubicBezTo>
                    <a:pt x="6579" y="21230"/>
                    <a:pt x="6390" y="21333"/>
                    <a:pt x="6373" y="21453"/>
                  </a:cubicBezTo>
                  <a:lnTo>
                    <a:pt x="6373" y="21453"/>
                  </a:lnTo>
                  <a:cubicBezTo>
                    <a:pt x="6373" y="21642"/>
                    <a:pt x="6373" y="21763"/>
                    <a:pt x="6373" y="21849"/>
                  </a:cubicBezTo>
                  <a:cubicBezTo>
                    <a:pt x="6373" y="21934"/>
                    <a:pt x="6373" y="21471"/>
                    <a:pt x="6373" y="21763"/>
                  </a:cubicBezTo>
                  <a:lnTo>
                    <a:pt x="6373" y="21660"/>
                  </a:lnTo>
                  <a:cubicBezTo>
                    <a:pt x="6373" y="21539"/>
                    <a:pt x="6373" y="21471"/>
                    <a:pt x="6373" y="21350"/>
                  </a:cubicBezTo>
                  <a:cubicBezTo>
                    <a:pt x="6373" y="21230"/>
                    <a:pt x="6373" y="21350"/>
                    <a:pt x="6373" y="21350"/>
                  </a:cubicBezTo>
                  <a:cubicBezTo>
                    <a:pt x="6373" y="21591"/>
                    <a:pt x="6373" y="21076"/>
                    <a:pt x="6184" y="21350"/>
                  </a:cubicBezTo>
                  <a:cubicBezTo>
                    <a:pt x="6184" y="21350"/>
                    <a:pt x="6184" y="21196"/>
                    <a:pt x="6184" y="21127"/>
                  </a:cubicBezTo>
                  <a:cubicBezTo>
                    <a:pt x="6184" y="21058"/>
                    <a:pt x="6184" y="21247"/>
                    <a:pt x="6184" y="21127"/>
                  </a:cubicBezTo>
                  <a:cubicBezTo>
                    <a:pt x="6193" y="21213"/>
                    <a:pt x="6193" y="21299"/>
                    <a:pt x="6184" y="21385"/>
                  </a:cubicBezTo>
                  <a:lnTo>
                    <a:pt x="6184" y="21385"/>
                  </a:lnTo>
                  <a:lnTo>
                    <a:pt x="6184" y="21505"/>
                  </a:lnTo>
                  <a:lnTo>
                    <a:pt x="6184" y="21505"/>
                  </a:lnTo>
                  <a:cubicBezTo>
                    <a:pt x="6184" y="21591"/>
                    <a:pt x="6184" y="21505"/>
                    <a:pt x="6184" y="21505"/>
                  </a:cubicBezTo>
                  <a:lnTo>
                    <a:pt x="6184" y="21505"/>
                  </a:lnTo>
                  <a:cubicBezTo>
                    <a:pt x="6184" y="21505"/>
                    <a:pt x="6184" y="21505"/>
                    <a:pt x="6184" y="21505"/>
                  </a:cubicBezTo>
                  <a:lnTo>
                    <a:pt x="6184" y="21505"/>
                  </a:lnTo>
                  <a:cubicBezTo>
                    <a:pt x="6184" y="21505"/>
                    <a:pt x="6184" y="21608"/>
                    <a:pt x="6184" y="21608"/>
                  </a:cubicBezTo>
                  <a:lnTo>
                    <a:pt x="6184" y="21608"/>
                  </a:lnTo>
                  <a:cubicBezTo>
                    <a:pt x="6085" y="21918"/>
                    <a:pt x="6005" y="22233"/>
                    <a:pt x="5943" y="22553"/>
                  </a:cubicBezTo>
                  <a:cubicBezTo>
                    <a:pt x="5943" y="22553"/>
                    <a:pt x="5943" y="22433"/>
                    <a:pt x="5943" y="22398"/>
                  </a:cubicBezTo>
                  <a:cubicBezTo>
                    <a:pt x="5943" y="22364"/>
                    <a:pt x="5840" y="22862"/>
                    <a:pt x="5943" y="22621"/>
                  </a:cubicBezTo>
                  <a:cubicBezTo>
                    <a:pt x="5838" y="23115"/>
                    <a:pt x="5758" y="23614"/>
                    <a:pt x="5703" y="24116"/>
                  </a:cubicBezTo>
                  <a:cubicBezTo>
                    <a:pt x="5668" y="24579"/>
                    <a:pt x="5668" y="25044"/>
                    <a:pt x="5703" y="25507"/>
                  </a:cubicBezTo>
                  <a:cubicBezTo>
                    <a:pt x="5703" y="25507"/>
                    <a:pt x="5703" y="25507"/>
                    <a:pt x="5703" y="25507"/>
                  </a:cubicBezTo>
                  <a:cubicBezTo>
                    <a:pt x="5709" y="25479"/>
                    <a:pt x="5709" y="25449"/>
                    <a:pt x="5703" y="25421"/>
                  </a:cubicBezTo>
                  <a:lnTo>
                    <a:pt x="5703" y="25421"/>
                  </a:lnTo>
                  <a:cubicBezTo>
                    <a:pt x="5703" y="25421"/>
                    <a:pt x="5703" y="25421"/>
                    <a:pt x="5703" y="25421"/>
                  </a:cubicBezTo>
                  <a:lnTo>
                    <a:pt x="5703" y="25421"/>
                  </a:lnTo>
                  <a:cubicBezTo>
                    <a:pt x="5703" y="25421"/>
                    <a:pt x="5703" y="25559"/>
                    <a:pt x="5703" y="25627"/>
                  </a:cubicBezTo>
                  <a:lnTo>
                    <a:pt x="5703" y="25627"/>
                  </a:lnTo>
                  <a:lnTo>
                    <a:pt x="5703" y="25627"/>
                  </a:lnTo>
                  <a:cubicBezTo>
                    <a:pt x="5711" y="25553"/>
                    <a:pt x="5711" y="25478"/>
                    <a:pt x="5703" y="25404"/>
                  </a:cubicBezTo>
                  <a:lnTo>
                    <a:pt x="5703" y="25404"/>
                  </a:lnTo>
                  <a:cubicBezTo>
                    <a:pt x="5857" y="25249"/>
                    <a:pt x="5703" y="24511"/>
                    <a:pt x="5995" y="24665"/>
                  </a:cubicBezTo>
                  <a:cubicBezTo>
                    <a:pt x="5995" y="24665"/>
                    <a:pt x="5995" y="24562"/>
                    <a:pt x="5995" y="24665"/>
                  </a:cubicBezTo>
                  <a:cubicBezTo>
                    <a:pt x="5995" y="24769"/>
                    <a:pt x="5995" y="24665"/>
                    <a:pt x="5995" y="24665"/>
                  </a:cubicBezTo>
                  <a:cubicBezTo>
                    <a:pt x="5995" y="24665"/>
                    <a:pt x="5995" y="24820"/>
                    <a:pt x="5995" y="24665"/>
                  </a:cubicBezTo>
                  <a:cubicBezTo>
                    <a:pt x="6098" y="24957"/>
                    <a:pt x="5806" y="25284"/>
                    <a:pt x="5857" y="25593"/>
                  </a:cubicBezTo>
                  <a:cubicBezTo>
                    <a:pt x="5857" y="25593"/>
                    <a:pt x="5857" y="25868"/>
                    <a:pt x="5857" y="25919"/>
                  </a:cubicBezTo>
                  <a:cubicBezTo>
                    <a:pt x="5814" y="26294"/>
                    <a:pt x="5476" y="26563"/>
                    <a:pt x="5101" y="26521"/>
                  </a:cubicBezTo>
                  <a:cubicBezTo>
                    <a:pt x="4727" y="26478"/>
                    <a:pt x="4457" y="26140"/>
                    <a:pt x="4500" y="25765"/>
                  </a:cubicBezTo>
                  <a:cubicBezTo>
                    <a:pt x="4500" y="25954"/>
                    <a:pt x="4500" y="26349"/>
                    <a:pt x="4397" y="26658"/>
                  </a:cubicBezTo>
                  <a:lnTo>
                    <a:pt x="4397" y="26658"/>
                  </a:lnTo>
                  <a:cubicBezTo>
                    <a:pt x="4380" y="26726"/>
                    <a:pt x="4380" y="26796"/>
                    <a:pt x="4397" y="26864"/>
                  </a:cubicBezTo>
                  <a:lnTo>
                    <a:pt x="4397" y="26864"/>
                  </a:lnTo>
                  <a:cubicBezTo>
                    <a:pt x="4397" y="26864"/>
                    <a:pt x="4397" y="26864"/>
                    <a:pt x="4397" y="26950"/>
                  </a:cubicBezTo>
                  <a:cubicBezTo>
                    <a:pt x="4397" y="27036"/>
                    <a:pt x="4603" y="27139"/>
                    <a:pt x="4586" y="26950"/>
                  </a:cubicBezTo>
                  <a:cubicBezTo>
                    <a:pt x="4586" y="27053"/>
                    <a:pt x="4586" y="27105"/>
                    <a:pt x="4724" y="27190"/>
                  </a:cubicBezTo>
                  <a:lnTo>
                    <a:pt x="4724" y="27190"/>
                  </a:lnTo>
                  <a:cubicBezTo>
                    <a:pt x="4738" y="27241"/>
                    <a:pt x="4738" y="27295"/>
                    <a:pt x="4724" y="27345"/>
                  </a:cubicBezTo>
                  <a:cubicBezTo>
                    <a:pt x="4724" y="27208"/>
                    <a:pt x="4724" y="27345"/>
                    <a:pt x="4724" y="27448"/>
                  </a:cubicBezTo>
                  <a:lnTo>
                    <a:pt x="4724" y="27448"/>
                  </a:lnTo>
                  <a:cubicBezTo>
                    <a:pt x="4767" y="27681"/>
                    <a:pt x="4767" y="27920"/>
                    <a:pt x="4724" y="28152"/>
                  </a:cubicBezTo>
                  <a:lnTo>
                    <a:pt x="4724" y="28152"/>
                  </a:lnTo>
                  <a:cubicBezTo>
                    <a:pt x="4732" y="28307"/>
                    <a:pt x="4732" y="28462"/>
                    <a:pt x="4724" y="28616"/>
                  </a:cubicBezTo>
                  <a:cubicBezTo>
                    <a:pt x="4724" y="28616"/>
                    <a:pt x="4724" y="28513"/>
                    <a:pt x="4724" y="28444"/>
                  </a:cubicBezTo>
                  <a:cubicBezTo>
                    <a:pt x="4715" y="28564"/>
                    <a:pt x="4715" y="28685"/>
                    <a:pt x="4724" y="28805"/>
                  </a:cubicBezTo>
                  <a:cubicBezTo>
                    <a:pt x="4734" y="28777"/>
                    <a:pt x="4734" y="28747"/>
                    <a:pt x="4724" y="28719"/>
                  </a:cubicBezTo>
                  <a:cubicBezTo>
                    <a:pt x="4697" y="28861"/>
                    <a:pt x="4697" y="29007"/>
                    <a:pt x="4724" y="29149"/>
                  </a:cubicBezTo>
                  <a:cubicBezTo>
                    <a:pt x="4724" y="29063"/>
                    <a:pt x="4947" y="30042"/>
                    <a:pt x="4930" y="29733"/>
                  </a:cubicBezTo>
                  <a:cubicBezTo>
                    <a:pt x="5136" y="30265"/>
                    <a:pt x="5170" y="29131"/>
                    <a:pt x="5634" y="30471"/>
                  </a:cubicBezTo>
                  <a:cubicBezTo>
                    <a:pt x="5634" y="30368"/>
                    <a:pt x="5634" y="29337"/>
                    <a:pt x="5960" y="29595"/>
                  </a:cubicBezTo>
                  <a:cubicBezTo>
                    <a:pt x="5960" y="29818"/>
                    <a:pt x="5960" y="29595"/>
                    <a:pt x="5960" y="29475"/>
                  </a:cubicBezTo>
                  <a:cubicBezTo>
                    <a:pt x="5960" y="29355"/>
                    <a:pt x="6252" y="29303"/>
                    <a:pt x="6355" y="29234"/>
                  </a:cubicBezTo>
                  <a:cubicBezTo>
                    <a:pt x="6476" y="29458"/>
                    <a:pt x="6355" y="29836"/>
                    <a:pt x="6355" y="30145"/>
                  </a:cubicBezTo>
                  <a:cubicBezTo>
                    <a:pt x="6630" y="30901"/>
                    <a:pt x="6355" y="29681"/>
                    <a:pt x="6665" y="29664"/>
                  </a:cubicBezTo>
                  <a:cubicBezTo>
                    <a:pt x="6974" y="29647"/>
                    <a:pt x="6527" y="29544"/>
                    <a:pt x="6665" y="29441"/>
                  </a:cubicBezTo>
                  <a:cubicBezTo>
                    <a:pt x="6802" y="29337"/>
                    <a:pt x="6665" y="29664"/>
                    <a:pt x="6785" y="29733"/>
                  </a:cubicBezTo>
                  <a:cubicBezTo>
                    <a:pt x="6933" y="29741"/>
                    <a:pt x="7051" y="29859"/>
                    <a:pt x="7060" y="30007"/>
                  </a:cubicBezTo>
                  <a:cubicBezTo>
                    <a:pt x="6939" y="30213"/>
                    <a:pt x="7352" y="30145"/>
                    <a:pt x="7472" y="30196"/>
                  </a:cubicBezTo>
                  <a:cubicBezTo>
                    <a:pt x="7558" y="30660"/>
                    <a:pt x="8090" y="30042"/>
                    <a:pt x="8262" y="30402"/>
                  </a:cubicBezTo>
                  <a:cubicBezTo>
                    <a:pt x="8004" y="30402"/>
                    <a:pt x="8073" y="30402"/>
                    <a:pt x="8262" y="30643"/>
                  </a:cubicBezTo>
                  <a:cubicBezTo>
                    <a:pt x="8262" y="30471"/>
                    <a:pt x="8863" y="31107"/>
                    <a:pt x="8434" y="31107"/>
                  </a:cubicBezTo>
                  <a:cubicBezTo>
                    <a:pt x="8885" y="31152"/>
                    <a:pt x="9220" y="31547"/>
                    <a:pt x="9189" y="32000"/>
                  </a:cubicBezTo>
                  <a:cubicBezTo>
                    <a:pt x="9189" y="31673"/>
                    <a:pt x="9550" y="32154"/>
                    <a:pt x="9550" y="32309"/>
                  </a:cubicBezTo>
                  <a:cubicBezTo>
                    <a:pt x="9464" y="32103"/>
                    <a:pt x="10461" y="32309"/>
                    <a:pt x="10220" y="32532"/>
                  </a:cubicBezTo>
                  <a:cubicBezTo>
                    <a:pt x="10443" y="32361"/>
                    <a:pt x="10976" y="33030"/>
                    <a:pt x="10856" y="33151"/>
                  </a:cubicBezTo>
                  <a:cubicBezTo>
                    <a:pt x="11010" y="32893"/>
                    <a:pt x="11130" y="33735"/>
                    <a:pt x="11302" y="33924"/>
                  </a:cubicBezTo>
                  <a:cubicBezTo>
                    <a:pt x="11474" y="34113"/>
                    <a:pt x="10976" y="34559"/>
                    <a:pt x="11045" y="34868"/>
                  </a:cubicBezTo>
                  <a:cubicBezTo>
                    <a:pt x="11045" y="34611"/>
                    <a:pt x="11233" y="34628"/>
                    <a:pt x="11148" y="34868"/>
                  </a:cubicBezTo>
                  <a:cubicBezTo>
                    <a:pt x="11148" y="34868"/>
                    <a:pt x="11268" y="34559"/>
                    <a:pt x="11337" y="34731"/>
                  </a:cubicBezTo>
                  <a:cubicBezTo>
                    <a:pt x="11405" y="34903"/>
                    <a:pt x="11337" y="34731"/>
                    <a:pt x="11337" y="34731"/>
                  </a:cubicBezTo>
                  <a:cubicBezTo>
                    <a:pt x="11337" y="34216"/>
                    <a:pt x="12401" y="35143"/>
                    <a:pt x="11337" y="35092"/>
                  </a:cubicBezTo>
                  <a:cubicBezTo>
                    <a:pt x="11749" y="35092"/>
                    <a:pt x="11543" y="35315"/>
                    <a:pt x="11680" y="35624"/>
                  </a:cubicBezTo>
                  <a:cubicBezTo>
                    <a:pt x="11543" y="35074"/>
                    <a:pt x="12075" y="34576"/>
                    <a:pt x="12419" y="35074"/>
                  </a:cubicBezTo>
                  <a:cubicBezTo>
                    <a:pt x="12419" y="35074"/>
                    <a:pt x="12608" y="35177"/>
                    <a:pt x="12642" y="35263"/>
                  </a:cubicBezTo>
                  <a:cubicBezTo>
                    <a:pt x="12676" y="35349"/>
                    <a:pt x="12986" y="35366"/>
                    <a:pt x="12882" y="35469"/>
                  </a:cubicBezTo>
                  <a:cubicBezTo>
                    <a:pt x="12779" y="35573"/>
                    <a:pt x="12882" y="35727"/>
                    <a:pt x="12968" y="35830"/>
                  </a:cubicBezTo>
                  <a:cubicBezTo>
                    <a:pt x="13054" y="35933"/>
                    <a:pt x="12968" y="35487"/>
                    <a:pt x="12968" y="35710"/>
                  </a:cubicBezTo>
                  <a:cubicBezTo>
                    <a:pt x="12968" y="35555"/>
                    <a:pt x="13106" y="35607"/>
                    <a:pt x="12968" y="35504"/>
                  </a:cubicBezTo>
                  <a:cubicBezTo>
                    <a:pt x="12831" y="35401"/>
                    <a:pt x="13363" y="35761"/>
                    <a:pt x="13363" y="35641"/>
                  </a:cubicBezTo>
                  <a:cubicBezTo>
                    <a:pt x="13363" y="35521"/>
                    <a:pt x="13363" y="35641"/>
                    <a:pt x="13466" y="35744"/>
                  </a:cubicBezTo>
                  <a:cubicBezTo>
                    <a:pt x="13569" y="35847"/>
                    <a:pt x="13466" y="35744"/>
                    <a:pt x="13466" y="35744"/>
                  </a:cubicBezTo>
                  <a:lnTo>
                    <a:pt x="13466" y="35744"/>
                  </a:lnTo>
                  <a:lnTo>
                    <a:pt x="13466" y="35744"/>
                  </a:lnTo>
                  <a:cubicBezTo>
                    <a:pt x="14841" y="36157"/>
                    <a:pt x="16438" y="37462"/>
                    <a:pt x="14926" y="38922"/>
                  </a:cubicBezTo>
                  <a:cubicBezTo>
                    <a:pt x="14926" y="38836"/>
                    <a:pt x="14926" y="38682"/>
                    <a:pt x="14926" y="38819"/>
                  </a:cubicBezTo>
                  <a:cubicBezTo>
                    <a:pt x="14926" y="38956"/>
                    <a:pt x="14823" y="38819"/>
                    <a:pt x="14806" y="38819"/>
                  </a:cubicBezTo>
                  <a:lnTo>
                    <a:pt x="14806" y="38819"/>
                  </a:lnTo>
                  <a:cubicBezTo>
                    <a:pt x="15133" y="39386"/>
                    <a:pt x="15717" y="41619"/>
                    <a:pt x="14806" y="41447"/>
                  </a:cubicBezTo>
                  <a:cubicBezTo>
                    <a:pt x="14806" y="41447"/>
                    <a:pt x="14514" y="41447"/>
                    <a:pt x="14806" y="41447"/>
                  </a:cubicBezTo>
                  <a:cubicBezTo>
                    <a:pt x="15098" y="41447"/>
                    <a:pt x="14652" y="41447"/>
                    <a:pt x="14600" y="41447"/>
                  </a:cubicBezTo>
                  <a:cubicBezTo>
                    <a:pt x="14549" y="41447"/>
                    <a:pt x="14600" y="41533"/>
                    <a:pt x="14600" y="41687"/>
                  </a:cubicBezTo>
                  <a:cubicBezTo>
                    <a:pt x="14360" y="41498"/>
                    <a:pt x="14257" y="41997"/>
                    <a:pt x="14154" y="41962"/>
                  </a:cubicBezTo>
                  <a:cubicBezTo>
                    <a:pt x="14050" y="41928"/>
                    <a:pt x="14154" y="41962"/>
                    <a:pt x="14154" y="41962"/>
                  </a:cubicBezTo>
                  <a:cubicBezTo>
                    <a:pt x="14154" y="41962"/>
                    <a:pt x="14291" y="42048"/>
                    <a:pt x="14154" y="42048"/>
                  </a:cubicBezTo>
                  <a:cubicBezTo>
                    <a:pt x="14016" y="42048"/>
                    <a:pt x="14154" y="42048"/>
                    <a:pt x="14154" y="42048"/>
                  </a:cubicBezTo>
                  <a:cubicBezTo>
                    <a:pt x="14154" y="42048"/>
                    <a:pt x="14446" y="42426"/>
                    <a:pt x="14411" y="42529"/>
                  </a:cubicBezTo>
                  <a:cubicBezTo>
                    <a:pt x="14377" y="42632"/>
                    <a:pt x="14411" y="43697"/>
                    <a:pt x="14411" y="43336"/>
                  </a:cubicBezTo>
                  <a:cubicBezTo>
                    <a:pt x="14411" y="43336"/>
                    <a:pt x="14411" y="43336"/>
                    <a:pt x="14411" y="43250"/>
                  </a:cubicBezTo>
                  <a:cubicBezTo>
                    <a:pt x="14411" y="43165"/>
                    <a:pt x="14411" y="43113"/>
                    <a:pt x="14411" y="43113"/>
                  </a:cubicBezTo>
                  <a:cubicBezTo>
                    <a:pt x="14338" y="43042"/>
                    <a:pt x="14257" y="42979"/>
                    <a:pt x="14171" y="42924"/>
                  </a:cubicBezTo>
                  <a:cubicBezTo>
                    <a:pt x="14231" y="42979"/>
                    <a:pt x="14283" y="43043"/>
                    <a:pt x="14325" y="43113"/>
                  </a:cubicBezTo>
                  <a:cubicBezTo>
                    <a:pt x="14325" y="43113"/>
                    <a:pt x="14446" y="43354"/>
                    <a:pt x="14325" y="43250"/>
                  </a:cubicBezTo>
                  <a:cubicBezTo>
                    <a:pt x="14858" y="44041"/>
                    <a:pt x="14325" y="44264"/>
                    <a:pt x="13844" y="43817"/>
                  </a:cubicBezTo>
                  <a:lnTo>
                    <a:pt x="14549" y="44418"/>
                  </a:lnTo>
                  <a:lnTo>
                    <a:pt x="14549" y="44418"/>
                  </a:lnTo>
                  <a:cubicBezTo>
                    <a:pt x="14637" y="44494"/>
                    <a:pt x="14707" y="44587"/>
                    <a:pt x="14755" y="44693"/>
                  </a:cubicBezTo>
                  <a:lnTo>
                    <a:pt x="14755" y="44693"/>
                  </a:lnTo>
                  <a:cubicBezTo>
                    <a:pt x="14755" y="44693"/>
                    <a:pt x="14944" y="44951"/>
                    <a:pt x="14755" y="44882"/>
                  </a:cubicBezTo>
                  <a:cubicBezTo>
                    <a:pt x="14566" y="44814"/>
                    <a:pt x="14394" y="44882"/>
                    <a:pt x="14291" y="44882"/>
                  </a:cubicBezTo>
                  <a:cubicBezTo>
                    <a:pt x="14188" y="44882"/>
                    <a:pt x="14480" y="45037"/>
                    <a:pt x="14566" y="45123"/>
                  </a:cubicBezTo>
                  <a:lnTo>
                    <a:pt x="14566" y="45123"/>
                  </a:lnTo>
                  <a:cubicBezTo>
                    <a:pt x="14909" y="45466"/>
                    <a:pt x="14995" y="45569"/>
                    <a:pt x="14463" y="45294"/>
                  </a:cubicBezTo>
                  <a:cubicBezTo>
                    <a:pt x="14621" y="45462"/>
                    <a:pt x="14807" y="45602"/>
                    <a:pt x="15012" y="45707"/>
                  </a:cubicBezTo>
                  <a:cubicBezTo>
                    <a:pt x="15012" y="45707"/>
                    <a:pt x="15012" y="45707"/>
                    <a:pt x="15012" y="45707"/>
                  </a:cubicBezTo>
                  <a:lnTo>
                    <a:pt x="15012" y="45707"/>
                  </a:lnTo>
                  <a:cubicBezTo>
                    <a:pt x="15304" y="45930"/>
                    <a:pt x="15133" y="45947"/>
                    <a:pt x="15717" y="46359"/>
                  </a:cubicBezTo>
                  <a:lnTo>
                    <a:pt x="15717" y="46359"/>
                  </a:lnTo>
                  <a:lnTo>
                    <a:pt x="15717" y="46359"/>
                  </a:lnTo>
                  <a:lnTo>
                    <a:pt x="15717" y="46359"/>
                  </a:lnTo>
                  <a:cubicBezTo>
                    <a:pt x="15991" y="46669"/>
                    <a:pt x="16438" y="46737"/>
                    <a:pt x="16730" y="47012"/>
                  </a:cubicBezTo>
                  <a:lnTo>
                    <a:pt x="16730" y="47012"/>
                  </a:lnTo>
                  <a:lnTo>
                    <a:pt x="16730" y="47012"/>
                  </a:lnTo>
                  <a:lnTo>
                    <a:pt x="16730" y="47012"/>
                  </a:lnTo>
                  <a:lnTo>
                    <a:pt x="16885" y="47132"/>
                  </a:lnTo>
                  <a:lnTo>
                    <a:pt x="16885" y="47132"/>
                  </a:lnTo>
                  <a:lnTo>
                    <a:pt x="17091" y="47270"/>
                  </a:lnTo>
                  <a:cubicBezTo>
                    <a:pt x="17091" y="47270"/>
                    <a:pt x="17091" y="47270"/>
                    <a:pt x="16988" y="47270"/>
                  </a:cubicBezTo>
                  <a:cubicBezTo>
                    <a:pt x="17278" y="47454"/>
                    <a:pt x="17582" y="47614"/>
                    <a:pt x="17898" y="47751"/>
                  </a:cubicBezTo>
                  <a:lnTo>
                    <a:pt x="17898" y="47751"/>
                  </a:lnTo>
                  <a:cubicBezTo>
                    <a:pt x="17795" y="47751"/>
                    <a:pt x="17898" y="47751"/>
                    <a:pt x="17898" y="47751"/>
                  </a:cubicBezTo>
                  <a:lnTo>
                    <a:pt x="17898" y="47751"/>
                  </a:lnTo>
                  <a:cubicBezTo>
                    <a:pt x="18059" y="47847"/>
                    <a:pt x="18225" y="47933"/>
                    <a:pt x="18396" y="48008"/>
                  </a:cubicBezTo>
                  <a:lnTo>
                    <a:pt x="18173" y="48008"/>
                  </a:lnTo>
                  <a:close/>
                  <a:moveTo>
                    <a:pt x="20560" y="10117"/>
                  </a:moveTo>
                  <a:cubicBezTo>
                    <a:pt x="20286" y="10409"/>
                    <a:pt x="20560" y="10014"/>
                    <a:pt x="20560" y="9980"/>
                  </a:cubicBezTo>
                  <a:cubicBezTo>
                    <a:pt x="20560" y="9945"/>
                    <a:pt x="20423" y="10134"/>
                    <a:pt x="20286" y="10323"/>
                  </a:cubicBezTo>
                  <a:cubicBezTo>
                    <a:pt x="19822" y="10083"/>
                    <a:pt x="19581" y="10976"/>
                    <a:pt x="19289" y="10907"/>
                  </a:cubicBezTo>
                  <a:cubicBezTo>
                    <a:pt x="19530" y="11165"/>
                    <a:pt x="19100" y="10907"/>
                    <a:pt x="19152" y="11165"/>
                  </a:cubicBezTo>
                  <a:cubicBezTo>
                    <a:pt x="19014" y="10959"/>
                    <a:pt x="19152" y="11165"/>
                    <a:pt x="19152" y="11165"/>
                  </a:cubicBezTo>
                  <a:cubicBezTo>
                    <a:pt x="19152" y="10907"/>
                    <a:pt x="19152" y="11457"/>
                    <a:pt x="18997" y="11165"/>
                  </a:cubicBezTo>
                  <a:cubicBezTo>
                    <a:pt x="18688" y="11165"/>
                    <a:pt x="18997" y="11577"/>
                    <a:pt x="18585" y="11577"/>
                  </a:cubicBezTo>
                  <a:cubicBezTo>
                    <a:pt x="18585" y="11577"/>
                    <a:pt x="18327" y="12024"/>
                    <a:pt x="18259" y="11903"/>
                  </a:cubicBezTo>
                  <a:cubicBezTo>
                    <a:pt x="18190" y="11783"/>
                    <a:pt x="17846" y="12453"/>
                    <a:pt x="18001" y="12109"/>
                  </a:cubicBezTo>
                  <a:cubicBezTo>
                    <a:pt x="17537" y="12401"/>
                    <a:pt x="18104" y="11938"/>
                    <a:pt x="17743" y="12006"/>
                  </a:cubicBezTo>
                  <a:cubicBezTo>
                    <a:pt x="18173" y="11680"/>
                    <a:pt x="18070" y="11749"/>
                    <a:pt x="17503" y="11783"/>
                  </a:cubicBezTo>
                  <a:cubicBezTo>
                    <a:pt x="17588" y="11313"/>
                    <a:pt x="17763" y="10864"/>
                    <a:pt x="18018" y="10461"/>
                  </a:cubicBezTo>
                  <a:cubicBezTo>
                    <a:pt x="18018" y="10220"/>
                    <a:pt x="18224" y="10461"/>
                    <a:pt x="18448" y="10134"/>
                  </a:cubicBezTo>
                  <a:cubicBezTo>
                    <a:pt x="17984" y="10306"/>
                    <a:pt x="17984" y="10134"/>
                    <a:pt x="18448" y="9739"/>
                  </a:cubicBezTo>
                  <a:cubicBezTo>
                    <a:pt x="18345" y="9739"/>
                    <a:pt x="18207" y="9739"/>
                    <a:pt x="18345" y="9739"/>
                  </a:cubicBezTo>
                  <a:cubicBezTo>
                    <a:pt x="18482" y="9739"/>
                    <a:pt x="18345" y="9636"/>
                    <a:pt x="18963" y="9344"/>
                  </a:cubicBezTo>
                  <a:cubicBezTo>
                    <a:pt x="17709" y="9808"/>
                    <a:pt x="19392" y="8966"/>
                    <a:pt x="18774" y="9104"/>
                  </a:cubicBezTo>
                  <a:cubicBezTo>
                    <a:pt x="19272" y="8657"/>
                    <a:pt x="19152" y="9293"/>
                    <a:pt x="19324" y="9104"/>
                  </a:cubicBezTo>
                  <a:cubicBezTo>
                    <a:pt x="18997" y="9104"/>
                    <a:pt x="19667" y="8863"/>
                    <a:pt x="19324" y="8966"/>
                  </a:cubicBezTo>
                  <a:cubicBezTo>
                    <a:pt x="19444" y="8846"/>
                    <a:pt x="19169" y="8966"/>
                    <a:pt x="18946" y="8966"/>
                  </a:cubicBezTo>
                  <a:cubicBezTo>
                    <a:pt x="19427" y="8537"/>
                    <a:pt x="19238" y="9086"/>
                    <a:pt x="19598" y="8674"/>
                  </a:cubicBezTo>
                  <a:cubicBezTo>
                    <a:pt x="19289" y="8846"/>
                    <a:pt x="19341" y="8554"/>
                    <a:pt x="19598" y="8674"/>
                  </a:cubicBezTo>
                  <a:cubicBezTo>
                    <a:pt x="19808" y="8533"/>
                    <a:pt x="20004" y="8372"/>
                    <a:pt x="20182" y="8193"/>
                  </a:cubicBezTo>
                  <a:cubicBezTo>
                    <a:pt x="19994" y="8193"/>
                    <a:pt x="20182" y="7266"/>
                    <a:pt x="20354" y="7953"/>
                  </a:cubicBezTo>
                  <a:cubicBezTo>
                    <a:pt x="20354" y="7953"/>
                    <a:pt x="20509" y="7712"/>
                    <a:pt x="20560" y="7764"/>
                  </a:cubicBezTo>
                  <a:cubicBezTo>
                    <a:pt x="20612" y="7815"/>
                    <a:pt x="21144" y="6991"/>
                    <a:pt x="20681" y="7386"/>
                  </a:cubicBezTo>
                  <a:cubicBezTo>
                    <a:pt x="20217" y="7781"/>
                    <a:pt x="21162" y="6922"/>
                    <a:pt x="21746" y="6338"/>
                  </a:cubicBezTo>
                  <a:cubicBezTo>
                    <a:pt x="23154" y="5256"/>
                    <a:pt x="21746" y="5497"/>
                    <a:pt x="22914" y="4981"/>
                  </a:cubicBezTo>
                  <a:cubicBezTo>
                    <a:pt x="23085" y="4981"/>
                    <a:pt x="23206" y="5067"/>
                    <a:pt x="23326" y="4844"/>
                  </a:cubicBezTo>
                  <a:cubicBezTo>
                    <a:pt x="26332" y="3556"/>
                    <a:pt x="25576" y="4260"/>
                    <a:pt x="26761" y="3693"/>
                  </a:cubicBezTo>
                  <a:cubicBezTo>
                    <a:pt x="26418" y="3882"/>
                    <a:pt x="26761" y="3693"/>
                    <a:pt x="26881" y="3693"/>
                  </a:cubicBezTo>
                  <a:cubicBezTo>
                    <a:pt x="26503" y="3951"/>
                    <a:pt x="26710" y="3693"/>
                    <a:pt x="26607" y="3951"/>
                  </a:cubicBezTo>
                  <a:cubicBezTo>
                    <a:pt x="26761" y="4140"/>
                    <a:pt x="25765" y="4243"/>
                    <a:pt x="26211" y="4208"/>
                  </a:cubicBezTo>
                  <a:cubicBezTo>
                    <a:pt x="26658" y="4174"/>
                    <a:pt x="26057" y="4346"/>
                    <a:pt x="26211" y="4329"/>
                  </a:cubicBezTo>
                  <a:cubicBezTo>
                    <a:pt x="26555" y="4054"/>
                    <a:pt x="26211" y="4483"/>
                    <a:pt x="26074" y="4500"/>
                  </a:cubicBezTo>
                  <a:cubicBezTo>
                    <a:pt x="25284" y="5119"/>
                    <a:pt x="27036" y="3744"/>
                    <a:pt x="26383" y="4621"/>
                  </a:cubicBezTo>
                  <a:cubicBezTo>
                    <a:pt x="26108" y="4844"/>
                    <a:pt x="25816" y="4861"/>
                    <a:pt x="26057" y="4947"/>
                  </a:cubicBezTo>
                  <a:cubicBezTo>
                    <a:pt x="25672" y="5283"/>
                    <a:pt x="25406" y="5735"/>
                    <a:pt x="25301" y="6235"/>
                  </a:cubicBezTo>
                  <a:cubicBezTo>
                    <a:pt x="25198" y="5874"/>
                    <a:pt x="24751" y="6424"/>
                    <a:pt x="25112" y="6373"/>
                  </a:cubicBezTo>
                  <a:cubicBezTo>
                    <a:pt x="24837" y="6596"/>
                    <a:pt x="25112" y="6373"/>
                    <a:pt x="25009" y="6596"/>
                  </a:cubicBezTo>
                  <a:cubicBezTo>
                    <a:pt x="24906" y="6819"/>
                    <a:pt x="24837" y="6596"/>
                    <a:pt x="24751" y="6596"/>
                  </a:cubicBezTo>
                  <a:cubicBezTo>
                    <a:pt x="24666" y="6596"/>
                    <a:pt x="24751" y="6957"/>
                    <a:pt x="24751" y="6768"/>
                  </a:cubicBezTo>
                  <a:cubicBezTo>
                    <a:pt x="24751" y="6871"/>
                    <a:pt x="25061" y="7128"/>
                    <a:pt x="24751" y="7180"/>
                  </a:cubicBezTo>
                  <a:cubicBezTo>
                    <a:pt x="24271" y="6750"/>
                    <a:pt x="24751" y="7575"/>
                    <a:pt x="24442" y="7489"/>
                  </a:cubicBezTo>
                  <a:cubicBezTo>
                    <a:pt x="23961" y="7729"/>
                    <a:pt x="24442" y="7060"/>
                    <a:pt x="24133" y="7489"/>
                  </a:cubicBezTo>
                  <a:cubicBezTo>
                    <a:pt x="24133" y="7283"/>
                    <a:pt x="23807" y="7609"/>
                    <a:pt x="23738" y="7626"/>
                  </a:cubicBezTo>
                  <a:cubicBezTo>
                    <a:pt x="24150" y="7626"/>
                    <a:pt x="23738" y="7764"/>
                    <a:pt x="23738" y="7781"/>
                  </a:cubicBezTo>
                  <a:cubicBezTo>
                    <a:pt x="24236" y="7781"/>
                    <a:pt x="23738" y="7918"/>
                    <a:pt x="23824" y="7987"/>
                  </a:cubicBezTo>
                  <a:cubicBezTo>
                    <a:pt x="24442" y="8090"/>
                    <a:pt x="23515" y="9705"/>
                    <a:pt x="23583" y="8262"/>
                  </a:cubicBezTo>
                  <a:cubicBezTo>
                    <a:pt x="23034" y="7901"/>
                    <a:pt x="23978" y="8657"/>
                    <a:pt x="23137" y="8520"/>
                  </a:cubicBezTo>
                  <a:cubicBezTo>
                    <a:pt x="23291" y="8640"/>
                    <a:pt x="22673" y="8777"/>
                    <a:pt x="22931" y="8726"/>
                  </a:cubicBezTo>
                  <a:cubicBezTo>
                    <a:pt x="23188" y="8674"/>
                    <a:pt x="23326" y="8915"/>
                    <a:pt x="22931" y="8846"/>
                  </a:cubicBezTo>
                  <a:cubicBezTo>
                    <a:pt x="22536" y="8777"/>
                    <a:pt x="24082" y="8846"/>
                    <a:pt x="23446" y="9121"/>
                  </a:cubicBezTo>
                  <a:cubicBezTo>
                    <a:pt x="23446" y="9121"/>
                    <a:pt x="23171" y="9327"/>
                    <a:pt x="23137" y="9275"/>
                  </a:cubicBezTo>
                  <a:cubicBezTo>
                    <a:pt x="23103" y="9224"/>
                    <a:pt x="21866" y="9859"/>
                    <a:pt x="21952" y="9396"/>
                  </a:cubicBezTo>
                  <a:cubicBezTo>
                    <a:pt x="22038" y="8932"/>
                    <a:pt x="21952" y="9636"/>
                    <a:pt x="21831" y="9653"/>
                  </a:cubicBezTo>
                  <a:cubicBezTo>
                    <a:pt x="21385" y="9688"/>
                    <a:pt x="20612" y="10529"/>
                    <a:pt x="20560" y="10117"/>
                  </a:cubicBezTo>
                  <a:close/>
                  <a:moveTo>
                    <a:pt x="23669" y="11440"/>
                  </a:moveTo>
                  <a:cubicBezTo>
                    <a:pt x="23669" y="11577"/>
                    <a:pt x="23463" y="11543"/>
                    <a:pt x="23412" y="11440"/>
                  </a:cubicBezTo>
                  <a:cubicBezTo>
                    <a:pt x="23360" y="11337"/>
                    <a:pt x="23223" y="11440"/>
                    <a:pt x="23274" y="11319"/>
                  </a:cubicBezTo>
                  <a:cubicBezTo>
                    <a:pt x="23326" y="11199"/>
                    <a:pt x="23188" y="11319"/>
                    <a:pt x="23274" y="11319"/>
                  </a:cubicBezTo>
                  <a:cubicBezTo>
                    <a:pt x="23173" y="11345"/>
                    <a:pt x="23067" y="11345"/>
                    <a:pt x="22965" y="11319"/>
                  </a:cubicBezTo>
                  <a:cubicBezTo>
                    <a:pt x="22965" y="11319"/>
                    <a:pt x="22965" y="11319"/>
                    <a:pt x="22965" y="11319"/>
                  </a:cubicBezTo>
                  <a:cubicBezTo>
                    <a:pt x="22965" y="11319"/>
                    <a:pt x="22965" y="11319"/>
                    <a:pt x="22965" y="11233"/>
                  </a:cubicBezTo>
                  <a:cubicBezTo>
                    <a:pt x="22965" y="11148"/>
                    <a:pt x="22965" y="11233"/>
                    <a:pt x="22965" y="11233"/>
                  </a:cubicBezTo>
                  <a:cubicBezTo>
                    <a:pt x="22965" y="11233"/>
                    <a:pt x="23120" y="11096"/>
                    <a:pt x="23206" y="11148"/>
                  </a:cubicBezTo>
                  <a:cubicBezTo>
                    <a:pt x="23291" y="11199"/>
                    <a:pt x="22948" y="11251"/>
                    <a:pt x="23206" y="11027"/>
                  </a:cubicBezTo>
                  <a:cubicBezTo>
                    <a:pt x="23206" y="11113"/>
                    <a:pt x="23051" y="11027"/>
                    <a:pt x="23206" y="10941"/>
                  </a:cubicBezTo>
                  <a:cubicBezTo>
                    <a:pt x="23360" y="10856"/>
                    <a:pt x="22948" y="10941"/>
                    <a:pt x="22948" y="10821"/>
                  </a:cubicBezTo>
                  <a:cubicBezTo>
                    <a:pt x="22948" y="10701"/>
                    <a:pt x="23206" y="10735"/>
                    <a:pt x="23223" y="10821"/>
                  </a:cubicBezTo>
                  <a:cubicBezTo>
                    <a:pt x="23240" y="10907"/>
                    <a:pt x="23395" y="10821"/>
                    <a:pt x="23412" y="10718"/>
                  </a:cubicBezTo>
                  <a:cubicBezTo>
                    <a:pt x="23429" y="10615"/>
                    <a:pt x="23291" y="10718"/>
                    <a:pt x="23412" y="10718"/>
                  </a:cubicBezTo>
                  <a:cubicBezTo>
                    <a:pt x="23532" y="10718"/>
                    <a:pt x="23291" y="10718"/>
                    <a:pt x="23412" y="10632"/>
                  </a:cubicBezTo>
                  <a:cubicBezTo>
                    <a:pt x="23532" y="10546"/>
                    <a:pt x="23412" y="10632"/>
                    <a:pt x="23412" y="10632"/>
                  </a:cubicBezTo>
                  <a:cubicBezTo>
                    <a:pt x="23412" y="10632"/>
                    <a:pt x="23412" y="10718"/>
                    <a:pt x="23412" y="10632"/>
                  </a:cubicBezTo>
                  <a:cubicBezTo>
                    <a:pt x="23412" y="10546"/>
                    <a:pt x="23412" y="10632"/>
                    <a:pt x="23412" y="10632"/>
                  </a:cubicBezTo>
                  <a:cubicBezTo>
                    <a:pt x="23223" y="10873"/>
                    <a:pt x="23120" y="10478"/>
                    <a:pt x="23291" y="10632"/>
                  </a:cubicBezTo>
                  <a:cubicBezTo>
                    <a:pt x="23463" y="10787"/>
                    <a:pt x="23291" y="10478"/>
                    <a:pt x="23291" y="10632"/>
                  </a:cubicBezTo>
                  <a:cubicBezTo>
                    <a:pt x="23291" y="10787"/>
                    <a:pt x="23291" y="10632"/>
                    <a:pt x="23291" y="10632"/>
                  </a:cubicBezTo>
                  <a:cubicBezTo>
                    <a:pt x="23291" y="10632"/>
                    <a:pt x="23291" y="10529"/>
                    <a:pt x="23291" y="10632"/>
                  </a:cubicBezTo>
                  <a:cubicBezTo>
                    <a:pt x="23291" y="10735"/>
                    <a:pt x="23291" y="10478"/>
                    <a:pt x="23291" y="10632"/>
                  </a:cubicBezTo>
                  <a:cubicBezTo>
                    <a:pt x="23291" y="10787"/>
                    <a:pt x="23412" y="10632"/>
                    <a:pt x="23291" y="10632"/>
                  </a:cubicBezTo>
                  <a:cubicBezTo>
                    <a:pt x="23171" y="10632"/>
                    <a:pt x="23395" y="10632"/>
                    <a:pt x="23291" y="10632"/>
                  </a:cubicBezTo>
                  <a:cubicBezTo>
                    <a:pt x="23188" y="10632"/>
                    <a:pt x="23120" y="10478"/>
                    <a:pt x="23291" y="10478"/>
                  </a:cubicBezTo>
                  <a:cubicBezTo>
                    <a:pt x="22999" y="10375"/>
                    <a:pt x="23395" y="10375"/>
                    <a:pt x="23291" y="10581"/>
                  </a:cubicBezTo>
                  <a:cubicBezTo>
                    <a:pt x="23291" y="10581"/>
                    <a:pt x="23291" y="10581"/>
                    <a:pt x="23291" y="10581"/>
                  </a:cubicBezTo>
                  <a:cubicBezTo>
                    <a:pt x="23291" y="10581"/>
                    <a:pt x="23291" y="10701"/>
                    <a:pt x="23291" y="10581"/>
                  </a:cubicBezTo>
                  <a:cubicBezTo>
                    <a:pt x="23302" y="10608"/>
                    <a:pt x="23302" y="10639"/>
                    <a:pt x="23291" y="10667"/>
                  </a:cubicBezTo>
                  <a:cubicBezTo>
                    <a:pt x="23291" y="10667"/>
                    <a:pt x="23291" y="10753"/>
                    <a:pt x="23291" y="10787"/>
                  </a:cubicBezTo>
                  <a:cubicBezTo>
                    <a:pt x="23291" y="10821"/>
                    <a:pt x="23291" y="10787"/>
                    <a:pt x="23291" y="10873"/>
                  </a:cubicBezTo>
                  <a:cubicBezTo>
                    <a:pt x="23311" y="10799"/>
                    <a:pt x="23361" y="10737"/>
                    <a:pt x="23429" y="10701"/>
                  </a:cubicBezTo>
                  <a:cubicBezTo>
                    <a:pt x="23429" y="10907"/>
                    <a:pt x="23429" y="10478"/>
                    <a:pt x="23601" y="10461"/>
                  </a:cubicBezTo>
                  <a:cubicBezTo>
                    <a:pt x="23772" y="10443"/>
                    <a:pt x="23601" y="10581"/>
                    <a:pt x="23601" y="10598"/>
                  </a:cubicBezTo>
                  <a:cubicBezTo>
                    <a:pt x="23601" y="10615"/>
                    <a:pt x="23687" y="10461"/>
                    <a:pt x="23790" y="10478"/>
                  </a:cubicBezTo>
                  <a:cubicBezTo>
                    <a:pt x="23832" y="10576"/>
                    <a:pt x="23832" y="10688"/>
                    <a:pt x="23790" y="10787"/>
                  </a:cubicBezTo>
                  <a:cubicBezTo>
                    <a:pt x="23893" y="10701"/>
                    <a:pt x="23790" y="10461"/>
                    <a:pt x="23961" y="10512"/>
                  </a:cubicBezTo>
                  <a:cubicBezTo>
                    <a:pt x="24133" y="10564"/>
                    <a:pt x="24116" y="10375"/>
                    <a:pt x="24099" y="10512"/>
                  </a:cubicBezTo>
                  <a:cubicBezTo>
                    <a:pt x="24082" y="10649"/>
                    <a:pt x="24356" y="10220"/>
                    <a:pt x="24322" y="10512"/>
                  </a:cubicBezTo>
                  <a:cubicBezTo>
                    <a:pt x="24288" y="10804"/>
                    <a:pt x="24442" y="10357"/>
                    <a:pt x="24528" y="10512"/>
                  </a:cubicBezTo>
                  <a:cubicBezTo>
                    <a:pt x="24614" y="10667"/>
                    <a:pt x="24356" y="10667"/>
                    <a:pt x="24528" y="10632"/>
                  </a:cubicBezTo>
                  <a:cubicBezTo>
                    <a:pt x="24700" y="10598"/>
                    <a:pt x="24425" y="10632"/>
                    <a:pt x="24528" y="10804"/>
                  </a:cubicBezTo>
                  <a:cubicBezTo>
                    <a:pt x="24631" y="10976"/>
                    <a:pt x="24528" y="10804"/>
                    <a:pt x="24528" y="10804"/>
                  </a:cubicBezTo>
                  <a:cubicBezTo>
                    <a:pt x="24751" y="10804"/>
                    <a:pt x="24614" y="10804"/>
                    <a:pt x="24528" y="10924"/>
                  </a:cubicBezTo>
                  <a:cubicBezTo>
                    <a:pt x="24442" y="11045"/>
                    <a:pt x="24528" y="11079"/>
                    <a:pt x="24528" y="11148"/>
                  </a:cubicBezTo>
                  <a:cubicBezTo>
                    <a:pt x="24374" y="10924"/>
                    <a:pt x="24528" y="11440"/>
                    <a:pt x="24288" y="11148"/>
                  </a:cubicBezTo>
                  <a:cubicBezTo>
                    <a:pt x="24288" y="11268"/>
                    <a:pt x="24064" y="11268"/>
                    <a:pt x="23978" y="11388"/>
                  </a:cubicBezTo>
                  <a:lnTo>
                    <a:pt x="23978" y="11388"/>
                  </a:lnTo>
                  <a:cubicBezTo>
                    <a:pt x="23978" y="11388"/>
                    <a:pt x="23841" y="11388"/>
                    <a:pt x="23790" y="11388"/>
                  </a:cubicBezTo>
                  <a:cubicBezTo>
                    <a:pt x="23738" y="11388"/>
                    <a:pt x="23790" y="11388"/>
                    <a:pt x="23790" y="11388"/>
                  </a:cubicBezTo>
                  <a:cubicBezTo>
                    <a:pt x="23790" y="11388"/>
                    <a:pt x="23738" y="11594"/>
                    <a:pt x="23669" y="11440"/>
                  </a:cubicBezTo>
                  <a:close/>
                  <a:moveTo>
                    <a:pt x="38184" y="41533"/>
                  </a:moveTo>
                  <a:cubicBezTo>
                    <a:pt x="38063" y="41224"/>
                    <a:pt x="38579" y="40880"/>
                    <a:pt x="38802" y="40640"/>
                  </a:cubicBezTo>
                  <a:cubicBezTo>
                    <a:pt x="39025" y="40399"/>
                    <a:pt x="39025" y="39729"/>
                    <a:pt x="39540" y="39523"/>
                  </a:cubicBezTo>
                  <a:lnTo>
                    <a:pt x="39540" y="39523"/>
                  </a:lnTo>
                  <a:cubicBezTo>
                    <a:pt x="39540" y="39523"/>
                    <a:pt x="39540" y="39523"/>
                    <a:pt x="39540" y="39523"/>
                  </a:cubicBezTo>
                  <a:cubicBezTo>
                    <a:pt x="39540" y="39523"/>
                    <a:pt x="39644" y="39523"/>
                    <a:pt x="39781" y="39386"/>
                  </a:cubicBezTo>
                  <a:cubicBezTo>
                    <a:pt x="39661" y="39678"/>
                    <a:pt x="40073" y="39077"/>
                    <a:pt x="39953" y="39386"/>
                  </a:cubicBezTo>
                  <a:cubicBezTo>
                    <a:pt x="39832" y="39695"/>
                    <a:pt x="39953" y="39386"/>
                    <a:pt x="39953" y="39386"/>
                  </a:cubicBezTo>
                  <a:cubicBezTo>
                    <a:pt x="39953" y="39386"/>
                    <a:pt x="39953" y="39386"/>
                    <a:pt x="39953" y="39248"/>
                  </a:cubicBezTo>
                  <a:cubicBezTo>
                    <a:pt x="39953" y="39111"/>
                    <a:pt x="40073" y="39248"/>
                    <a:pt x="39953" y="39248"/>
                  </a:cubicBezTo>
                  <a:lnTo>
                    <a:pt x="39953" y="39248"/>
                  </a:lnTo>
                  <a:cubicBezTo>
                    <a:pt x="39953" y="39248"/>
                    <a:pt x="39953" y="39248"/>
                    <a:pt x="39953" y="39369"/>
                  </a:cubicBezTo>
                  <a:cubicBezTo>
                    <a:pt x="39953" y="39489"/>
                    <a:pt x="40090" y="39197"/>
                    <a:pt x="40107" y="39266"/>
                  </a:cubicBezTo>
                  <a:cubicBezTo>
                    <a:pt x="40124" y="39334"/>
                    <a:pt x="40107" y="39266"/>
                    <a:pt x="40107" y="39145"/>
                  </a:cubicBezTo>
                  <a:cubicBezTo>
                    <a:pt x="40107" y="39025"/>
                    <a:pt x="40262" y="39145"/>
                    <a:pt x="40107" y="39042"/>
                  </a:cubicBezTo>
                  <a:cubicBezTo>
                    <a:pt x="39953" y="38939"/>
                    <a:pt x="40107" y="39145"/>
                    <a:pt x="40262" y="38939"/>
                  </a:cubicBezTo>
                  <a:cubicBezTo>
                    <a:pt x="40416" y="38733"/>
                    <a:pt x="40537" y="38733"/>
                    <a:pt x="40485" y="38561"/>
                  </a:cubicBezTo>
                  <a:cubicBezTo>
                    <a:pt x="40434" y="38389"/>
                    <a:pt x="40588" y="38561"/>
                    <a:pt x="40674" y="38441"/>
                  </a:cubicBezTo>
                  <a:cubicBezTo>
                    <a:pt x="40760" y="38321"/>
                    <a:pt x="40674" y="38664"/>
                    <a:pt x="40674" y="38664"/>
                  </a:cubicBezTo>
                  <a:cubicBezTo>
                    <a:pt x="41344" y="38922"/>
                    <a:pt x="37514" y="43560"/>
                    <a:pt x="38184" y="41533"/>
                  </a:cubicBezTo>
                  <a:close/>
                  <a:moveTo>
                    <a:pt x="49159" y="26589"/>
                  </a:moveTo>
                  <a:cubicBezTo>
                    <a:pt x="49159" y="26589"/>
                    <a:pt x="49159" y="26589"/>
                    <a:pt x="49159" y="26589"/>
                  </a:cubicBezTo>
                  <a:cubicBezTo>
                    <a:pt x="48810" y="27921"/>
                    <a:pt x="48552" y="29276"/>
                    <a:pt x="48386" y="30643"/>
                  </a:cubicBezTo>
                  <a:cubicBezTo>
                    <a:pt x="48386" y="30540"/>
                    <a:pt x="48215" y="30780"/>
                    <a:pt x="48215" y="30849"/>
                  </a:cubicBezTo>
                  <a:cubicBezTo>
                    <a:pt x="48026" y="31570"/>
                    <a:pt x="47579" y="26864"/>
                    <a:pt x="47613" y="26452"/>
                  </a:cubicBezTo>
                  <a:cubicBezTo>
                    <a:pt x="47459" y="26452"/>
                    <a:pt x="47613" y="26263"/>
                    <a:pt x="47613" y="26160"/>
                  </a:cubicBezTo>
                  <a:cubicBezTo>
                    <a:pt x="47613" y="26057"/>
                    <a:pt x="47528" y="26160"/>
                    <a:pt x="47528" y="26160"/>
                  </a:cubicBezTo>
                  <a:cubicBezTo>
                    <a:pt x="47528" y="26555"/>
                    <a:pt x="47373" y="27362"/>
                    <a:pt x="47098" y="26606"/>
                  </a:cubicBezTo>
                  <a:cubicBezTo>
                    <a:pt x="47098" y="26606"/>
                    <a:pt x="46909" y="26332"/>
                    <a:pt x="46995" y="26383"/>
                  </a:cubicBezTo>
                  <a:lnTo>
                    <a:pt x="46995" y="26383"/>
                  </a:lnTo>
                  <a:cubicBezTo>
                    <a:pt x="46995" y="26538"/>
                    <a:pt x="46995" y="26383"/>
                    <a:pt x="46995" y="26383"/>
                  </a:cubicBezTo>
                  <a:cubicBezTo>
                    <a:pt x="46995" y="26383"/>
                    <a:pt x="47201" y="26074"/>
                    <a:pt x="47081" y="26040"/>
                  </a:cubicBezTo>
                  <a:cubicBezTo>
                    <a:pt x="47081" y="26383"/>
                    <a:pt x="46583" y="26040"/>
                    <a:pt x="46806" y="25833"/>
                  </a:cubicBezTo>
                  <a:cubicBezTo>
                    <a:pt x="46806" y="25833"/>
                    <a:pt x="46806" y="25937"/>
                    <a:pt x="46686" y="25971"/>
                  </a:cubicBezTo>
                  <a:cubicBezTo>
                    <a:pt x="46566" y="26005"/>
                    <a:pt x="46686" y="25885"/>
                    <a:pt x="46549" y="25971"/>
                  </a:cubicBezTo>
                  <a:cubicBezTo>
                    <a:pt x="46411" y="26057"/>
                    <a:pt x="46549" y="25696"/>
                    <a:pt x="46428" y="25559"/>
                  </a:cubicBezTo>
                  <a:cubicBezTo>
                    <a:pt x="46239" y="25730"/>
                    <a:pt x="46428" y="25318"/>
                    <a:pt x="46119" y="25438"/>
                  </a:cubicBezTo>
                  <a:cubicBezTo>
                    <a:pt x="46119" y="25438"/>
                    <a:pt x="45965" y="25524"/>
                    <a:pt x="45913" y="25610"/>
                  </a:cubicBezTo>
                  <a:cubicBezTo>
                    <a:pt x="45861" y="25696"/>
                    <a:pt x="45810" y="25610"/>
                    <a:pt x="45741" y="25610"/>
                  </a:cubicBezTo>
                  <a:cubicBezTo>
                    <a:pt x="45673" y="25610"/>
                    <a:pt x="45604" y="25610"/>
                    <a:pt x="45552" y="25765"/>
                  </a:cubicBezTo>
                  <a:cubicBezTo>
                    <a:pt x="45501" y="25919"/>
                    <a:pt x="45552" y="25765"/>
                    <a:pt x="45432" y="25765"/>
                  </a:cubicBezTo>
                  <a:cubicBezTo>
                    <a:pt x="45312" y="25765"/>
                    <a:pt x="45260" y="25885"/>
                    <a:pt x="45209" y="25679"/>
                  </a:cubicBezTo>
                  <a:cubicBezTo>
                    <a:pt x="45209" y="25782"/>
                    <a:pt x="44814" y="25679"/>
                    <a:pt x="44728" y="25679"/>
                  </a:cubicBezTo>
                  <a:cubicBezTo>
                    <a:pt x="44642" y="25679"/>
                    <a:pt x="44573" y="25679"/>
                    <a:pt x="44453" y="25679"/>
                  </a:cubicBezTo>
                  <a:cubicBezTo>
                    <a:pt x="44178" y="24683"/>
                    <a:pt x="44144" y="25541"/>
                    <a:pt x="43663" y="25404"/>
                  </a:cubicBezTo>
                  <a:cubicBezTo>
                    <a:pt x="43560" y="25404"/>
                    <a:pt x="43251" y="25284"/>
                    <a:pt x="43285" y="25146"/>
                  </a:cubicBezTo>
                  <a:cubicBezTo>
                    <a:pt x="43319" y="25009"/>
                    <a:pt x="42838" y="25146"/>
                    <a:pt x="42804" y="24803"/>
                  </a:cubicBezTo>
                  <a:cubicBezTo>
                    <a:pt x="42804" y="24803"/>
                    <a:pt x="42684" y="24803"/>
                    <a:pt x="42804" y="24803"/>
                  </a:cubicBezTo>
                  <a:cubicBezTo>
                    <a:pt x="42632" y="24803"/>
                    <a:pt x="42564" y="24185"/>
                    <a:pt x="42375" y="24425"/>
                  </a:cubicBezTo>
                  <a:cubicBezTo>
                    <a:pt x="42375" y="24339"/>
                    <a:pt x="42220" y="24425"/>
                    <a:pt x="42272" y="24270"/>
                  </a:cubicBezTo>
                  <a:cubicBezTo>
                    <a:pt x="42323" y="24116"/>
                    <a:pt x="42272" y="24270"/>
                    <a:pt x="42272" y="24270"/>
                  </a:cubicBezTo>
                  <a:cubicBezTo>
                    <a:pt x="42272" y="24270"/>
                    <a:pt x="42272" y="24494"/>
                    <a:pt x="42272" y="24270"/>
                  </a:cubicBezTo>
                  <a:cubicBezTo>
                    <a:pt x="42272" y="24047"/>
                    <a:pt x="42272" y="24580"/>
                    <a:pt x="42100" y="24597"/>
                  </a:cubicBezTo>
                  <a:lnTo>
                    <a:pt x="42220" y="24597"/>
                  </a:lnTo>
                  <a:lnTo>
                    <a:pt x="42220" y="24597"/>
                  </a:lnTo>
                  <a:cubicBezTo>
                    <a:pt x="42220" y="24597"/>
                    <a:pt x="42220" y="24700"/>
                    <a:pt x="42220" y="24734"/>
                  </a:cubicBezTo>
                  <a:cubicBezTo>
                    <a:pt x="42220" y="24769"/>
                    <a:pt x="42220" y="24837"/>
                    <a:pt x="42220" y="24734"/>
                  </a:cubicBezTo>
                  <a:cubicBezTo>
                    <a:pt x="42259" y="24896"/>
                    <a:pt x="42365" y="25033"/>
                    <a:pt x="42512" y="25112"/>
                  </a:cubicBezTo>
                  <a:cubicBezTo>
                    <a:pt x="42512" y="25112"/>
                    <a:pt x="42821" y="25438"/>
                    <a:pt x="42770" y="25610"/>
                  </a:cubicBezTo>
                  <a:lnTo>
                    <a:pt x="42770" y="25610"/>
                  </a:lnTo>
                  <a:cubicBezTo>
                    <a:pt x="42993" y="25851"/>
                    <a:pt x="43027" y="26314"/>
                    <a:pt x="43045" y="25782"/>
                  </a:cubicBezTo>
                  <a:cubicBezTo>
                    <a:pt x="43045" y="25645"/>
                    <a:pt x="43045" y="25438"/>
                    <a:pt x="43165" y="25627"/>
                  </a:cubicBezTo>
                  <a:cubicBezTo>
                    <a:pt x="43133" y="25786"/>
                    <a:pt x="43133" y="25950"/>
                    <a:pt x="43165" y="26108"/>
                  </a:cubicBezTo>
                  <a:cubicBezTo>
                    <a:pt x="43165" y="26108"/>
                    <a:pt x="43165" y="26297"/>
                    <a:pt x="43165" y="26211"/>
                  </a:cubicBezTo>
                  <a:lnTo>
                    <a:pt x="43165" y="26366"/>
                  </a:lnTo>
                  <a:cubicBezTo>
                    <a:pt x="43371" y="26177"/>
                    <a:pt x="43646" y="26366"/>
                    <a:pt x="43766" y="26091"/>
                  </a:cubicBezTo>
                  <a:lnTo>
                    <a:pt x="43766" y="26091"/>
                  </a:lnTo>
                  <a:cubicBezTo>
                    <a:pt x="43766" y="25833"/>
                    <a:pt x="44024" y="25593"/>
                    <a:pt x="44058" y="25318"/>
                  </a:cubicBezTo>
                  <a:lnTo>
                    <a:pt x="44058" y="25318"/>
                  </a:lnTo>
                  <a:cubicBezTo>
                    <a:pt x="44058" y="25318"/>
                    <a:pt x="44058" y="25146"/>
                    <a:pt x="44058" y="25215"/>
                  </a:cubicBezTo>
                  <a:cubicBezTo>
                    <a:pt x="44058" y="25284"/>
                    <a:pt x="44058" y="25559"/>
                    <a:pt x="44058" y="25507"/>
                  </a:cubicBezTo>
                  <a:cubicBezTo>
                    <a:pt x="44058" y="25851"/>
                    <a:pt x="44247" y="26280"/>
                    <a:pt x="44642" y="26091"/>
                  </a:cubicBezTo>
                  <a:cubicBezTo>
                    <a:pt x="44947" y="26440"/>
                    <a:pt x="44947" y="26961"/>
                    <a:pt x="44642" y="27311"/>
                  </a:cubicBezTo>
                  <a:cubicBezTo>
                    <a:pt x="44642" y="27105"/>
                    <a:pt x="44487" y="27757"/>
                    <a:pt x="44642" y="27877"/>
                  </a:cubicBezTo>
                  <a:cubicBezTo>
                    <a:pt x="44230" y="27877"/>
                    <a:pt x="44505" y="28290"/>
                    <a:pt x="44109" y="28376"/>
                  </a:cubicBezTo>
                  <a:cubicBezTo>
                    <a:pt x="44109" y="28496"/>
                    <a:pt x="44109" y="28599"/>
                    <a:pt x="44109" y="28719"/>
                  </a:cubicBezTo>
                  <a:cubicBezTo>
                    <a:pt x="43847" y="28757"/>
                    <a:pt x="43612" y="28900"/>
                    <a:pt x="43457" y="29114"/>
                  </a:cubicBezTo>
                  <a:cubicBezTo>
                    <a:pt x="43457" y="29475"/>
                    <a:pt x="42924" y="29595"/>
                    <a:pt x="42684" y="29767"/>
                  </a:cubicBezTo>
                  <a:cubicBezTo>
                    <a:pt x="42443" y="29939"/>
                    <a:pt x="42495" y="30042"/>
                    <a:pt x="42357" y="29990"/>
                  </a:cubicBezTo>
                  <a:cubicBezTo>
                    <a:pt x="42248" y="30193"/>
                    <a:pt x="42016" y="30299"/>
                    <a:pt x="41791" y="30248"/>
                  </a:cubicBezTo>
                  <a:cubicBezTo>
                    <a:pt x="41649" y="30457"/>
                    <a:pt x="41423" y="30595"/>
                    <a:pt x="41172" y="30626"/>
                  </a:cubicBezTo>
                  <a:cubicBezTo>
                    <a:pt x="41035" y="30317"/>
                    <a:pt x="41172" y="29904"/>
                    <a:pt x="40897" y="29629"/>
                  </a:cubicBezTo>
                  <a:cubicBezTo>
                    <a:pt x="41155" y="29011"/>
                    <a:pt x="40262" y="28204"/>
                    <a:pt x="39850" y="27706"/>
                  </a:cubicBezTo>
                  <a:cubicBezTo>
                    <a:pt x="39850" y="27293"/>
                    <a:pt x="39747" y="26589"/>
                    <a:pt x="39283" y="26606"/>
                  </a:cubicBezTo>
                  <a:cubicBezTo>
                    <a:pt x="39111" y="25799"/>
                    <a:pt x="38166" y="25370"/>
                    <a:pt x="38338" y="24751"/>
                  </a:cubicBezTo>
                  <a:cubicBezTo>
                    <a:pt x="38218" y="24975"/>
                    <a:pt x="38338" y="25249"/>
                    <a:pt x="38201" y="25438"/>
                  </a:cubicBezTo>
                  <a:cubicBezTo>
                    <a:pt x="37948" y="25233"/>
                    <a:pt x="37727" y="24989"/>
                    <a:pt x="37548" y="24717"/>
                  </a:cubicBezTo>
                  <a:cubicBezTo>
                    <a:pt x="37840" y="25370"/>
                    <a:pt x="38304" y="26022"/>
                    <a:pt x="38682" y="26692"/>
                  </a:cubicBezTo>
                  <a:lnTo>
                    <a:pt x="38682" y="26692"/>
                  </a:lnTo>
                  <a:cubicBezTo>
                    <a:pt x="38718" y="26746"/>
                    <a:pt x="38765" y="26793"/>
                    <a:pt x="38819" y="26830"/>
                  </a:cubicBezTo>
                  <a:cubicBezTo>
                    <a:pt x="38819" y="26830"/>
                    <a:pt x="38716" y="26830"/>
                    <a:pt x="38699" y="26830"/>
                  </a:cubicBezTo>
                  <a:cubicBezTo>
                    <a:pt x="38699" y="27328"/>
                    <a:pt x="39231" y="27311"/>
                    <a:pt x="39317" y="27826"/>
                  </a:cubicBezTo>
                  <a:cubicBezTo>
                    <a:pt x="39180" y="27826"/>
                    <a:pt x="39420" y="28187"/>
                    <a:pt x="39317" y="28376"/>
                  </a:cubicBezTo>
                  <a:cubicBezTo>
                    <a:pt x="39214" y="28565"/>
                    <a:pt x="39644" y="28719"/>
                    <a:pt x="39712" y="28891"/>
                  </a:cubicBezTo>
                  <a:cubicBezTo>
                    <a:pt x="39781" y="29063"/>
                    <a:pt x="39884" y="29561"/>
                    <a:pt x="40021" y="29715"/>
                  </a:cubicBezTo>
                  <a:cubicBezTo>
                    <a:pt x="40159" y="29870"/>
                    <a:pt x="40142" y="30007"/>
                    <a:pt x="40021" y="29801"/>
                  </a:cubicBezTo>
                  <a:cubicBezTo>
                    <a:pt x="39901" y="29595"/>
                    <a:pt x="40021" y="30042"/>
                    <a:pt x="40193" y="29939"/>
                  </a:cubicBezTo>
                  <a:cubicBezTo>
                    <a:pt x="40571" y="29939"/>
                    <a:pt x="40708" y="30591"/>
                    <a:pt x="40932" y="30626"/>
                  </a:cubicBezTo>
                  <a:cubicBezTo>
                    <a:pt x="41155" y="30660"/>
                    <a:pt x="40932" y="30746"/>
                    <a:pt x="41035" y="30746"/>
                  </a:cubicBezTo>
                  <a:cubicBezTo>
                    <a:pt x="41037" y="30889"/>
                    <a:pt x="40935" y="31013"/>
                    <a:pt x="40794" y="31038"/>
                  </a:cubicBezTo>
                  <a:cubicBezTo>
                    <a:pt x="41035" y="31038"/>
                    <a:pt x="41086" y="31364"/>
                    <a:pt x="41327" y="31450"/>
                  </a:cubicBezTo>
                  <a:cubicBezTo>
                    <a:pt x="41782" y="31205"/>
                    <a:pt x="42267" y="31020"/>
                    <a:pt x="42770" y="30901"/>
                  </a:cubicBezTo>
                  <a:cubicBezTo>
                    <a:pt x="42857" y="30834"/>
                    <a:pt x="42933" y="30752"/>
                    <a:pt x="42993" y="30660"/>
                  </a:cubicBezTo>
                  <a:cubicBezTo>
                    <a:pt x="43165" y="30660"/>
                    <a:pt x="42993" y="31021"/>
                    <a:pt x="42993" y="31210"/>
                  </a:cubicBezTo>
                  <a:cubicBezTo>
                    <a:pt x="42993" y="31399"/>
                    <a:pt x="42993" y="31210"/>
                    <a:pt x="42993" y="31210"/>
                  </a:cubicBezTo>
                  <a:cubicBezTo>
                    <a:pt x="42684" y="33580"/>
                    <a:pt x="39163" y="34989"/>
                    <a:pt x="38922" y="37033"/>
                  </a:cubicBezTo>
                  <a:cubicBezTo>
                    <a:pt x="38922" y="37033"/>
                    <a:pt x="38716" y="37204"/>
                    <a:pt x="38802" y="37307"/>
                  </a:cubicBezTo>
                  <a:cubicBezTo>
                    <a:pt x="38888" y="37410"/>
                    <a:pt x="38596" y="37874"/>
                    <a:pt x="38802" y="38012"/>
                  </a:cubicBezTo>
                  <a:cubicBezTo>
                    <a:pt x="38630" y="38407"/>
                    <a:pt x="38493" y="38991"/>
                    <a:pt x="38355" y="39248"/>
                  </a:cubicBezTo>
                  <a:cubicBezTo>
                    <a:pt x="38218" y="39506"/>
                    <a:pt x="38149" y="39369"/>
                    <a:pt x="38355" y="39351"/>
                  </a:cubicBezTo>
                  <a:cubicBezTo>
                    <a:pt x="38063" y="39781"/>
                    <a:pt x="37514" y="39901"/>
                    <a:pt x="37119" y="40193"/>
                  </a:cubicBezTo>
                  <a:lnTo>
                    <a:pt x="37119" y="40193"/>
                  </a:lnTo>
                  <a:cubicBezTo>
                    <a:pt x="36902" y="40432"/>
                    <a:pt x="36622" y="40604"/>
                    <a:pt x="36311" y="40691"/>
                  </a:cubicBezTo>
                  <a:cubicBezTo>
                    <a:pt x="36339" y="40751"/>
                    <a:pt x="36339" y="40820"/>
                    <a:pt x="36311" y="40880"/>
                  </a:cubicBezTo>
                  <a:cubicBezTo>
                    <a:pt x="36311" y="40880"/>
                    <a:pt x="36311" y="41000"/>
                    <a:pt x="36311" y="41035"/>
                  </a:cubicBezTo>
                  <a:cubicBezTo>
                    <a:pt x="36311" y="41069"/>
                    <a:pt x="36311" y="41292"/>
                    <a:pt x="36311" y="41395"/>
                  </a:cubicBezTo>
                  <a:cubicBezTo>
                    <a:pt x="36311" y="41498"/>
                    <a:pt x="36311" y="41310"/>
                    <a:pt x="36311" y="41292"/>
                  </a:cubicBezTo>
                  <a:lnTo>
                    <a:pt x="36311" y="41292"/>
                  </a:lnTo>
                  <a:lnTo>
                    <a:pt x="36311" y="41292"/>
                  </a:lnTo>
                  <a:cubicBezTo>
                    <a:pt x="36311" y="41447"/>
                    <a:pt x="36122" y="41567"/>
                    <a:pt x="36054" y="41705"/>
                  </a:cubicBezTo>
                  <a:lnTo>
                    <a:pt x="36054" y="41705"/>
                  </a:lnTo>
                  <a:cubicBezTo>
                    <a:pt x="35865" y="42117"/>
                    <a:pt x="35126" y="41997"/>
                    <a:pt x="35006" y="42392"/>
                  </a:cubicBezTo>
                  <a:lnTo>
                    <a:pt x="35126" y="42392"/>
                  </a:lnTo>
                  <a:cubicBezTo>
                    <a:pt x="35084" y="42471"/>
                    <a:pt x="35025" y="42542"/>
                    <a:pt x="34954" y="42598"/>
                  </a:cubicBezTo>
                  <a:lnTo>
                    <a:pt x="34954" y="42598"/>
                  </a:lnTo>
                  <a:cubicBezTo>
                    <a:pt x="34162" y="43425"/>
                    <a:pt x="33158" y="44019"/>
                    <a:pt x="32051" y="44315"/>
                  </a:cubicBezTo>
                  <a:cubicBezTo>
                    <a:pt x="31588" y="44161"/>
                    <a:pt x="31124" y="44453"/>
                    <a:pt x="30660" y="44418"/>
                  </a:cubicBezTo>
                  <a:cubicBezTo>
                    <a:pt x="30660" y="44333"/>
                    <a:pt x="30660" y="44418"/>
                    <a:pt x="30660" y="44418"/>
                  </a:cubicBezTo>
                  <a:cubicBezTo>
                    <a:pt x="30660" y="44418"/>
                    <a:pt x="30557" y="44333"/>
                    <a:pt x="30660" y="44418"/>
                  </a:cubicBezTo>
                  <a:cubicBezTo>
                    <a:pt x="30763" y="44504"/>
                    <a:pt x="30798" y="44230"/>
                    <a:pt x="30660" y="44092"/>
                  </a:cubicBezTo>
                  <a:cubicBezTo>
                    <a:pt x="30987" y="43938"/>
                    <a:pt x="30660" y="43508"/>
                    <a:pt x="30660" y="43199"/>
                  </a:cubicBezTo>
                  <a:cubicBezTo>
                    <a:pt x="30128" y="42392"/>
                    <a:pt x="30437" y="41189"/>
                    <a:pt x="29836" y="40296"/>
                  </a:cubicBezTo>
                  <a:cubicBezTo>
                    <a:pt x="29836" y="39369"/>
                    <a:pt x="31210" y="38956"/>
                    <a:pt x="30591" y="38046"/>
                  </a:cubicBezTo>
                  <a:cubicBezTo>
                    <a:pt x="30866" y="37840"/>
                    <a:pt x="30591" y="37428"/>
                    <a:pt x="30471" y="37204"/>
                  </a:cubicBezTo>
                  <a:lnTo>
                    <a:pt x="30574" y="37204"/>
                  </a:lnTo>
                  <a:cubicBezTo>
                    <a:pt x="30574" y="37204"/>
                    <a:pt x="30334" y="37204"/>
                    <a:pt x="30454" y="37050"/>
                  </a:cubicBezTo>
                  <a:cubicBezTo>
                    <a:pt x="30248" y="36449"/>
                    <a:pt x="29561" y="36242"/>
                    <a:pt x="29423" y="35607"/>
                  </a:cubicBezTo>
                  <a:cubicBezTo>
                    <a:pt x="29578" y="35607"/>
                    <a:pt x="29612" y="35487"/>
                    <a:pt x="29630" y="35298"/>
                  </a:cubicBezTo>
                  <a:cubicBezTo>
                    <a:pt x="29647" y="35109"/>
                    <a:pt x="29767" y="35298"/>
                    <a:pt x="29819" y="35298"/>
                  </a:cubicBezTo>
                  <a:cubicBezTo>
                    <a:pt x="29741" y="35301"/>
                    <a:pt x="29670" y="35252"/>
                    <a:pt x="29647" y="35177"/>
                  </a:cubicBezTo>
                  <a:cubicBezTo>
                    <a:pt x="29767" y="35177"/>
                    <a:pt x="29750" y="35057"/>
                    <a:pt x="29647" y="35040"/>
                  </a:cubicBezTo>
                  <a:cubicBezTo>
                    <a:pt x="29897" y="34793"/>
                    <a:pt x="29972" y="34419"/>
                    <a:pt x="29836" y="34095"/>
                  </a:cubicBezTo>
                  <a:cubicBezTo>
                    <a:pt x="29681" y="34198"/>
                    <a:pt x="29612" y="34095"/>
                    <a:pt x="29612" y="33906"/>
                  </a:cubicBezTo>
                  <a:cubicBezTo>
                    <a:pt x="29559" y="33957"/>
                    <a:pt x="29477" y="33957"/>
                    <a:pt x="29423" y="33906"/>
                  </a:cubicBezTo>
                  <a:cubicBezTo>
                    <a:pt x="29269" y="34095"/>
                    <a:pt x="28771" y="34078"/>
                    <a:pt x="28496" y="34044"/>
                  </a:cubicBezTo>
                  <a:cubicBezTo>
                    <a:pt x="28118" y="32807"/>
                    <a:pt x="26778" y="33529"/>
                    <a:pt x="25937" y="33821"/>
                  </a:cubicBezTo>
                  <a:cubicBezTo>
                    <a:pt x="24219" y="33305"/>
                    <a:pt x="23961" y="34490"/>
                    <a:pt x="22501" y="32687"/>
                  </a:cubicBezTo>
                  <a:cubicBezTo>
                    <a:pt x="22330" y="32687"/>
                    <a:pt x="22364" y="32429"/>
                    <a:pt x="22226" y="32361"/>
                  </a:cubicBezTo>
                  <a:cubicBezTo>
                    <a:pt x="22089" y="32292"/>
                    <a:pt x="22226" y="32240"/>
                    <a:pt x="22226" y="32137"/>
                  </a:cubicBezTo>
                  <a:cubicBezTo>
                    <a:pt x="22226" y="32034"/>
                    <a:pt x="21883" y="31897"/>
                    <a:pt x="21986" y="31828"/>
                  </a:cubicBezTo>
                  <a:cubicBezTo>
                    <a:pt x="21608" y="31828"/>
                    <a:pt x="21814" y="31485"/>
                    <a:pt x="21591" y="31536"/>
                  </a:cubicBezTo>
                  <a:cubicBezTo>
                    <a:pt x="21368" y="31588"/>
                    <a:pt x="21591" y="31450"/>
                    <a:pt x="21436" y="31450"/>
                  </a:cubicBezTo>
                  <a:lnTo>
                    <a:pt x="21436" y="31450"/>
                  </a:lnTo>
                  <a:lnTo>
                    <a:pt x="21436" y="31450"/>
                  </a:lnTo>
                  <a:cubicBezTo>
                    <a:pt x="21436" y="31450"/>
                    <a:pt x="21436" y="31450"/>
                    <a:pt x="21436" y="31347"/>
                  </a:cubicBezTo>
                  <a:cubicBezTo>
                    <a:pt x="21436" y="31244"/>
                    <a:pt x="21625" y="31347"/>
                    <a:pt x="21642" y="31347"/>
                  </a:cubicBezTo>
                  <a:cubicBezTo>
                    <a:pt x="21660" y="31347"/>
                    <a:pt x="21076" y="31347"/>
                    <a:pt x="21247" y="31158"/>
                  </a:cubicBezTo>
                  <a:cubicBezTo>
                    <a:pt x="21110" y="31158"/>
                    <a:pt x="21076" y="31158"/>
                    <a:pt x="21041" y="30986"/>
                  </a:cubicBezTo>
                  <a:cubicBezTo>
                    <a:pt x="21007" y="30815"/>
                    <a:pt x="21162" y="30986"/>
                    <a:pt x="21213" y="30986"/>
                  </a:cubicBezTo>
                  <a:cubicBezTo>
                    <a:pt x="21265" y="30986"/>
                    <a:pt x="21076" y="30986"/>
                    <a:pt x="21024" y="30986"/>
                  </a:cubicBezTo>
                  <a:cubicBezTo>
                    <a:pt x="20973" y="30986"/>
                    <a:pt x="21024" y="30849"/>
                    <a:pt x="21024" y="30780"/>
                  </a:cubicBezTo>
                  <a:cubicBezTo>
                    <a:pt x="21024" y="30712"/>
                    <a:pt x="21179" y="30935"/>
                    <a:pt x="21299" y="30780"/>
                  </a:cubicBezTo>
                  <a:cubicBezTo>
                    <a:pt x="21419" y="30626"/>
                    <a:pt x="21024" y="30694"/>
                    <a:pt x="21144" y="30626"/>
                  </a:cubicBezTo>
                  <a:lnTo>
                    <a:pt x="21144" y="30626"/>
                  </a:lnTo>
                  <a:cubicBezTo>
                    <a:pt x="21144" y="30626"/>
                    <a:pt x="20990" y="30368"/>
                    <a:pt x="20921" y="30299"/>
                  </a:cubicBezTo>
                  <a:cubicBezTo>
                    <a:pt x="21365" y="29847"/>
                    <a:pt x="21523" y="29187"/>
                    <a:pt x="21333" y="28582"/>
                  </a:cubicBezTo>
                  <a:cubicBezTo>
                    <a:pt x="21471" y="28582"/>
                    <a:pt x="21333" y="28393"/>
                    <a:pt x="21436" y="28358"/>
                  </a:cubicBezTo>
                  <a:cubicBezTo>
                    <a:pt x="21539" y="28324"/>
                    <a:pt x="21265" y="28255"/>
                    <a:pt x="21247" y="28135"/>
                  </a:cubicBezTo>
                  <a:lnTo>
                    <a:pt x="21247" y="28221"/>
                  </a:lnTo>
                  <a:cubicBezTo>
                    <a:pt x="21228" y="27927"/>
                    <a:pt x="21357" y="27644"/>
                    <a:pt x="21591" y="27465"/>
                  </a:cubicBezTo>
                  <a:cubicBezTo>
                    <a:pt x="21952" y="26297"/>
                    <a:pt x="23103" y="25833"/>
                    <a:pt x="23927" y="25043"/>
                  </a:cubicBezTo>
                  <a:cubicBezTo>
                    <a:pt x="23935" y="24883"/>
                    <a:pt x="23935" y="24723"/>
                    <a:pt x="23927" y="24562"/>
                  </a:cubicBezTo>
                  <a:cubicBezTo>
                    <a:pt x="23927" y="24373"/>
                    <a:pt x="24288" y="24288"/>
                    <a:pt x="24133" y="24081"/>
                  </a:cubicBezTo>
                  <a:cubicBezTo>
                    <a:pt x="24677" y="23812"/>
                    <a:pt x="25139" y="23403"/>
                    <a:pt x="25473" y="22896"/>
                  </a:cubicBezTo>
                  <a:cubicBezTo>
                    <a:pt x="25473" y="23240"/>
                    <a:pt x="26005" y="23223"/>
                    <a:pt x="26194" y="23102"/>
                  </a:cubicBezTo>
                  <a:cubicBezTo>
                    <a:pt x="26521" y="23497"/>
                    <a:pt x="27225" y="22828"/>
                    <a:pt x="27586" y="22725"/>
                  </a:cubicBezTo>
                  <a:cubicBezTo>
                    <a:pt x="27946" y="22621"/>
                    <a:pt x="28771" y="22725"/>
                    <a:pt x="29063" y="22587"/>
                  </a:cubicBezTo>
                  <a:cubicBezTo>
                    <a:pt x="29355" y="22450"/>
                    <a:pt x="29286" y="22828"/>
                    <a:pt x="29372" y="22587"/>
                  </a:cubicBezTo>
                  <a:cubicBezTo>
                    <a:pt x="29647" y="22828"/>
                    <a:pt x="29939" y="22450"/>
                    <a:pt x="30162" y="22587"/>
                  </a:cubicBezTo>
                  <a:cubicBezTo>
                    <a:pt x="30162" y="22398"/>
                    <a:pt x="30299" y="22725"/>
                    <a:pt x="30385" y="22776"/>
                  </a:cubicBezTo>
                  <a:cubicBezTo>
                    <a:pt x="30746" y="22415"/>
                    <a:pt x="30488" y="22862"/>
                    <a:pt x="30385" y="23017"/>
                  </a:cubicBezTo>
                  <a:cubicBezTo>
                    <a:pt x="31021" y="23446"/>
                    <a:pt x="29956" y="23618"/>
                    <a:pt x="30385" y="23910"/>
                  </a:cubicBezTo>
                  <a:cubicBezTo>
                    <a:pt x="30385" y="23910"/>
                    <a:pt x="30385" y="23910"/>
                    <a:pt x="30506" y="23910"/>
                  </a:cubicBezTo>
                  <a:cubicBezTo>
                    <a:pt x="30626" y="23910"/>
                    <a:pt x="30506" y="23824"/>
                    <a:pt x="30506" y="23910"/>
                  </a:cubicBezTo>
                  <a:cubicBezTo>
                    <a:pt x="30677" y="24322"/>
                    <a:pt x="31313" y="24013"/>
                    <a:pt x="31622" y="24236"/>
                  </a:cubicBezTo>
                  <a:cubicBezTo>
                    <a:pt x="34851" y="26469"/>
                    <a:pt x="32343" y="23566"/>
                    <a:pt x="34473" y="24236"/>
                  </a:cubicBezTo>
                  <a:cubicBezTo>
                    <a:pt x="34834" y="24580"/>
                    <a:pt x="35641" y="24477"/>
                    <a:pt x="36191" y="24700"/>
                  </a:cubicBezTo>
                  <a:cubicBezTo>
                    <a:pt x="36741" y="24923"/>
                    <a:pt x="36724" y="24597"/>
                    <a:pt x="37084" y="24494"/>
                  </a:cubicBezTo>
                  <a:cubicBezTo>
                    <a:pt x="36844" y="24580"/>
                    <a:pt x="37084" y="24494"/>
                    <a:pt x="37187" y="24494"/>
                  </a:cubicBezTo>
                  <a:cubicBezTo>
                    <a:pt x="37290" y="24494"/>
                    <a:pt x="37187" y="24494"/>
                    <a:pt x="37187" y="24494"/>
                  </a:cubicBezTo>
                  <a:cubicBezTo>
                    <a:pt x="37187" y="24494"/>
                    <a:pt x="37411" y="24494"/>
                    <a:pt x="37462" y="24494"/>
                  </a:cubicBezTo>
                  <a:cubicBezTo>
                    <a:pt x="37514" y="24494"/>
                    <a:pt x="37565" y="24614"/>
                    <a:pt x="37565" y="24665"/>
                  </a:cubicBezTo>
                  <a:cubicBezTo>
                    <a:pt x="37565" y="24717"/>
                    <a:pt x="37565" y="24562"/>
                    <a:pt x="37565" y="24494"/>
                  </a:cubicBezTo>
                  <a:cubicBezTo>
                    <a:pt x="38733" y="24889"/>
                    <a:pt x="38338" y="22776"/>
                    <a:pt x="38407" y="22381"/>
                  </a:cubicBezTo>
                  <a:cubicBezTo>
                    <a:pt x="38218" y="22536"/>
                    <a:pt x="37892" y="22381"/>
                    <a:pt x="37840" y="22656"/>
                  </a:cubicBezTo>
                  <a:cubicBezTo>
                    <a:pt x="37496" y="23051"/>
                    <a:pt x="36775" y="22106"/>
                    <a:pt x="36775" y="22656"/>
                  </a:cubicBezTo>
                  <a:cubicBezTo>
                    <a:pt x="36620" y="22656"/>
                    <a:pt x="36225" y="22828"/>
                    <a:pt x="36277" y="22536"/>
                  </a:cubicBezTo>
                  <a:cubicBezTo>
                    <a:pt x="36277" y="22536"/>
                    <a:pt x="36277" y="22536"/>
                    <a:pt x="36140" y="22536"/>
                  </a:cubicBezTo>
                  <a:cubicBezTo>
                    <a:pt x="36002" y="22536"/>
                    <a:pt x="35951" y="22690"/>
                    <a:pt x="35933" y="22536"/>
                  </a:cubicBezTo>
                  <a:lnTo>
                    <a:pt x="35727" y="22536"/>
                  </a:lnTo>
                  <a:cubicBezTo>
                    <a:pt x="35727" y="22450"/>
                    <a:pt x="35951" y="22536"/>
                    <a:pt x="35951" y="22398"/>
                  </a:cubicBezTo>
                  <a:cubicBezTo>
                    <a:pt x="35951" y="22261"/>
                    <a:pt x="35556" y="22501"/>
                    <a:pt x="35762" y="22398"/>
                  </a:cubicBezTo>
                  <a:cubicBezTo>
                    <a:pt x="35521" y="22244"/>
                    <a:pt x="35762" y="22106"/>
                    <a:pt x="35401" y="22020"/>
                  </a:cubicBezTo>
                  <a:cubicBezTo>
                    <a:pt x="35040" y="21934"/>
                    <a:pt x="35401" y="21883"/>
                    <a:pt x="35401" y="21831"/>
                  </a:cubicBezTo>
                  <a:cubicBezTo>
                    <a:pt x="35401" y="21780"/>
                    <a:pt x="35401" y="21952"/>
                    <a:pt x="35573" y="21831"/>
                  </a:cubicBezTo>
                  <a:lnTo>
                    <a:pt x="35573" y="21831"/>
                  </a:lnTo>
                  <a:cubicBezTo>
                    <a:pt x="35573" y="21831"/>
                    <a:pt x="35710" y="21831"/>
                    <a:pt x="35676" y="21694"/>
                  </a:cubicBezTo>
                  <a:cubicBezTo>
                    <a:pt x="35641" y="21557"/>
                    <a:pt x="35504" y="21522"/>
                    <a:pt x="35676" y="21488"/>
                  </a:cubicBezTo>
                  <a:cubicBezTo>
                    <a:pt x="35195" y="21660"/>
                    <a:pt x="35435" y="20938"/>
                    <a:pt x="35779" y="21179"/>
                  </a:cubicBezTo>
                  <a:cubicBezTo>
                    <a:pt x="35779" y="21041"/>
                    <a:pt x="36071" y="21179"/>
                    <a:pt x="36225" y="21179"/>
                  </a:cubicBezTo>
                  <a:cubicBezTo>
                    <a:pt x="35916" y="21058"/>
                    <a:pt x="36363" y="21076"/>
                    <a:pt x="36397" y="20990"/>
                  </a:cubicBezTo>
                  <a:cubicBezTo>
                    <a:pt x="35676" y="20766"/>
                    <a:pt x="36775" y="20869"/>
                    <a:pt x="36827" y="20784"/>
                  </a:cubicBezTo>
                  <a:cubicBezTo>
                    <a:pt x="36964" y="20406"/>
                    <a:pt x="37479" y="20457"/>
                    <a:pt x="37788" y="20371"/>
                  </a:cubicBezTo>
                  <a:cubicBezTo>
                    <a:pt x="37788" y="20543"/>
                    <a:pt x="37960" y="20560"/>
                    <a:pt x="38063" y="20371"/>
                  </a:cubicBezTo>
                  <a:cubicBezTo>
                    <a:pt x="38166" y="20182"/>
                    <a:pt x="38201" y="20663"/>
                    <a:pt x="38287" y="20526"/>
                  </a:cubicBezTo>
                  <a:cubicBezTo>
                    <a:pt x="40760" y="21024"/>
                    <a:pt x="38991" y="19324"/>
                    <a:pt x="37857" y="19049"/>
                  </a:cubicBezTo>
                  <a:cubicBezTo>
                    <a:pt x="37857" y="19049"/>
                    <a:pt x="37857" y="19049"/>
                    <a:pt x="37857" y="18911"/>
                  </a:cubicBezTo>
                  <a:cubicBezTo>
                    <a:pt x="37857" y="18774"/>
                    <a:pt x="38063" y="18911"/>
                    <a:pt x="37977" y="18791"/>
                  </a:cubicBezTo>
                  <a:cubicBezTo>
                    <a:pt x="37892" y="18671"/>
                    <a:pt x="38201" y="18637"/>
                    <a:pt x="37977" y="18551"/>
                  </a:cubicBezTo>
                  <a:cubicBezTo>
                    <a:pt x="37754" y="18465"/>
                    <a:pt x="37874" y="18551"/>
                    <a:pt x="37857" y="18448"/>
                  </a:cubicBezTo>
                  <a:cubicBezTo>
                    <a:pt x="37840" y="18345"/>
                    <a:pt x="38029" y="18448"/>
                    <a:pt x="38029" y="18448"/>
                  </a:cubicBezTo>
                  <a:cubicBezTo>
                    <a:pt x="38029" y="18448"/>
                    <a:pt x="38166" y="18310"/>
                    <a:pt x="38132" y="18224"/>
                  </a:cubicBezTo>
                  <a:cubicBezTo>
                    <a:pt x="38098" y="18138"/>
                    <a:pt x="37651" y="18224"/>
                    <a:pt x="37548" y="18499"/>
                  </a:cubicBezTo>
                  <a:cubicBezTo>
                    <a:pt x="37548" y="18499"/>
                    <a:pt x="37445" y="18585"/>
                    <a:pt x="37359" y="18499"/>
                  </a:cubicBezTo>
                  <a:cubicBezTo>
                    <a:pt x="37273" y="18413"/>
                    <a:pt x="37256" y="18499"/>
                    <a:pt x="37204" y="18499"/>
                  </a:cubicBezTo>
                  <a:cubicBezTo>
                    <a:pt x="37153" y="18499"/>
                    <a:pt x="37204" y="18774"/>
                    <a:pt x="37204" y="18705"/>
                  </a:cubicBezTo>
                  <a:cubicBezTo>
                    <a:pt x="37204" y="18637"/>
                    <a:pt x="37204" y="18585"/>
                    <a:pt x="37204" y="18568"/>
                  </a:cubicBezTo>
                  <a:cubicBezTo>
                    <a:pt x="37204" y="18551"/>
                    <a:pt x="36964" y="18722"/>
                    <a:pt x="36878" y="18791"/>
                  </a:cubicBezTo>
                  <a:cubicBezTo>
                    <a:pt x="36792" y="18860"/>
                    <a:pt x="37170" y="18791"/>
                    <a:pt x="37136" y="18946"/>
                  </a:cubicBezTo>
                  <a:cubicBezTo>
                    <a:pt x="37101" y="19100"/>
                    <a:pt x="37136" y="18946"/>
                    <a:pt x="37136" y="18946"/>
                  </a:cubicBezTo>
                  <a:cubicBezTo>
                    <a:pt x="37136" y="18946"/>
                    <a:pt x="37136" y="19066"/>
                    <a:pt x="37325" y="19049"/>
                  </a:cubicBezTo>
                  <a:cubicBezTo>
                    <a:pt x="37514" y="19032"/>
                    <a:pt x="37016" y="18825"/>
                    <a:pt x="37084" y="18705"/>
                  </a:cubicBezTo>
                  <a:cubicBezTo>
                    <a:pt x="37153" y="18585"/>
                    <a:pt x="37273" y="18980"/>
                    <a:pt x="37393" y="19014"/>
                  </a:cubicBezTo>
                  <a:cubicBezTo>
                    <a:pt x="37514" y="19049"/>
                    <a:pt x="37393" y="19014"/>
                    <a:pt x="37514" y="19014"/>
                  </a:cubicBezTo>
                  <a:cubicBezTo>
                    <a:pt x="37634" y="19014"/>
                    <a:pt x="37617" y="18929"/>
                    <a:pt x="37685" y="18929"/>
                  </a:cubicBezTo>
                  <a:cubicBezTo>
                    <a:pt x="37754" y="18929"/>
                    <a:pt x="37685" y="19152"/>
                    <a:pt x="37462" y="19100"/>
                  </a:cubicBezTo>
                  <a:cubicBezTo>
                    <a:pt x="37239" y="19049"/>
                    <a:pt x="36861" y="19650"/>
                    <a:pt x="36912" y="19100"/>
                  </a:cubicBezTo>
                  <a:cubicBezTo>
                    <a:pt x="36775" y="18980"/>
                    <a:pt x="36466" y="19100"/>
                    <a:pt x="36758" y="18860"/>
                  </a:cubicBezTo>
                  <a:cubicBezTo>
                    <a:pt x="37050" y="18619"/>
                    <a:pt x="36620" y="18602"/>
                    <a:pt x="36500" y="18740"/>
                  </a:cubicBezTo>
                  <a:cubicBezTo>
                    <a:pt x="36380" y="18877"/>
                    <a:pt x="36311" y="18740"/>
                    <a:pt x="36380" y="18619"/>
                  </a:cubicBezTo>
                  <a:cubicBezTo>
                    <a:pt x="36449" y="18499"/>
                    <a:pt x="36191" y="18619"/>
                    <a:pt x="36157" y="18619"/>
                  </a:cubicBezTo>
                  <a:cubicBezTo>
                    <a:pt x="36122" y="18619"/>
                    <a:pt x="36380" y="18619"/>
                    <a:pt x="36449" y="18619"/>
                  </a:cubicBezTo>
                  <a:cubicBezTo>
                    <a:pt x="36396" y="18670"/>
                    <a:pt x="36313" y="18670"/>
                    <a:pt x="36260" y="18619"/>
                  </a:cubicBezTo>
                  <a:cubicBezTo>
                    <a:pt x="36260" y="18791"/>
                    <a:pt x="36122" y="18619"/>
                    <a:pt x="36088" y="18740"/>
                  </a:cubicBezTo>
                  <a:cubicBezTo>
                    <a:pt x="36054" y="18860"/>
                    <a:pt x="36088" y="18929"/>
                    <a:pt x="35916" y="18946"/>
                  </a:cubicBezTo>
                  <a:cubicBezTo>
                    <a:pt x="35744" y="18963"/>
                    <a:pt x="35916" y="19221"/>
                    <a:pt x="35796" y="19083"/>
                  </a:cubicBezTo>
                  <a:cubicBezTo>
                    <a:pt x="35916" y="19392"/>
                    <a:pt x="35796" y="19409"/>
                    <a:pt x="35607" y="19598"/>
                  </a:cubicBezTo>
                  <a:cubicBezTo>
                    <a:pt x="35418" y="19787"/>
                    <a:pt x="35607" y="19856"/>
                    <a:pt x="35607" y="19993"/>
                  </a:cubicBezTo>
                  <a:cubicBezTo>
                    <a:pt x="35607" y="20131"/>
                    <a:pt x="35401" y="20097"/>
                    <a:pt x="35470" y="20251"/>
                  </a:cubicBezTo>
                  <a:cubicBezTo>
                    <a:pt x="35538" y="20406"/>
                    <a:pt x="35607" y="20440"/>
                    <a:pt x="35607" y="20698"/>
                  </a:cubicBezTo>
                  <a:cubicBezTo>
                    <a:pt x="35607" y="20955"/>
                    <a:pt x="36054" y="20835"/>
                    <a:pt x="35899" y="20990"/>
                  </a:cubicBezTo>
                  <a:cubicBezTo>
                    <a:pt x="35744" y="21144"/>
                    <a:pt x="35435" y="21144"/>
                    <a:pt x="35212" y="21333"/>
                  </a:cubicBezTo>
                  <a:cubicBezTo>
                    <a:pt x="35212" y="21230"/>
                    <a:pt x="35212" y="21179"/>
                    <a:pt x="35315" y="21144"/>
                  </a:cubicBezTo>
                  <a:cubicBezTo>
                    <a:pt x="35109" y="21144"/>
                    <a:pt x="34851" y="20887"/>
                    <a:pt x="34731" y="21144"/>
                  </a:cubicBezTo>
                  <a:cubicBezTo>
                    <a:pt x="34559" y="21144"/>
                    <a:pt x="34611" y="21144"/>
                    <a:pt x="34491" y="21230"/>
                  </a:cubicBezTo>
                  <a:cubicBezTo>
                    <a:pt x="34370" y="21316"/>
                    <a:pt x="34491" y="21333"/>
                    <a:pt x="34611" y="21385"/>
                  </a:cubicBezTo>
                  <a:cubicBezTo>
                    <a:pt x="34731" y="21436"/>
                    <a:pt x="34422" y="21299"/>
                    <a:pt x="34439" y="21385"/>
                  </a:cubicBezTo>
                  <a:cubicBezTo>
                    <a:pt x="34456" y="21471"/>
                    <a:pt x="34559" y="21385"/>
                    <a:pt x="34439" y="21471"/>
                  </a:cubicBezTo>
                  <a:cubicBezTo>
                    <a:pt x="34319" y="21557"/>
                    <a:pt x="34164" y="21350"/>
                    <a:pt x="34439" y="21471"/>
                  </a:cubicBezTo>
                  <a:cubicBezTo>
                    <a:pt x="34302" y="21471"/>
                    <a:pt x="34250" y="21333"/>
                    <a:pt x="34164" y="21282"/>
                  </a:cubicBezTo>
                  <a:cubicBezTo>
                    <a:pt x="34078" y="21230"/>
                    <a:pt x="33924" y="21402"/>
                    <a:pt x="34164" y="21522"/>
                  </a:cubicBezTo>
                  <a:cubicBezTo>
                    <a:pt x="34405" y="21642"/>
                    <a:pt x="34542" y="21986"/>
                    <a:pt x="34164" y="21728"/>
                  </a:cubicBezTo>
                  <a:cubicBezTo>
                    <a:pt x="34164" y="21728"/>
                    <a:pt x="34164" y="21728"/>
                    <a:pt x="34164" y="21728"/>
                  </a:cubicBezTo>
                  <a:cubicBezTo>
                    <a:pt x="34164" y="21728"/>
                    <a:pt x="34164" y="21849"/>
                    <a:pt x="34164" y="21831"/>
                  </a:cubicBezTo>
                  <a:cubicBezTo>
                    <a:pt x="34353" y="21969"/>
                    <a:pt x="34680" y="22020"/>
                    <a:pt x="34662" y="22295"/>
                  </a:cubicBezTo>
                  <a:cubicBezTo>
                    <a:pt x="34542" y="22295"/>
                    <a:pt x="34473" y="22175"/>
                    <a:pt x="34336" y="22295"/>
                  </a:cubicBezTo>
                  <a:cubicBezTo>
                    <a:pt x="34199" y="22415"/>
                    <a:pt x="34645" y="22536"/>
                    <a:pt x="34456" y="22467"/>
                  </a:cubicBezTo>
                  <a:cubicBezTo>
                    <a:pt x="34267" y="22398"/>
                    <a:pt x="34456" y="22467"/>
                    <a:pt x="34456" y="22467"/>
                  </a:cubicBezTo>
                  <a:cubicBezTo>
                    <a:pt x="34456" y="22467"/>
                    <a:pt x="34456" y="22707"/>
                    <a:pt x="34456" y="22776"/>
                  </a:cubicBezTo>
                  <a:cubicBezTo>
                    <a:pt x="34456" y="22845"/>
                    <a:pt x="34216" y="22587"/>
                    <a:pt x="34250" y="22776"/>
                  </a:cubicBezTo>
                  <a:cubicBezTo>
                    <a:pt x="34250" y="22621"/>
                    <a:pt x="34147" y="22639"/>
                    <a:pt x="34078" y="22518"/>
                  </a:cubicBezTo>
                  <a:cubicBezTo>
                    <a:pt x="34010" y="22398"/>
                    <a:pt x="34078" y="22604"/>
                    <a:pt x="34078" y="22656"/>
                  </a:cubicBezTo>
                  <a:cubicBezTo>
                    <a:pt x="33988" y="22604"/>
                    <a:pt x="33946" y="22498"/>
                    <a:pt x="33975" y="22398"/>
                  </a:cubicBezTo>
                  <a:cubicBezTo>
                    <a:pt x="33855" y="22295"/>
                    <a:pt x="33666" y="22226"/>
                    <a:pt x="33855" y="22089"/>
                  </a:cubicBezTo>
                  <a:cubicBezTo>
                    <a:pt x="34044" y="21952"/>
                    <a:pt x="34199" y="22261"/>
                    <a:pt x="34353" y="22089"/>
                  </a:cubicBezTo>
                  <a:cubicBezTo>
                    <a:pt x="34216" y="22089"/>
                    <a:pt x="34061" y="21917"/>
                    <a:pt x="33958" y="22089"/>
                  </a:cubicBezTo>
                  <a:cubicBezTo>
                    <a:pt x="33855" y="22261"/>
                    <a:pt x="33838" y="21969"/>
                    <a:pt x="33786" y="22089"/>
                  </a:cubicBezTo>
                  <a:cubicBezTo>
                    <a:pt x="33546" y="21849"/>
                    <a:pt x="33374" y="21471"/>
                    <a:pt x="33065" y="21316"/>
                  </a:cubicBezTo>
                  <a:cubicBezTo>
                    <a:pt x="33065" y="21127"/>
                    <a:pt x="33065" y="20921"/>
                    <a:pt x="33065" y="20732"/>
                  </a:cubicBezTo>
                  <a:cubicBezTo>
                    <a:pt x="32859" y="20732"/>
                    <a:pt x="32739" y="20457"/>
                    <a:pt x="32584" y="20320"/>
                  </a:cubicBezTo>
                  <a:cubicBezTo>
                    <a:pt x="32429" y="20182"/>
                    <a:pt x="32326" y="20320"/>
                    <a:pt x="32275" y="20320"/>
                  </a:cubicBezTo>
                  <a:cubicBezTo>
                    <a:pt x="32223" y="20320"/>
                    <a:pt x="32275" y="20320"/>
                    <a:pt x="32395" y="20320"/>
                  </a:cubicBezTo>
                  <a:cubicBezTo>
                    <a:pt x="32515" y="20320"/>
                    <a:pt x="32103" y="20062"/>
                    <a:pt x="31931" y="20131"/>
                  </a:cubicBezTo>
                  <a:cubicBezTo>
                    <a:pt x="31759" y="20200"/>
                    <a:pt x="31416" y="19839"/>
                    <a:pt x="31742" y="19856"/>
                  </a:cubicBezTo>
                  <a:cubicBezTo>
                    <a:pt x="31347" y="19616"/>
                    <a:pt x="31536" y="19135"/>
                    <a:pt x="31175" y="19633"/>
                  </a:cubicBezTo>
                  <a:cubicBezTo>
                    <a:pt x="31175" y="19530"/>
                    <a:pt x="31038" y="19409"/>
                    <a:pt x="31175" y="19306"/>
                  </a:cubicBezTo>
                  <a:cubicBezTo>
                    <a:pt x="31313" y="19203"/>
                    <a:pt x="30832" y="19306"/>
                    <a:pt x="30746" y="19427"/>
                  </a:cubicBezTo>
                  <a:cubicBezTo>
                    <a:pt x="30746" y="19942"/>
                    <a:pt x="31347" y="20268"/>
                    <a:pt x="31656" y="20681"/>
                  </a:cubicBezTo>
                  <a:cubicBezTo>
                    <a:pt x="31811" y="20681"/>
                    <a:pt x="32223" y="20681"/>
                    <a:pt x="31983" y="20887"/>
                  </a:cubicBezTo>
                  <a:cubicBezTo>
                    <a:pt x="32223" y="21024"/>
                    <a:pt x="32979" y="21161"/>
                    <a:pt x="32807" y="21539"/>
                  </a:cubicBezTo>
                  <a:cubicBezTo>
                    <a:pt x="32653" y="21539"/>
                    <a:pt x="32807" y="21282"/>
                    <a:pt x="32532" y="21333"/>
                  </a:cubicBezTo>
                  <a:cubicBezTo>
                    <a:pt x="32258" y="21385"/>
                    <a:pt x="32258" y="21539"/>
                    <a:pt x="32309" y="21625"/>
                  </a:cubicBezTo>
                  <a:cubicBezTo>
                    <a:pt x="32670" y="21728"/>
                    <a:pt x="32309" y="21934"/>
                    <a:pt x="32309" y="22141"/>
                  </a:cubicBezTo>
                  <a:cubicBezTo>
                    <a:pt x="32309" y="22347"/>
                    <a:pt x="31845" y="22415"/>
                    <a:pt x="32086" y="22141"/>
                  </a:cubicBezTo>
                  <a:cubicBezTo>
                    <a:pt x="32197" y="21856"/>
                    <a:pt x="32069" y="21534"/>
                    <a:pt x="31794" y="21402"/>
                  </a:cubicBezTo>
                  <a:cubicBezTo>
                    <a:pt x="31639" y="21402"/>
                    <a:pt x="31794" y="21282"/>
                    <a:pt x="31656" y="21230"/>
                  </a:cubicBezTo>
                  <a:cubicBezTo>
                    <a:pt x="31518" y="21226"/>
                    <a:pt x="31393" y="21147"/>
                    <a:pt x="31330" y="21024"/>
                  </a:cubicBezTo>
                  <a:cubicBezTo>
                    <a:pt x="30317" y="21024"/>
                    <a:pt x="30145" y="18980"/>
                    <a:pt x="29080" y="20217"/>
                  </a:cubicBezTo>
                  <a:cubicBezTo>
                    <a:pt x="29080" y="20423"/>
                    <a:pt x="28736" y="20217"/>
                    <a:pt x="28633" y="20114"/>
                  </a:cubicBezTo>
                  <a:cubicBezTo>
                    <a:pt x="27568" y="19993"/>
                    <a:pt x="28633" y="20921"/>
                    <a:pt x="27448" y="21093"/>
                  </a:cubicBezTo>
                  <a:cubicBezTo>
                    <a:pt x="27534" y="21093"/>
                    <a:pt x="27448" y="21265"/>
                    <a:pt x="27448" y="21213"/>
                  </a:cubicBezTo>
                  <a:cubicBezTo>
                    <a:pt x="26744" y="21763"/>
                    <a:pt x="27448" y="21728"/>
                    <a:pt x="27191" y="22003"/>
                  </a:cubicBezTo>
                  <a:cubicBezTo>
                    <a:pt x="26950" y="22003"/>
                    <a:pt x="27070" y="22450"/>
                    <a:pt x="26847" y="22398"/>
                  </a:cubicBezTo>
                  <a:cubicBezTo>
                    <a:pt x="26418" y="22862"/>
                    <a:pt x="25919" y="22398"/>
                    <a:pt x="25421" y="22896"/>
                  </a:cubicBezTo>
                  <a:cubicBezTo>
                    <a:pt x="25095" y="22896"/>
                    <a:pt x="25147" y="22192"/>
                    <a:pt x="24700" y="22501"/>
                  </a:cubicBezTo>
                  <a:cubicBezTo>
                    <a:pt x="24700" y="22501"/>
                    <a:pt x="24494" y="22364"/>
                    <a:pt x="24408" y="22501"/>
                  </a:cubicBezTo>
                  <a:cubicBezTo>
                    <a:pt x="24426" y="22310"/>
                    <a:pt x="24460" y="22120"/>
                    <a:pt x="24511" y="21934"/>
                  </a:cubicBezTo>
                  <a:cubicBezTo>
                    <a:pt x="24185" y="21934"/>
                    <a:pt x="24511" y="21934"/>
                    <a:pt x="24511" y="21763"/>
                  </a:cubicBezTo>
                  <a:cubicBezTo>
                    <a:pt x="24099" y="22020"/>
                    <a:pt x="24614" y="21299"/>
                    <a:pt x="24631" y="21144"/>
                  </a:cubicBezTo>
                  <a:cubicBezTo>
                    <a:pt x="24648" y="20990"/>
                    <a:pt x="24631" y="20595"/>
                    <a:pt x="24734" y="20457"/>
                  </a:cubicBezTo>
                  <a:lnTo>
                    <a:pt x="24734" y="20457"/>
                  </a:lnTo>
                  <a:cubicBezTo>
                    <a:pt x="24734" y="20457"/>
                    <a:pt x="24734" y="20457"/>
                    <a:pt x="24734" y="20337"/>
                  </a:cubicBezTo>
                  <a:cubicBezTo>
                    <a:pt x="24734" y="20217"/>
                    <a:pt x="24734" y="20337"/>
                    <a:pt x="24734" y="20234"/>
                  </a:cubicBezTo>
                  <a:cubicBezTo>
                    <a:pt x="24734" y="20131"/>
                    <a:pt x="24940" y="20097"/>
                    <a:pt x="25026" y="20045"/>
                  </a:cubicBezTo>
                  <a:cubicBezTo>
                    <a:pt x="25112" y="19993"/>
                    <a:pt x="25404" y="20045"/>
                    <a:pt x="25490" y="20045"/>
                  </a:cubicBezTo>
                  <a:cubicBezTo>
                    <a:pt x="25851" y="20045"/>
                    <a:pt x="26246" y="20217"/>
                    <a:pt x="26607" y="20131"/>
                  </a:cubicBezTo>
                  <a:cubicBezTo>
                    <a:pt x="27242" y="20629"/>
                    <a:pt x="26847" y="18911"/>
                    <a:pt x="27276" y="19564"/>
                  </a:cubicBezTo>
                  <a:cubicBezTo>
                    <a:pt x="27276" y="19461"/>
                    <a:pt x="27173" y="19306"/>
                    <a:pt x="27053" y="19289"/>
                  </a:cubicBezTo>
                  <a:cubicBezTo>
                    <a:pt x="27225" y="19066"/>
                    <a:pt x="26899" y="19014"/>
                    <a:pt x="26813" y="18860"/>
                  </a:cubicBezTo>
                  <a:cubicBezTo>
                    <a:pt x="26727" y="18705"/>
                    <a:pt x="26813" y="18619"/>
                    <a:pt x="26950" y="18722"/>
                  </a:cubicBezTo>
                  <a:cubicBezTo>
                    <a:pt x="26847" y="18568"/>
                    <a:pt x="26727" y="18825"/>
                    <a:pt x="26727" y="18551"/>
                  </a:cubicBezTo>
                  <a:cubicBezTo>
                    <a:pt x="26607" y="18551"/>
                    <a:pt x="26400" y="18345"/>
                    <a:pt x="26229" y="18465"/>
                  </a:cubicBezTo>
                  <a:cubicBezTo>
                    <a:pt x="26057" y="18585"/>
                    <a:pt x="26229" y="18465"/>
                    <a:pt x="26229" y="18345"/>
                  </a:cubicBezTo>
                  <a:cubicBezTo>
                    <a:pt x="26229" y="18224"/>
                    <a:pt x="26332" y="18190"/>
                    <a:pt x="26229" y="18345"/>
                  </a:cubicBezTo>
                  <a:cubicBezTo>
                    <a:pt x="26126" y="18499"/>
                    <a:pt x="26229" y="18345"/>
                    <a:pt x="26229" y="18345"/>
                  </a:cubicBezTo>
                  <a:cubicBezTo>
                    <a:pt x="25851" y="18224"/>
                    <a:pt x="26435" y="18207"/>
                    <a:pt x="26555" y="18121"/>
                  </a:cubicBezTo>
                  <a:cubicBezTo>
                    <a:pt x="26692" y="18293"/>
                    <a:pt x="26795" y="18121"/>
                    <a:pt x="27019" y="18241"/>
                  </a:cubicBezTo>
                  <a:cubicBezTo>
                    <a:pt x="26989" y="18096"/>
                    <a:pt x="26949" y="17952"/>
                    <a:pt x="26899" y="17812"/>
                  </a:cubicBezTo>
                  <a:cubicBezTo>
                    <a:pt x="26899" y="17812"/>
                    <a:pt x="27053" y="17812"/>
                    <a:pt x="27105" y="17812"/>
                  </a:cubicBezTo>
                  <a:cubicBezTo>
                    <a:pt x="27156" y="17812"/>
                    <a:pt x="27397" y="18001"/>
                    <a:pt x="27500" y="17812"/>
                  </a:cubicBezTo>
                  <a:cubicBezTo>
                    <a:pt x="27259" y="17623"/>
                    <a:pt x="27775" y="17709"/>
                    <a:pt x="27775" y="17606"/>
                  </a:cubicBezTo>
                  <a:cubicBezTo>
                    <a:pt x="27775" y="17503"/>
                    <a:pt x="27860" y="17383"/>
                    <a:pt x="27895" y="17280"/>
                  </a:cubicBezTo>
                  <a:cubicBezTo>
                    <a:pt x="27929" y="17177"/>
                    <a:pt x="28204" y="16988"/>
                    <a:pt x="28444" y="17125"/>
                  </a:cubicBezTo>
                  <a:cubicBezTo>
                    <a:pt x="28273" y="17125"/>
                    <a:pt x="28221" y="16919"/>
                    <a:pt x="28444" y="17125"/>
                  </a:cubicBezTo>
                  <a:cubicBezTo>
                    <a:pt x="28668" y="17331"/>
                    <a:pt x="28324" y="17005"/>
                    <a:pt x="28547" y="17022"/>
                  </a:cubicBezTo>
                  <a:cubicBezTo>
                    <a:pt x="28187" y="16764"/>
                    <a:pt x="28925" y="16112"/>
                    <a:pt x="29286" y="16438"/>
                  </a:cubicBezTo>
                  <a:cubicBezTo>
                    <a:pt x="29028" y="16249"/>
                    <a:pt x="29389" y="16112"/>
                    <a:pt x="29458" y="16438"/>
                  </a:cubicBezTo>
                  <a:cubicBezTo>
                    <a:pt x="29458" y="16197"/>
                    <a:pt x="29458" y="16438"/>
                    <a:pt x="29595" y="16438"/>
                  </a:cubicBezTo>
                  <a:cubicBezTo>
                    <a:pt x="29441" y="16026"/>
                    <a:pt x="29750" y="16232"/>
                    <a:pt x="29956" y="16301"/>
                  </a:cubicBezTo>
                  <a:cubicBezTo>
                    <a:pt x="29389" y="16043"/>
                    <a:pt x="29544" y="15493"/>
                    <a:pt x="29389" y="15115"/>
                  </a:cubicBezTo>
                  <a:cubicBezTo>
                    <a:pt x="29630" y="15115"/>
                    <a:pt x="29527" y="14961"/>
                    <a:pt x="29664" y="15115"/>
                  </a:cubicBezTo>
                  <a:cubicBezTo>
                    <a:pt x="29664" y="14634"/>
                    <a:pt x="29836" y="15115"/>
                    <a:pt x="30025" y="15115"/>
                  </a:cubicBezTo>
                  <a:cubicBezTo>
                    <a:pt x="30025" y="15373"/>
                    <a:pt x="29527" y="15528"/>
                    <a:pt x="29922" y="16009"/>
                  </a:cubicBezTo>
                  <a:cubicBezTo>
                    <a:pt x="29922" y="15888"/>
                    <a:pt x="30334" y="16009"/>
                    <a:pt x="30059" y="16094"/>
                  </a:cubicBezTo>
                  <a:cubicBezTo>
                    <a:pt x="30591" y="16094"/>
                    <a:pt x="30385" y="15768"/>
                    <a:pt x="30883" y="16094"/>
                  </a:cubicBezTo>
                  <a:cubicBezTo>
                    <a:pt x="31124" y="16472"/>
                    <a:pt x="31656" y="15356"/>
                    <a:pt x="32103" y="15768"/>
                  </a:cubicBezTo>
                  <a:cubicBezTo>
                    <a:pt x="31828" y="15768"/>
                    <a:pt x="32103" y="16043"/>
                    <a:pt x="32326" y="15768"/>
                  </a:cubicBezTo>
                  <a:cubicBezTo>
                    <a:pt x="32299" y="15829"/>
                    <a:pt x="32250" y="15878"/>
                    <a:pt x="32189" y="15905"/>
                  </a:cubicBezTo>
                  <a:cubicBezTo>
                    <a:pt x="34078" y="15820"/>
                    <a:pt x="31656" y="15270"/>
                    <a:pt x="32704" y="14497"/>
                  </a:cubicBezTo>
                  <a:cubicBezTo>
                    <a:pt x="33082" y="15081"/>
                    <a:pt x="33202" y="14686"/>
                    <a:pt x="33031" y="14222"/>
                  </a:cubicBezTo>
                  <a:cubicBezTo>
                    <a:pt x="33031" y="14428"/>
                    <a:pt x="32739" y="14222"/>
                    <a:pt x="32842" y="14068"/>
                  </a:cubicBezTo>
                  <a:cubicBezTo>
                    <a:pt x="32532" y="14068"/>
                    <a:pt x="32842" y="13758"/>
                    <a:pt x="32842" y="13690"/>
                  </a:cubicBezTo>
                  <a:cubicBezTo>
                    <a:pt x="32842" y="13621"/>
                    <a:pt x="33082" y="13690"/>
                    <a:pt x="32979" y="13690"/>
                  </a:cubicBezTo>
                  <a:lnTo>
                    <a:pt x="33615" y="13793"/>
                  </a:lnTo>
                  <a:cubicBezTo>
                    <a:pt x="33426" y="13501"/>
                    <a:pt x="33615" y="13690"/>
                    <a:pt x="33752" y="13466"/>
                  </a:cubicBezTo>
                  <a:cubicBezTo>
                    <a:pt x="33889" y="13243"/>
                    <a:pt x="33305" y="13363"/>
                    <a:pt x="33546" y="13192"/>
                  </a:cubicBezTo>
                  <a:cubicBezTo>
                    <a:pt x="33546" y="13192"/>
                    <a:pt x="33426" y="13295"/>
                    <a:pt x="33408" y="13192"/>
                  </a:cubicBezTo>
                  <a:cubicBezTo>
                    <a:pt x="33408" y="13346"/>
                    <a:pt x="33099" y="13363"/>
                    <a:pt x="33031" y="13312"/>
                  </a:cubicBezTo>
                  <a:cubicBezTo>
                    <a:pt x="32962" y="13260"/>
                    <a:pt x="33031" y="13312"/>
                    <a:pt x="33031" y="13312"/>
                  </a:cubicBezTo>
                  <a:cubicBezTo>
                    <a:pt x="33031" y="13312"/>
                    <a:pt x="33031" y="13552"/>
                    <a:pt x="33031" y="13312"/>
                  </a:cubicBezTo>
                  <a:cubicBezTo>
                    <a:pt x="33031" y="13449"/>
                    <a:pt x="32601" y="13466"/>
                    <a:pt x="32567" y="13621"/>
                  </a:cubicBezTo>
                  <a:cubicBezTo>
                    <a:pt x="32567" y="13312"/>
                    <a:pt x="32412" y="13415"/>
                    <a:pt x="32172" y="13260"/>
                  </a:cubicBezTo>
                  <a:cubicBezTo>
                    <a:pt x="31931" y="13106"/>
                    <a:pt x="31691" y="12144"/>
                    <a:pt x="31914" y="12058"/>
                  </a:cubicBezTo>
                  <a:cubicBezTo>
                    <a:pt x="32137" y="11972"/>
                    <a:pt x="31914" y="11972"/>
                    <a:pt x="32017" y="12058"/>
                  </a:cubicBezTo>
                  <a:cubicBezTo>
                    <a:pt x="32120" y="12144"/>
                    <a:pt x="32017" y="11921"/>
                    <a:pt x="32017" y="11817"/>
                  </a:cubicBezTo>
                  <a:cubicBezTo>
                    <a:pt x="32017" y="11714"/>
                    <a:pt x="32240" y="11354"/>
                    <a:pt x="32309" y="11457"/>
                  </a:cubicBezTo>
                  <a:cubicBezTo>
                    <a:pt x="32103" y="11010"/>
                    <a:pt x="31708" y="11148"/>
                    <a:pt x="31502" y="11182"/>
                  </a:cubicBezTo>
                  <a:cubicBezTo>
                    <a:pt x="31622" y="11354"/>
                    <a:pt x="31502" y="11577"/>
                    <a:pt x="31656" y="11714"/>
                  </a:cubicBezTo>
                  <a:cubicBezTo>
                    <a:pt x="31532" y="12056"/>
                    <a:pt x="31318" y="12359"/>
                    <a:pt x="31038" y="12590"/>
                  </a:cubicBezTo>
                  <a:cubicBezTo>
                    <a:pt x="31158" y="12676"/>
                    <a:pt x="31038" y="12848"/>
                    <a:pt x="31175" y="12968"/>
                  </a:cubicBezTo>
                  <a:cubicBezTo>
                    <a:pt x="30883" y="13123"/>
                    <a:pt x="32189" y="13999"/>
                    <a:pt x="31382" y="13793"/>
                  </a:cubicBezTo>
                  <a:cubicBezTo>
                    <a:pt x="31382" y="13793"/>
                    <a:pt x="30901" y="13793"/>
                    <a:pt x="31210" y="13913"/>
                  </a:cubicBezTo>
                  <a:cubicBezTo>
                    <a:pt x="31519" y="14033"/>
                    <a:pt x="31811" y="14119"/>
                    <a:pt x="31485" y="14050"/>
                  </a:cubicBezTo>
                  <a:cubicBezTo>
                    <a:pt x="31485" y="14050"/>
                    <a:pt x="31485" y="14257"/>
                    <a:pt x="31364" y="14188"/>
                  </a:cubicBezTo>
                  <a:cubicBezTo>
                    <a:pt x="31244" y="14119"/>
                    <a:pt x="31467" y="14325"/>
                    <a:pt x="31364" y="14342"/>
                  </a:cubicBezTo>
                  <a:cubicBezTo>
                    <a:pt x="31485" y="14342"/>
                    <a:pt x="31519" y="14600"/>
                    <a:pt x="31364" y="14514"/>
                  </a:cubicBezTo>
                  <a:cubicBezTo>
                    <a:pt x="31502" y="14789"/>
                    <a:pt x="31519" y="15510"/>
                    <a:pt x="31090" y="15236"/>
                  </a:cubicBezTo>
                  <a:cubicBezTo>
                    <a:pt x="30815" y="16301"/>
                    <a:pt x="30059" y="14153"/>
                    <a:pt x="30162" y="14050"/>
                  </a:cubicBezTo>
                  <a:cubicBezTo>
                    <a:pt x="29990" y="13947"/>
                    <a:pt x="29939" y="13844"/>
                    <a:pt x="29939" y="13810"/>
                  </a:cubicBezTo>
                  <a:cubicBezTo>
                    <a:pt x="29958" y="13906"/>
                    <a:pt x="29958" y="14006"/>
                    <a:pt x="29939" y="14102"/>
                  </a:cubicBezTo>
                  <a:cubicBezTo>
                    <a:pt x="29939" y="14102"/>
                    <a:pt x="29939" y="14102"/>
                    <a:pt x="29733" y="13965"/>
                  </a:cubicBezTo>
                  <a:cubicBezTo>
                    <a:pt x="29733" y="14119"/>
                    <a:pt x="29733" y="14360"/>
                    <a:pt x="29595" y="14291"/>
                  </a:cubicBezTo>
                  <a:cubicBezTo>
                    <a:pt x="29733" y="14463"/>
                    <a:pt x="29286" y="14583"/>
                    <a:pt x="29183" y="14428"/>
                  </a:cubicBezTo>
                  <a:cubicBezTo>
                    <a:pt x="29080" y="14549"/>
                    <a:pt x="28651" y="14050"/>
                    <a:pt x="29183" y="14102"/>
                  </a:cubicBezTo>
                  <a:cubicBezTo>
                    <a:pt x="28960" y="14102"/>
                    <a:pt x="29183" y="13999"/>
                    <a:pt x="29011" y="13879"/>
                  </a:cubicBezTo>
                  <a:cubicBezTo>
                    <a:pt x="29011" y="14188"/>
                    <a:pt x="28771" y="13690"/>
                    <a:pt x="29011" y="13879"/>
                  </a:cubicBezTo>
                  <a:cubicBezTo>
                    <a:pt x="29252" y="14068"/>
                    <a:pt x="29011" y="13879"/>
                    <a:pt x="29166" y="13776"/>
                  </a:cubicBezTo>
                  <a:cubicBezTo>
                    <a:pt x="28960" y="13776"/>
                    <a:pt x="29166" y="13449"/>
                    <a:pt x="29166" y="13655"/>
                  </a:cubicBezTo>
                  <a:cubicBezTo>
                    <a:pt x="29118" y="13609"/>
                    <a:pt x="29118" y="13533"/>
                    <a:pt x="29164" y="13485"/>
                  </a:cubicBezTo>
                  <a:cubicBezTo>
                    <a:pt x="29165" y="13485"/>
                    <a:pt x="29165" y="13484"/>
                    <a:pt x="29166" y="13484"/>
                  </a:cubicBezTo>
                  <a:cubicBezTo>
                    <a:pt x="28943" y="13569"/>
                    <a:pt x="28822" y="13724"/>
                    <a:pt x="28943" y="13484"/>
                  </a:cubicBezTo>
                  <a:cubicBezTo>
                    <a:pt x="28788" y="13484"/>
                    <a:pt x="28736" y="13569"/>
                    <a:pt x="28943" y="13381"/>
                  </a:cubicBezTo>
                  <a:cubicBezTo>
                    <a:pt x="28599" y="13243"/>
                    <a:pt x="29544" y="13484"/>
                    <a:pt x="29355" y="13157"/>
                  </a:cubicBezTo>
                  <a:cubicBezTo>
                    <a:pt x="29355" y="13329"/>
                    <a:pt x="28582" y="13295"/>
                    <a:pt x="28994" y="13157"/>
                  </a:cubicBezTo>
                  <a:cubicBezTo>
                    <a:pt x="28651" y="13157"/>
                    <a:pt x="28994" y="13037"/>
                    <a:pt x="29183" y="13020"/>
                  </a:cubicBezTo>
                  <a:cubicBezTo>
                    <a:pt x="28822" y="13020"/>
                    <a:pt x="28754" y="12831"/>
                    <a:pt x="29046" y="12917"/>
                  </a:cubicBezTo>
                  <a:cubicBezTo>
                    <a:pt x="28960" y="12917"/>
                    <a:pt x="29046" y="12779"/>
                    <a:pt x="29183" y="12917"/>
                  </a:cubicBezTo>
                  <a:lnTo>
                    <a:pt x="29183" y="12797"/>
                  </a:lnTo>
                  <a:cubicBezTo>
                    <a:pt x="29183" y="12797"/>
                    <a:pt x="29183" y="12797"/>
                    <a:pt x="29441" y="12797"/>
                  </a:cubicBezTo>
                  <a:cubicBezTo>
                    <a:pt x="29114" y="12797"/>
                    <a:pt x="29303" y="12590"/>
                    <a:pt x="29578" y="12797"/>
                  </a:cubicBezTo>
                  <a:cubicBezTo>
                    <a:pt x="29217" y="12505"/>
                    <a:pt x="29578" y="12797"/>
                    <a:pt x="29578" y="12676"/>
                  </a:cubicBezTo>
                  <a:cubicBezTo>
                    <a:pt x="29578" y="12556"/>
                    <a:pt x="29922" y="12213"/>
                    <a:pt x="29767" y="12676"/>
                  </a:cubicBezTo>
                  <a:cubicBezTo>
                    <a:pt x="30007" y="12539"/>
                    <a:pt x="29973" y="12539"/>
                    <a:pt x="30059" y="12298"/>
                  </a:cubicBezTo>
                  <a:cubicBezTo>
                    <a:pt x="30145" y="12058"/>
                    <a:pt x="29784" y="12814"/>
                    <a:pt x="29801" y="12419"/>
                  </a:cubicBezTo>
                  <a:cubicBezTo>
                    <a:pt x="29664" y="12522"/>
                    <a:pt x="29801" y="12161"/>
                    <a:pt x="29801" y="12195"/>
                  </a:cubicBezTo>
                  <a:cubicBezTo>
                    <a:pt x="29801" y="12230"/>
                    <a:pt x="29990" y="12006"/>
                    <a:pt x="30145" y="11766"/>
                  </a:cubicBezTo>
                  <a:cubicBezTo>
                    <a:pt x="29990" y="11886"/>
                    <a:pt x="30059" y="11525"/>
                    <a:pt x="30145" y="11611"/>
                  </a:cubicBezTo>
                  <a:cubicBezTo>
                    <a:pt x="30231" y="11697"/>
                    <a:pt x="30145" y="11440"/>
                    <a:pt x="30145" y="11525"/>
                  </a:cubicBezTo>
                  <a:cubicBezTo>
                    <a:pt x="30042" y="11319"/>
                    <a:pt x="30145" y="11440"/>
                    <a:pt x="30145" y="11337"/>
                  </a:cubicBezTo>
                  <a:cubicBezTo>
                    <a:pt x="29939" y="11337"/>
                    <a:pt x="30145" y="11233"/>
                    <a:pt x="30025" y="11148"/>
                  </a:cubicBezTo>
                  <a:cubicBezTo>
                    <a:pt x="29904" y="11062"/>
                    <a:pt x="30025" y="10821"/>
                    <a:pt x="30334" y="10976"/>
                  </a:cubicBezTo>
                  <a:cubicBezTo>
                    <a:pt x="30179" y="10890"/>
                    <a:pt x="30111" y="10735"/>
                    <a:pt x="30334" y="10838"/>
                  </a:cubicBezTo>
                  <a:cubicBezTo>
                    <a:pt x="30557" y="10941"/>
                    <a:pt x="30162" y="10701"/>
                    <a:pt x="30334" y="10684"/>
                  </a:cubicBezTo>
                  <a:cubicBezTo>
                    <a:pt x="30042" y="10684"/>
                    <a:pt x="30334" y="10684"/>
                    <a:pt x="30334" y="10478"/>
                  </a:cubicBezTo>
                  <a:cubicBezTo>
                    <a:pt x="30523" y="10478"/>
                    <a:pt x="30488" y="10478"/>
                    <a:pt x="30506" y="10478"/>
                  </a:cubicBezTo>
                  <a:cubicBezTo>
                    <a:pt x="30918" y="10564"/>
                    <a:pt x="30214" y="10323"/>
                    <a:pt x="30506" y="10323"/>
                  </a:cubicBezTo>
                  <a:cubicBezTo>
                    <a:pt x="30506" y="10323"/>
                    <a:pt x="30506" y="10220"/>
                    <a:pt x="30506" y="10220"/>
                  </a:cubicBezTo>
                  <a:cubicBezTo>
                    <a:pt x="30506" y="10220"/>
                    <a:pt x="30506" y="9911"/>
                    <a:pt x="30609" y="10117"/>
                  </a:cubicBezTo>
                  <a:cubicBezTo>
                    <a:pt x="30712" y="10323"/>
                    <a:pt x="30609" y="10117"/>
                    <a:pt x="30609" y="10117"/>
                  </a:cubicBezTo>
                  <a:cubicBezTo>
                    <a:pt x="30385" y="9980"/>
                    <a:pt x="30609" y="10014"/>
                    <a:pt x="30609" y="10117"/>
                  </a:cubicBezTo>
                  <a:cubicBezTo>
                    <a:pt x="30609" y="10220"/>
                    <a:pt x="30609" y="9773"/>
                    <a:pt x="30609" y="10117"/>
                  </a:cubicBezTo>
                  <a:cubicBezTo>
                    <a:pt x="30609" y="9670"/>
                    <a:pt x="30609" y="10237"/>
                    <a:pt x="30798" y="10117"/>
                  </a:cubicBezTo>
                  <a:cubicBezTo>
                    <a:pt x="30609" y="9773"/>
                    <a:pt x="31021" y="10117"/>
                    <a:pt x="30798" y="9739"/>
                  </a:cubicBezTo>
                  <a:cubicBezTo>
                    <a:pt x="30901" y="9739"/>
                    <a:pt x="31038" y="9911"/>
                    <a:pt x="31124" y="9894"/>
                  </a:cubicBezTo>
                  <a:cubicBezTo>
                    <a:pt x="31210" y="9877"/>
                    <a:pt x="31124" y="9602"/>
                    <a:pt x="31124" y="9619"/>
                  </a:cubicBezTo>
                  <a:cubicBezTo>
                    <a:pt x="31124" y="9636"/>
                    <a:pt x="30969" y="9464"/>
                    <a:pt x="31124" y="9619"/>
                  </a:cubicBezTo>
                  <a:cubicBezTo>
                    <a:pt x="31279" y="9773"/>
                    <a:pt x="31124" y="9499"/>
                    <a:pt x="31124" y="9619"/>
                  </a:cubicBezTo>
                  <a:cubicBezTo>
                    <a:pt x="31244" y="9447"/>
                    <a:pt x="31279" y="10426"/>
                    <a:pt x="31261" y="9619"/>
                  </a:cubicBezTo>
                  <a:cubicBezTo>
                    <a:pt x="31536" y="10134"/>
                    <a:pt x="31261" y="9516"/>
                    <a:pt x="31450" y="9499"/>
                  </a:cubicBezTo>
                  <a:cubicBezTo>
                    <a:pt x="31639" y="9481"/>
                    <a:pt x="31450" y="9653"/>
                    <a:pt x="31553" y="9842"/>
                  </a:cubicBezTo>
                  <a:cubicBezTo>
                    <a:pt x="31656" y="10031"/>
                    <a:pt x="31639" y="9842"/>
                    <a:pt x="31674" y="9842"/>
                  </a:cubicBezTo>
                  <a:cubicBezTo>
                    <a:pt x="31502" y="9499"/>
                    <a:pt x="31863" y="9688"/>
                    <a:pt x="31845" y="9842"/>
                  </a:cubicBezTo>
                  <a:cubicBezTo>
                    <a:pt x="32172" y="9842"/>
                    <a:pt x="32051" y="10134"/>
                    <a:pt x="31742" y="10031"/>
                  </a:cubicBezTo>
                  <a:cubicBezTo>
                    <a:pt x="31845" y="10031"/>
                    <a:pt x="31948" y="10031"/>
                    <a:pt x="32000" y="10220"/>
                  </a:cubicBezTo>
                  <a:cubicBezTo>
                    <a:pt x="32051" y="10409"/>
                    <a:pt x="32120" y="10083"/>
                    <a:pt x="32275" y="10220"/>
                  </a:cubicBezTo>
                  <a:cubicBezTo>
                    <a:pt x="32275" y="10100"/>
                    <a:pt x="32275" y="10117"/>
                    <a:pt x="32275" y="10048"/>
                  </a:cubicBezTo>
                  <a:cubicBezTo>
                    <a:pt x="32275" y="9980"/>
                    <a:pt x="32653" y="10306"/>
                    <a:pt x="32378" y="10048"/>
                  </a:cubicBezTo>
                  <a:cubicBezTo>
                    <a:pt x="32378" y="10237"/>
                    <a:pt x="32567" y="10048"/>
                    <a:pt x="32584" y="10220"/>
                  </a:cubicBezTo>
                  <a:cubicBezTo>
                    <a:pt x="32601" y="10392"/>
                    <a:pt x="33220" y="10220"/>
                    <a:pt x="33683" y="10529"/>
                  </a:cubicBezTo>
                  <a:cubicBezTo>
                    <a:pt x="33563" y="10392"/>
                    <a:pt x="34044" y="10735"/>
                    <a:pt x="33804" y="10529"/>
                  </a:cubicBezTo>
                  <a:cubicBezTo>
                    <a:pt x="34697" y="10838"/>
                    <a:pt x="34611" y="11852"/>
                    <a:pt x="33597" y="11354"/>
                  </a:cubicBezTo>
                  <a:cubicBezTo>
                    <a:pt x="33477" y="11354"/>
                    <a:pt x="33477" y="11354"/>
                    <a:pt x="33426" y="11354"/>
                  </a:cubicBezTo>
                  <a:cubicBezTo>
                    <a:pt x="33374" y="11354"/>
                    <a:pt x="32910" y="11096"/>
                    <a:pt x="33065" y="11354"/>
                  </a:cubicBezTo>
                  <a:cubicBezTo>
                    <a:pt x="33220" y="11611"/>
                    <a:pt x="33460" y="11491"/>
                    <a:pt x="33357" y="11663"/>
                  </a:cubicBezTo>
                  <a:cubicBezTo>
                    <a:pt x="33632" y="11663"/>
                    <a:pt x="34834" y="13277"/>
                    <a:pt x="34576" y="12333"/>
                  </a:cubicBezTo>
                  <a:cubicBezTo>
                    <a:pt x="34388" y="12505"/>
                    <a:pt x="34113" y="12058"/>
                    <a:pt x="34250" y="12006"/>
                  </a:cubicBezTo>
                  <a:cubicBezTo>
                    <a:pt x="35693" y="12917"/>
                    <a:pt x="33975" y="11148"/>
                    <a:pt x="34972" y="11474"/>
                  </a:cubicBezTo>
                  <a:cubicBezTo>
                    <a:pt x="34972" y="11337"/>
                    <a:pt x="35092" y="11474"/>
                    <a:pt x="35143" y="11474"/>
                  </a:cubicBezTo>
                  <a:cubicBezTo>
                    <a:pt x="34895" y="11040"/>
                    <a:pt x="34569" y="10656"/>
                    <a:pt x="34181" y="10340"/>
                  </a:cubicBezTo>
                  <a:cubicBezTo>
                    <a:pt x="34491" y="10340"/>
                    <a:pt x="34972" y="10443"/>
                    <a:pt x="34800" y="10753"/>
                  </a:cubicBezTo>
                  <a:cubicBezTo>
                    <a:pt x="35195" y="11354"/>
                    <a:pt x="35349" y="10753"/>
                    <a:pt x="35143" y="10529"/>
                  </a:cubicBezTo>
                  <a:cubicBezTo>
                    <a:pt x="35315" y="10529"/>
                    <a:pt x="35143" y="9945"/>
                    <a:pt x="35401" y="10289"/>
                  </a:cubicBezTo>
                  <a:cubicBezTo>
                    <a:pt x="35401" y="10186"/>
                    <a:pt x="35178" y="9980"/>
                    <a:pt x="35401" y="10151"/>
                  </a:cubicBezTo>
                  <a:cubicBezTo>
                    <a:pt x="35229" y="9705"/>
                    <a:pt x="35521" y="10151"/>
                    <a:pt x="35727" y="10306"/>
                  </a:cubicBezTo>
                  <a:cubicBezTo>
                    <a:pt x="35727" y="10203"/>
                    <a:pt x="35727" y="10169"/>
                    <a:pt x="35727" y="10306"/>
                  </a:cubicBezTo>
                  <a:cubicBezTo>
                    <a:pt x="35504" y="10048"/>
                    <a:pt x="35882" y="10134"/>
                    <a:pt x="35830" y="9842"/>
                  </a:cubicBezTo>
                  <a:cubicBezTo>
                    <a:pt x="35951" y="9997"/>
                    <a:pt x="36311" y="10272"/>
                    <a:pt x="36019" y="9945"/>
                  </a:cubicBezTo>
                  <a:cubicBezTo>
                    <a:pt x="36191" y="9945"/>
                    <a:pt x="35916" y="9791"/>
                    <a:pt x="36122" y="9945"/>
                  </a:cubicBezTo>
                  <a:cubicBezTo>
                    <a:pt x="36035" y="9882"/>
                    <a:pt x="35943" y="9824"/>
                    <a:pt x="35848" y="9773"/>
                  </a:cubicBezTo>
                  <a:lnTo>
                    <a:pt x="35848" y="9773"/>
                  </a:lnTo>
                  <a:cubicBezTo>
                    <a:pt x="35057" y="9155"/>
                    <a:pt x="36586" y="9619"/>
                    <a:pt x="36981" y="9894"/>
                  </a:cubicBezTo>
                  <a:cubicBezTo>
                    <a:pt x="36792" y="9619"/>
                    <a:pt x="36517" y="9567"/>
                    <a:pt x="36260" y="9361"/>
                  </a:cubicBezTo>
                  <a:lnTo>
                    <a:pt x="36260" y="9361"/>
                  </a:lnTo>
                  <a:cubicBezTo>
                    <a:pt x="36260" y="9361"/>
                    <a:pt x="36260" y="9361"/>
                    <a:pt x="36140" y="9361"/>
                  </a:cubicBezTo>
                  <a:lnTo>
                    <a:pt x="36140" y="9361"/>
                  </a:lnTo>
                  <a:lnTo>
                    <a:pt x="35882" y="9155"/>
                  </a:lnTo>
                  <a:cubicBezTo>
                    <a:pt x="36019" y="9155"/>
                    <a:pt x="35624" y="8983"/>
                    <a:pt x="35727" y="8983"/>
                  </a:cubicBezTo>
                  <a:cubicBezTo>
                    <a:pt x="35504" y="8880"/>
                    <a:pt x="34353" y="7918"/>
                    <a:pt x="34594" y="7884"/>
                  </a:cubicBezTo>
                  <a:cubicBezTo>
                    <a:pt x="35435" y="8193"/>
                    <a:pt x="36311" y="9086"/>
                    <a:pt x="37136" y="9602"/>
                  </a:cubicBezTo>
                  <a:lnTo>
                    <a:pt x="37136" y="9602"/>
                  </a:lnTo>
                  <a:cubicBezTo>
                    <a:pt x="37389" y="9800"/>
                    <a:pt x="37614" y="10031"/>
                    <a:pt x="37806" y="10289"/>
                  </a:cubicBezTo>
                  <a:lnTo>
                    <a:pt x="37806" y="10289"/>
                  </a:lnTo>
                  <a:cubicBezTo>
                    <a:pt x="37995" y="10409"/>
                    <a:pt x="37977" y="10581"/>
                    <a:pt x="37806" y="10289"/>
                  </a:cubicBezTo>
                  <a:cubicBezTo>
                    <a:pt x="37806" y="10289"/>
                    <a:pt x="37479" y="10289"/>
                    <a:pt x="37703" y="10426"/>
                  </a:cubicBezTo>
                  <a:cubicBezTo>
                    <a:pt x="38939" y="10701"/>
                    <a:pt x="37256" y="9619"/>
                    <a:pt x="37101" y="9275"/>
                  </a:cubicBezTo>
                  <a:cubicBezTo>
                    <a:pt x="37101" y="9275"/>
                    <a:pt x="37101" y="9275"/>
                    <a:pt x="37101" y="9275"/>
                  </a:cubicBezTo>
                  <a:cubicBezTo>
                    <a:pt x="36284" y="8916"/>
                    <a:pt x="35525" y="8435"/>
                    <a:pt x="34851" y="7850"/>
                  </a:cubicBezTo>
                  <a:cubicBezTo>
                    <a:pt x="35229" y="8021"/>
                    <a:pt x="35573" y="8399"/>
                    <a:pt x="35933" y="8451"/>
                  </a:cubicBezTo>
                  <a:cubicBezTo>
                    <a:pt x="35796" y="8262"/>
                    <a:pt x="36208" y="8571"/>
                    <a:pt x="36105" y="8451"/>
                  </a:cubicBezTo>
                  <a:cubicBezTo>
                    <a:pt x="35827" y="8436"/>
                    <a:pt x="35564" y="8320"/>
                    <a:pt x="35367" y="8125"/>
                  </a:cubicBezTo>
                  <a:cubicBezTo>
                    <a:pt x="35727" y="8279"/>
                    <a:pt x="35367" y="8125"/>
                    <a:pt x="35367" y="8039"/>
                  </a:cubicBezTo>
                  <a:lnTo>
                    <a:pt x="35367" y="8039"/>
                  </a:lnTo>
                  <a:cubicBezTo>
                    <a:pt x="34886" y="7455"/>
                    <a:pt x="37084" y="8880"/>
                    <a:pt x="36363" y="8331"/>
                  </a:cubicBezTo>
                  <a:cubicBezTo>
                    <a:pt x="36637" y="8531"/>
                    <a:pt x="36938" y="8693"/>
                    <a:pt x="37256" y="8812"/>
                  </a:cubicBezTo>
                  <a:cubicBezTo>
                    <a:pt x="36947" y="8605"/>
                    <a:pt x="37256" y="8691"/>
                    <a:pt x="37428" y="8812"/>
                  </a:cubicBezTo>
                  <a:cubicBezTo>
                    <a:pt x="37325" y="8709"/>
                    <a:pt x="37033" y="8588"/>
                    <a:pt x="37101" y="8709"/>
                  </a:cubicBezTo>
                  <a:cubicBezTo>
                    <a:pt x="36569" y="8468"/>
                    <a:pt x="36019" y="8056"/>
                    <a:pt x="35384" y="7798"/>
                  </a:cubicBezTo>
                  <a:cubicBezTo>
                    <a:pt x="35212" y="7798"/>
                    <a:pt x="34405" y="7403"/>
                    <a:pt x="34525" y="7231"/>
                  </a:cubicBezTo>
                  <a:cubicBezTo>
                    <a:pt x="34284" y="6922"/>
                    <a:pt x="34697" y="7334"/>
                    <a:pt x="34851" y="7317"/>
                  </a:cubicBezTo>
                  <a:cubicBezTo>
                    <a:pt x="34628" y="7317"/>
                    <a:pt x="34491" y="7042"/>
                    <a:pt x="34267" y="7008"/>
                  </a:cubicBezTo>
                  <a:cubicBezTo>
                    <a:pt x="34044" y="6974"/>
                    <a:pt x="34061" y="7008"/>
                    <a:pt x="34027" y="6922"/>
                  </a:cubicBezTo>
                  <a:cubicBezTo>
                    <a:pt x="33992" y="6836"/>
                    <a:pt x="34130" y="6922"/>
                    <a:pt x="34027" y="6922"/>
                  </a:cubicBezTo>
                  <a:cubicBezTo>
                    <a:pt x="33924" y="6922"/>
                    <a:pt x="33838" y="6836"/>
                    <a:pt x="33872" y="6922"/>
                  </a:cubicBezTo>
                  <a:cubicBezTo>
                    <a:pt x="33907" y="7008"/>
                    <a:pt x="33683" y="6802"/>
                    <a:pt x="33872" y="6922"/>
                  </a:cubicBezTo>
                  <a:lnTo>
                    <a:pt x="33615" y="6768"/>
                  </a:lnTo>
                  <a:cubicBezTo>
                    <a:pt x="33615" y="6768"/>
                    <a:pt x="33615" y="6768"/>
                    <a:pt x="33615" y="6768"/>
                  </a:cubicBezTo>
                  <a:lnTo>
                    <a:pt x="33168" y="6458"/>
                  </a:lnTo>
                  <a:lnTo>
                    <a:pt x="33168" y="6458"/>
                  </a:lnTo>
                  <a:cubicBezTo>
                    <a:pt x="33086" y="6395"/>
                    <a:pt x="33000" y="6338"/>
                    <a:pt x="32910" y="6287"/>
                  </a:cubicBezTo>
                  <a:lnTo>
                    <a:pt x="32910" y="6287"/>
                  </a:lnTo>
                  <a:lnTo>
                    <a:pt x="32910" y="6287"/>
                  </a:lnTo>
                  <a:lnTo>
                    <a:pt x="32910" y="6287"/>
                  </a:lnTo>
                  <a:lnTo>
                    <a:pt x="32687" y="6184"/>
                  </a:lnTo>
                  <a:lnTo>
                    <a:pt x="32687" y="6184"/>
                  </a:lnTo>
                  <a:cubicBezTo>
                    <a:pt x="32687" y="6184"/>
                    <a:pt x="32515" y="6184"/>
                    <a:pt x="32687" y="6184"/>
                  </a:cubicBezTo>
                  <a:lnTo>
                    <a:pt x="32687" y="6184"/>
                  </a:lnTo>
                  <a:lnTo>
                    <a:pt x="32687" y="6184"/>
                  </a:lnTo>
                  <a:lnTo>
                    <a:pt x="32962" y="6287"/>
                  </a:lnTo>
                  <a:lnTo>
                    <a:pt x="32739" y="6184"/>
                  </a:lnTo>
                  <a:lnTo>
                    <a:pt x="32893" y="6184"/>
                  </a:lnTo>
                  <a:lnTo>
                    <a:pt x="32807" y="6184"/>
                  </a:lnTo>
                  <a:cubicBezTo>
                    <a:pt x="32762" y="6174"/>
                    <a:pt x="32715" y="6174"/>
                    <a:pt x="32670" y="6184"/>
                  </a:cubicBezTo>
                  <a:lnTo>
                    <a:pt x="32670" y="6184"/>
                  </a:lnTo>
                  <a:cubicBezTo>
                    <a:pt x="32625" y="6193"/>
                    <a:pt x="32578" y="6193"/>
                    <a:pt x="32532" y="6184"/>
                  </a:cubicBezTo>
                  <a:lnTo>
                    <a:pt x="32876" y="6304"/>
                  </a:lnTo>
                  <a:cubicBezTo>
                    <a:pt x="32750" y="6242"/>
                    <a:pt x="32618" y="6196"/>
                    <a:pt x="32481" y="6166"/>
                  </a:cubicBezTo>
                  <a:lnTo>
                    <a:pt x="32481" y="6166"/>
                  </a:lnTo>
                  <a:cubicBezTo>
                    <a:pt x="32481" y="6166"/>
                    <a:pt x="32292" y="6166"/>
                    <a:pt x="32343" y="6166"/>
                  </a:cubicBezTo>
                  <a:cubicBezTo>
                    <a:pt x="32395" y="6166"/>
                    <a:pt x="32343" y="6166"/>
                    <a:pt x="32343" y="6166"/>
                  </a:cubicBezTo>
                  <a:lnTo>
                    <a:pt x="32343" y="6166"/>
                  </a:lnTo>
                  <a:lnTo>
                    <a:pt x="32206" y="6166"/>
                  </a:lnTo>
                  <a:lnTo>
                    <a:pt x="32206" y="6166"/>
                  </a:lnTo>
                  <a:lnTo>
                    <a:pt x="31742" y="6029"/>
                  </a:lnTo>
                  <a:lnTo>
                    <a:pt x="31742" y="6029"/>
                  </a:lnTo>
                  <a:cubicBezTo>
                    <a:pt x="31571" y="6029"/>
                    <a:pt x="30763" y="5720"/>
                    <a:pt x="30952" y="5754"/>
                  </a:cubicBezTo>
                  <a:lnTo>
                    <a:pt x="30952" y="5754"/>
                  </a:lnTo>
                  <a:lnTo>
                    <a:pt x="31055" y="5754"/>
                  </a:lnTo>
                  <a:lnTo>
                    <a:pt x="31055" y="5754"/>
                  </a:lnTo>
                  <a:cubicBezTo>
                    <a:pt x="31244" y="5754"/>
                    <a:pt x="31416" y="5857"/>
                    <a:pt x="31605" y="5909"/>
                  </a:cubicBezTo>
                  <a:lnTo>
                    <a:pt x="31416" y="5909"/>
                  </a:lnTo>
                  <a:lnTo>
                    <a:pt x="31588" y="5909"/>
                  </a:lnTo>
                  <a:lnTo>
                    <a:pt x="31485" y="5909"/>
                  </a:lnTo>
                  <a:cubicBezTo>
                    <a:pt x="31588" y="5909"/>
                    <a:pt x="31364" y="5909"/>
                    <a:pt x="31485" y="5909"/>
                  </a:cubicBezTo>
                  <a:lnTo>
                    <a:pt x="31485" y="5909"/>
                  </a:lnTo>
                  <a:cubicBezTo>
                    <a:pt x="31794" y="5995"/>
                    <a:pt x="32481" y="6201"/>
                    <a:pt x="31811" y="5909"/>
                  </a:cubicBezTo>
                  <a:lnTo>
                    <a:pt x="31811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2292" y="6046"/>
                  </a:lnTo>
                  <a:lnTo>
                    <a:pt x="32051" y="6046"/>
                  </a:lnTo>
                  <a:lnTo>
                    <a:pt x="32378" y="6046"/>
                  </a:lnTo>
                  <a:lnTo>
                    <a:pt x="32635" y="6046"/>
                  </a:lnTo>
                  <a:lnTo>
                    <a:pt x="32635" y="6046"/>
                  </a:lnTo>
                  <a:cubicBezTo>
                    <a:pt x="32412" y="6046"/>
                    <a:pt x="32635" y="6046"/>
                    <a:pt x="32773" y="6046"/>
                  </a:cubicBezTo>
                  <a:lnTo>
                    <a:pt x="32773" y="6046"/>
                  </a:lnTo>
                  <a:lnTo>
                    <a:pt x="32773" y="6046"/>
                  </a:lnTo>
                  <a:cubicBezTo>
                    <a:pt x="33198" y="6156"/>
                    <a:pt x="33612" y="6306"/>
                    <a:pt x="34010" y="6493"/>
                  </a:cubicBezTo>
                  <a:cubicBezTo>
                    <a:pt x="34010" y="6493"/>
                    <a:pt x="34010" y="6493"/>
                    <a:pt x="34010" y="6493"/>
                  </a:cubicBezTo>
                  <a:cubicBezTo>
                    <a:pt x="34010" y="6493"/>
                    <a:pt x="34456" y="6665"/>
                    <a:pt x="34645" y="6768"/>
                  </a:cubicBezTo>
                  <a:lnTo>
                    <a:pt x="34645" y="6768"/>
                  </a:lnTo>
                  <a:lnTo>
                    <a:pt x="35470" y="7163"/>
                  </a:lnTo>
                  <a:cubicBezTo>
                    <a:pt x="35212" y="7025"/>
                    <a:pt x="34954" y="6871"/>
                    <a:pt x="34662" y="6733"/>
                  </a:cubicBezTo>
                  <a:lnTo>
                    <a:pt x="34662" y="6733"/>
                  </a:lnTo>
                  <a:lnTo>
                    <a:pt x="34353" y="6596"/>
                  </a:lnTo>
                  <a:lnTo>
                    <a:pt x="34491" y="6596"/>
                  </a:lnTo>
                  <a:cubicBezTo>
                    <a:pt x="34491" y="6596"/>
                    <a:pt x="34044" y="6441"/>
                    <a:pt x="34250" y="6493"/>
                  </a:cubicBezTo>
                  <a:lnTo>
                    <a:pt x="34113" y="6493"/>
                  </a:lnTo>
                  <a:lnTo>
                    <a:pt x="34422" y="6596"/>
                  </a:lnTo>
                  <a:cubicBezTo>
                    <a:pt x="34327" y="6538"/>
                    <a:pt x="34222" y="6497"/>
                    <a:pt x="34113" y="6476"/>
                  </a:cubicBezTo>
                  <a:cubicBezTo>
                    <a:pt x="34287" y="6517"/>
                    <a:pt x="34459" y="6568"/>
                    <a:pt x="34628" y="6630"/>
                  </a:cubicBezTo>
                  <a:lnTo>
                    <a:pt x="34473" y="6630"/>
                  </a:lnTo>
                  <a:lnTo>
                    <a:pt x="34473" y="6630"/>
                  </a:lnTo>
                  <a:lnTo>
                    <a:pt x="33700" y="4827"/>
                  </a:lnTo>
                  <a:cubicBezTo>
                    <a:pt x="42679" y="7791"/>
                    <a:pt x="48892" y="15993"/>
                    <a:pt x="49314" y="25438"/>
                  </a:cubicBezTo>
                  <a:cubicBezTo>
                    <a:pt x="49301" y="25780"/>
                    <a:pt x="49255" y="26119"/>
                    <a:pt x="49177" y="26452"/>
                  </a:cubicBezTo>
                  <a:cubicBezTo>
                    <a:pt x="49245" y="26349"/>
                    <a:pt x="49159" y="26538"/>
                    <a:pt x="49159" y="26589"/>
                  </a:cubicBezTo>
                  <a:close/>
                </a:path>
              </a:pathLst>
            </a:custGeom>
            <a:solidFill>
              <a:srgbClr val="00B0F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B4B4B4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1" name="Google Shape;91;p8"/>
            <p:cNvSpPr/>
            <p:nvPr/>
          </p:nvSpPr>
          <p:spPr>
            <a:xfrm rot="-5400000">
              <a:off x="12026199" y="6563439"/>
              <a:ext cx="13277" cy="68070"/>
            </a:xfrm>
            <a:custGeom>
              <a:avLst/>
              <a:gdLst/>
              <a:ahLst/>
              <a:cxnLst/>
              <a:rect l="l" t="t" r="r" b="b"/>
              <a:pathLst>
                <a:path w="13277" h="68070" extrusionOk="0">
                  <a:moveTo>
                    <a:pt x="13277" y="12024"/>
                  </a:moveTo>
                  <a:lnTo>
                    <a:pt x="0" y="12024"/>
                  </a:lnTo>
                  <a:lnTo>
                    <a:pt x="0" y="0"/>
                  </a:lnTo>
                  <a:lnTo>
                    <a:pt x="13277" y="0"/>
                  </a:lnTo>
                  <a:close/>
                  <a:moveTo>
                    <a:pt x="0" y="17984"/>
                  </a:moveTo>
                  <a:lnTo>
                    <a:pt x="13277" y="17984"/>
                  </a:lnTo>
                  <a:lnTo>
                    <a:pt x="13277" y="68070"/>
                  </a:lnTo>
                  <a:lnTo>
                    <a:pt x="0" y="68070"/>
                  </a:lnTo>
                  <a:close/>
                </a:path>
              </a:pathLst>
            </a:custGeom>
            <a:solidFill>
              <a:srgbClr val="00B0F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B4B4B4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2" name="Google Shape;92;p8"/>
            <p:cNvSpPr/>
            <p:nvPr/>
          </p:nvSpPr>
          <p:spPr>
            <a:xfrm rot="-5400000">
              <a:off x="12018640" y="6529825"/>
              <a:ext cx="45208" cy="51256"/>
            </a:xfrm>
            <a:custGeom>
              <a:avLst/>
              <a:gdLst/>
              <a:ahLst/>
              <a:cxnLst/>
              <a:rect l="l" t="t" r="r" b="b"/>
              <a:pathLst>
                <a:path w="45208" h="51256" extrusionOk="0">
                  <a:moveTo>
                    <a:pt x="40279" y="4038"/>
                  </a:moveTo>
                  <a:cubicBezTo>
                    <a:pt x="43565" y="6752"/>
                    <a:pt x="45209" y="11246"/>
                    <a:pt x="45209" y="17521"/>
                  </a:cubicBezTo>
                  <a:lnTo>
                    <a:pt x="45209" y="51256"/>
                  </a:lnTo>
                  <a:lnTo>
                    <a:pt x="31794" y="51256"/>
                  </a:lnTo>
                  <a:lnTo>
                    <a:pt x="31794" y="20785"/>
                  </a:lnTo>
                  <a:cubicBezTo>
                    <a:pt x="31892" y="18712"/>
                    <a:pt x="31535" y="16642"/>
                    <a:pt x="30746" y="14722"/>
                  </a:cubicBezTo>
                  <a:cubicBezTo>
                    <a:pt x="29458" y="12162"/>
                    <a:pt x="27036" y="10874"/>
                    <a:pt x="23446" y="10874"/>
                  </a:cubicBezTo>
                  <a:cubicBezTo>
                    <a:pt x="19509" y="10574"/>
                    <a:pt x="15832" y="12861"/>
                    <a:pt x="14360" y="16525"/>
                  </a:cubicBezTo>
                  <a:cubicBezTo>
                    <a:pt x="13437" y="18959"/>
                    <a:pt x="13005" y="21550"/>
                    <a:pt x="13089" y="24152"/>
                  </a:cubicBezTo>
                  <a:lnTo>
                    <a:pt x="13089" y="51256"/>
                  </a:lnTo>
                  <a:lnTo>
                    <a:pt x="0" y="51256"/>
                  </a:lnTo>
                  <a:lnTo>
                    <a:pt x="0" y="1272"/>
                  </a:lnTo>
                  <a:lnTo>
                    <a:pt x="12676" y="1272"/>
                  </a:lnTo>
                  <a:lnTo>
                    <a:pt x="12676" y="8607"/>
                  </a:lnTo>
                  <a:cubicBezTo>
                    <a:pt x="13939" y="6498"/>
                    <a:pt x="15548" y="4617"/>
                    <a:pt x="17434" y="3042"/>
                  </a:cubicBezTo>
                  <a:cubicBezTo>
                    <a:pt x="20409" y="938"/>
                    <a:pt x="23996" y="-125"/>
                    <a:pt x="27637" y="19"/>
                  </a:cubicBezTo>
                  <a:cubicBezTo>
                    <a:pt x="32194" y="-181"/>
                    <a:pt x="36674" y="1243"/>
                    <a:pt x="40279" y="4038"/>
                  </a:cubicBezTo>
                  <a:close/>
                </a:path>
              </a:pathLst>
            </a:custGeom>
            <a:solidFill>
              <a:srgbClr val="00B0F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B4B4B4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3" name="Google Shape;93;p8"/>
            <p:cNvSpPr/>
            <p:nvPr/>
          </p:nvSpPr>
          <p:spPr>
            <a:xfrm rot="-5400000">
              <a:off x="12018195" y="6477145"/>
              <a:ext cx="28942" cy="68414"/>
            </a:xfrm>
            <a:custGeom>
              <a:avLst/>
              <a:gdLst/>
              <a:ahLst/>
              <a:cxnLst/>
              <a:rect l="l" t="t" r="r" b="b"/>
              <a:pathLst>
                <a:path w="28942" h="68414" extrusionOk="0">
                  <a:moveTo>
                    <a:pt x="25868" y="0"/>
                  </a:moveTo>
                  <a:lnTo>
                    <a:pt x="28616" y="206"/>
                  </a:lnTo>
                  <a:lnTo>
                    <a:pt x="28616" y="10941"/>
                  </a:lnTo>
                  <a:cubicBezTo>
                    <a:pt x="27390" y="10808"/>
                    <a:pt x="26157" y="10739"/>
                    <a:pt x="24923" y="10735"/>
                  </a:cubicBezTo>
                  <a:cubicBezTo>
                    <a:pt x="23616" y="10538"/>
                    <a:pt x="22290" y="10956"/>
                    <a:pt x="21333" y="11869"/>
                  </a:cubicBezTo>
                  <a:cubicBezTo>
                    <a:pt x="20704" y="12627"/>
                    <a:pt x="20358" y="13580"/>
                    <a:pt x="20354" y="14566"/>
                  </a:cubicBezTo>
                  <a:lnTo>
                    <a:pt x="20354" y="18791"/>
                  </a:lnTo>
                  <a:lnTo>
                    <a:pt x="28943" y="18791"/>
                  </a:lnTo>
                  <a:lnTo>
                    <a:pt x="28943" y="28032"/>
                  </a:lnTo>
                  <a:lnTo>
                    <a:pt x="20354" y="28032"/>
                  </a:lnTo>
                  <a:lnTo>
                    <a:pt x="20354" y="68414"/>
                  </a:lnTo>
                  <a:lnTo>
                    <a:pt x="7352" y="68414"/>
                  </a:lnTo>
                  <a:lnTo>
                    <a:pt x="7352" y="28032"/>
                  </a:lnTo>
                  <a:lnTo>
                    <a:pt x="0" y="28032"/>
                  </a:lnTo>
                  <a:lnTo>
                    <a:pt x="0" y="18791"/>
                  </a:lnTo>
                  <a:lnTo>
                    <a:pt x="7163" y="18791"/>
                  </a:lnTo>
                  <a:lnTo>
                    <a:pt x="7163" y="15579"/>
                  </a:lnTo>
                  <a:cubicBezTo>
                    <a:pt x="7163" y="10220"/>
                    <a:pt x="8067" y="6527"/>
                    <a:pt x="9877" y="4500"/>
                  </a:cubicBezTo>
                  <a:cubicBezTo>
                    <a:pt x="11783" y="1494"/>
                    <a:pt x="16352" y="0"/>
                    <a:pt x="23618" y="0"/>
                  </a:cubicBezTo>
                  <a:cubicBezTo>
                    <a:pt x="24442" y="0"/>
                    <a:pt x="25198" y="0"/>
                    <a:pt x="25868" y="0"/>
                  </a:cubicBezTo>
                  <a:close/>
                </a:path>
              </a:pathLst>
            </a:custGeom>
            <a:solidFill>
              <a:srgbClr val="00B0F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B4B4B4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4" name="Google Shape;94;p8"/>
            <p:cNvSpPr/>
            <p:nvPr/>
          </p:nvSpPr>
          <p:spPr>
            <a:xfrm rot="-5400000">
              <a:off x="12016830" y="6161182"/>
              <a:ext cx="49036" cy="51048"/>
            </a:xfrm>
            <a:custGeom>
              <a:avLst/>
              <a:gdLst/>
              <a:ahLst/>
              <a:cxnLst/>
              <a:rect l="l" t="t" r="r" b="b"/>
              <a:pathLst>
                <a:path w="49036" h="51048" extrusionOk="0">
                  <a:moveTo>
                    <a:pt x="42949" y="43542"/>
                  </a:moveTo>
                  <a:cubicBezTo>
                    <a:pt x="38907" y="48535"/>
                    <a:pt x="32763" y="51037"/>
                    <a:pt x="24519" y="51049"/>
                  </a:cubicBezTo>
                  <a:cubicBezTo>
                    <a:pt x="16274" y="51060"/>
                    <a:pt x="10125" y="48558"/>
                    <a:pt x="6071" y="43542"/>
                  </a:cubicBezTo>
                  <a:cubicBezTo>
                    <a:pt x="2000" y="38452"/>
                    <a:pt x="-145" y="32091"/>
                    <a:pt x="8" y="25576"/>
                  </a:cubicBezTo>
                  <a:cubicBezTo>
                    <a:pt x="-130" y="19058"/>
                    <a:pt x="2016" y="12697"/>
                    <a:pt x="6071" y="7592"/>
                  </a:cubicBezTo>
                  <a:cubicBezTo>
                    <a:pt x="10125" y="2519"/>
                    <a:pt x="16274" y="-11"/>
                    <a:pt x="24519" y="0"/>
                  </a:cubicBezTo>
                  <a:cubicBezTo>
                    <a:pt x="32763" y="12"/>
                    <a:pt x="38907" y="2542"/>
                    <a:pt x="42949" y="7592"/>
                  </a:cubicBezTo>
                  <a:cubicBezTo>
                    <a:pt x="47010" y="12695"/>
                    <a:pt x="49160" y="19056"/>
                    <a:pt x="49030" y="25576"/>
                  </a:cubicBezTo>
                  <a:cubicBezTo>
                    <a:pt x="49177" y="32093"/>
                    <a:pt x="47023" y="38454"/>
                    <a:pt x="42949" y="43542"/>
                  </a:cubicBezTo>
                  <a:close/>
                  <a:moveTo>
                    <a:pt x="32918" y="36672"/>
                  </a:moveTo>
                  <a:cubicBezTo>
                    <a:pt x="35077" y="33390"/>
                    <a:pt x="36115" y="29497"/>
                    <a:pt x="35872" y="25576"/>
                  </a:cubicBezTo>
                  <a:cubicBezTo>
                    <a:pt x="36123" y="21654"/>
                    <a:pt x="35086" y="17758"/>
                    <a:pt x="32918" y="14480"/>
                  </a:cubicBezTo>
                  <a:cubicBezTo>
                    <a:pt x="28893" y="9808"/>
                    <a:pt x="21844" y="9283"/>
                    <a:pt x="17172" y="13307"/>
                  </a:cubicBezTo>
                  <a:cubicBezTo>
                    <a:pt x="16753" y="13668"/>
                    <a:pt x="16360" y="14060"/>
                    <a:pt x="15999" y="14480"/>
                  </a:cubicBezTo>
                  <a:cubicBezTo>
                    <a:pt x="13826" y="17756"/>
                    <a:pt x="12782" y="21652"/>
                    <a:pt x="13027" y="25576"/>
                  </a:cubicBezTo>
                  <a:cubicBezTo>
                    <a:pt x="12782" y="29510"/>
                    <a:pt x="13824" y="33418"/>
                    <a:pt x="15999" y="36706"/>
                  </a:cubicBezTo>
                  <a:cubicBezTo>
                    <a:pt x="19994" y="41378"/>
                    <a:pt x="27020" y="41927"/>
                    <a:pt x="31692" y="37932"/>
                  </a:cubicBezTo>
                  <a:cubicBezTo>
                    <a:pt x="32131" y="37556"/>
                    <a:pt x="32542" y="37146"/>
                    <a:pt x="32918" y="36706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B4B4B4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5" name="Google Shape;95;p8"/>
            <p:cNvSpPr/>
            <p:nvPr/>
          </p:nvSpPr>
          <p:spPr>
            <a:xfrm rot="-5400000">
              <a:off x="12005374" y="6370523"/>
              <a:ext cx="71791" cy="51205"/>
            </a:xfrm>
            <a:custGeom>
              <a:avLst/>
              <a:gdLst/>
              <a:ahLst/>
              <a:cxnLst/>
              <a:rect l="l" t="t" r="r" b="b"/>
              <a:pathLst>
                <a:path w="71791" h="51205" extrusionOk="0">
                  <a:moveTo>
                    <a:pt x="62643" y="1307"/>
                  </a:moveTo>
                  <a:cubicBezTo>
                    <a:pt x="64938" y="2282"/>
                    <a:pt x="66944" y="3832"/>
                    <a:pt x="68466" y="5808"/>
                  </a:cubicBezTo>
                  <a:cubicBezTo>
                    <a:pt x="69936" y="7685"/>
                    <a:pt x="70917" y="9898"/>
                    <a:pt x="71317" y="12249"/>
                  </a:cubicBezTo>
                  <a:cubicBezTo>
                    <a:pt x="71680" y="14693"/>
                    <a:pt x="71834" y="17164"/>
                    <a:pt x="71781" y="19635"/>
                  </a:cubicBezTo>
                  <a:lnTo>
                    <a:pt x="71781" y="51205"/>
                  </a:lnTo>
                  <a:lnTo>
                    <a:pt x="58349" y="51205"/>
                  </a:lnTo>
                  <a:lnTo>
                    <a:pt x="58349" y="19308"/>
                  </a:lnTo>
                  <a:cubicBezTo>
                    <a:pt x="58414" y="17701"/>
                    <a:pt x="58101" y="16101"/>
                    <a:pt x="57438" y="14636"/>
                  </a:cubicBezTo>
                  <a:cubicBezTo>
                    <a:pt x="56188" y="12289"/>
                    <a:pt x="53642" y="10931"/>
                    <a:pt x="50997" y="11201"/>
                  </a:cubicBezTo>
                  <a:cubicBezTo>
                    <a:pt x="47802" y="10957"/>
                    <a:pt x="44803" y="12763"/>
                    <a:pt x="43525" y="15701"/>
                  </a:cubicBezTo>
                  <a:cubicBezTo>
                    <a:pt x="42766" y="17522"/>
                    <a:pt x="42404" y="19483"/>
                    <a:pt x="42460" y="21455"/>
                  </a:cubicBezTo>
                  <a:lnTo>
                    <a:pt x="42460" y="51205"/>
                  </a:lnTo>
                  <a:lnTo>
                    <a:pt x="29269" y="51205"/>
                  </a:lnTo>
                  <a:lnTo>
                    <a:pt x="29269" y="21387"/>
                  </a:lnTo>
                  <a:cubicBezTo>
                    <a:pt x="29389" y="19189"/>
                    <a:pt x="29080" y="16990"/>
                    <a:pt x="28359" y="14911"/>
                  </a:cubicBezTo>
                  <a:cubicBezTo>
                    <a:pt x="27192" y="12446"/>
                    <a:pt x="24595" y="10986"/>
                    <a:pt x="21883" y="11270"/>
                  </a:cubicBezTo>
                  <a:cubicBezTo>
                    <a:pt x="18138" y="11270"/>
                    <a:pt x="15626" y="12484"/>
                    <a:pt x="14342" y="14911"/>
                  </a:cubicBezTo>
                  <a:cubicBezTo>
                    <a:pt x="13527" y="16854"/>
                    <a:pt x="13162" y="18956"/>
                    <a:pt x="13277" y="21060"/>
                  </a:cubicBezTo>
                  <a:lnTo>
                    <a:pt x="13277" y="51205"/>
                  </a:lnTo>
                  <a:lnTo>
                    <a:pt x="0" y="51205"/>
                  </a:lnTo>
                  <a:lnTo>
                    <a:pt x="0" y="1221"/>
                  </a:lnTo>
                  <a:lnTo>
                    <a:pt x="12728" y="1221"/>
                  </a:lnTo>
                  <a:lnTo>
                    <a:pt x="12728" y="8556"/>
                  </a:lnTo>
                  <a:cubicBezTo>
                    <a:pt x="13930" y="6449"/>
                    <a:pt x="15488" y="4567"/>
                    <a:pt x="17331" y="2991"/>
                  </a:cubicBezTo>
                  <a:cubicBezTo>
                    <a:pt x="23120" y="-769"/>
                    <a:pt x="30538" y="-929"/>
                    <a:pt x="36483" y="2578"/>
                  </a:cubicBezTo>
                  <a:cubicBezTo>
                    <a:pt x="38381" y="4179"/>
                    <a:pt x="39841" y="6236"/>
                    <a:pt x="40726" y="8556"/>
                  </a:cubicBezTo>
                  <a:cubicBezTo>
                    <a:pt x="42206" y="5843"/>
                    <a:pt x="44413" y="3595"/>
                    <a:pt x="47098" y="2063"/>
                  </a:cubicBezTo>
                  <a:cubicBezTo>
                    <a:pt x="49896" y="665"/>
                    <a:pt x="52988" y="-42"/>
                    <a:pt x="56116" y="2"/>
                  </a:cubicBezTo>
                  <a:cubicBezTo>
                    <a:pt x="58356" y="15"/>
                    <a:pt x="60571" y="458"/>
                    <a:pt x="62643" y="1307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B4B4B4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6" name="Google Shape;96;p8"/>
            <p:cNvSpPr/>
            <p:nvPr/>
          </p:nvSpPr>
          <p:spPr>
            <a:xfrm rot="-5400000">
              <a:off x="12026199" y="6307354"/>
              <a:ext cx="13277" cy="68070"/>
            </a:xfrm>
            <a:custGeom>
              <a:avLst/>
              <a:gdLst/>
              <a:ahLst/>
              <a:cxnLst/>
              <a:rect l="l" t="t" r="r" b="b"/>
              <a:pathLst>
                <a:path w="13277" h="68070" extrusionOk="0">
                  <a:moveTo>
                    <a:pt x="13278" y="12024"/>
                  </a:moveTo>
                  <a:lnTo>
                    <a:pt x="0" y="12024"/>
                  </a:lnTo>
                  <a:lnTo>
                    <a:pt x="0" y="0"/>
                  </a:lnTo>
                  <a:lnTo>
                    <a:pt x="13278" y="0"/>
                  </a:lnTo>
                  <a:close/>
                  <a:moveTo>
                    <a:pt x="0" y="17984"/>
                  </a:moveTo>
                  <a:lnTo>
                    <a:pt x="13278" y="17984"/>
                  </a:lnTo>
                  <a:lnTo>
                    <a:pt x="13278" y="68070"/>
                  </a:lnTo>
                  <a:lnTo>
                    <a:pt x="0" y="6807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B4B4B4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7" name="Google Shape;97;p8"/>
            <p:cNvSpPr/>
            <p:nvPr/>
          </p:nvSpPr>
          <p:spPr>
            <a:xfrm rot="-5400000">
              <a:off x="12018641" y="6273739"/>
              <a:ext cx="45208" cy="51255"/>
            </a:xfrm>
            <a:custGeom>
              <a:avLst/>
              <a:gdLst/>
              <a:ahLst/>
              <a:cxnLst/>
              <a:rect l="l" t="t" r="r" b="b"/>
              <a:pathLst>
                <a:path w="45208" h="51255" extrusionOk="0">
                  <a:moveTo>
                    <a:pt x="40296" y="4038"/>
                  </a:moveTo>
                  <a:cubicBezTo>
                    <a:pt x="43560" y="6752"/>
                    <a:pt x="45209" y="11252"/>
                    <a:pt x="45209" y="17521"/>
                  </a:cubicBezTo>
                  <a:lnTo>
                    <a:pt x="45209" y="51256"/>
                  </a:lnTo>
                  <a:lnTo>
                    <a:pt x="31794" y="51256"/>
                  </a:lnTo>
                  <a:lnTo>
                    <a:pt x="31794" y="20785"/>
                  </a:lnTo>
                  <a:cubicBezTo>
                    <a:pt x="31900" y="18711"/>
                    <a:pt x="31543" y="16639"/>
                    <a:pt x="30746" y="14722"/>
                  </a:cubicBezTo>
                  <a:cubicBezTo>
                    <a:pt x="29458" y="12162"/>
                    <a:pt x="27036" y="10874"/>
                    <a:pt x="23446" y="10874"/>
                  </a:cubicBezTo>
                  <a:cubicBezTo>
                    <a:pt x="19511" y="10565"/>
                    <a:pt x="15833" y="12857"/>
                    <a:pt x="14377" y="16525"/>
                  </a:cubicBezTo>
                  <a:cubicBezTo>
                    <a:pt x="13439" y="18955"/>
                    <a:pt x="13001" y="21549"/>
                    <a:pt x="13089" y="24151"/>
                  </a:cubicBezTo>
                  <a:lnTo>
                    <a:pt x="13089" y="51256"/>
                  </a:lnTo>
                  <a:lnTo>
                    <a:pt x="0" y="51256"/>
                  </a:lnTo>
                  <a:lnTo>
                    <a:pt x="0" y="1272"/>
                  </a:lnTo>
                  <a:lnTo>
                    <a:pt x="12676" y="1272"/>
                  </a:lnTo>
                  <a:lnTo>
                    <a:pt x="12676" y="8607"/>
                  </a:lnTo>
                  <a:cubicBezTo>
                    <a:pt x="13946" y="6502"/>
                    <a:pt x="15553" y="4622"/>
                    <a:pt x="17434" y="3042"/>
                  </a:cubicBezTo>
                  <a:cubicBezTo>
                    <a:pt x="20409" y="938"/>
                    <a:pt x="23996" y="-125"/>
                    <a:pt x="27637" y="18"/>
                  </a:cubicBezTo>
                  <a:cubicBezTo>
                    <a:pt x="32199" y="-181"/>
                    <a:pt x="36684" y="1243"/>
                    <a:pt x="40296" y="403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B4B4B4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8" name="Google Shape;98;p8"/>
            <p:cNvSpPr/>
            <p:nvPr/>
          </p:nvSpPr>
          <p:spPr>
            <a:xfrm rot="-5400000">
              <a:off x="12017163" y="6218687"/>
              <a:ext cx="48082" cy="51510"/>
            </a:xfrm>
            <a:custGeom>
              <a:avLst/>
              <a:gdLst/>
              <a:ahLst/>
              <a:cxnLst/>
              <a:rect l="l" t="t" r="r" b="b"/>
              <a:pathLst>
                <a:path w="48082" h="51510" extrusionOk="0">
                  <a:moveTo>
                    <a:pt x="35384" y="2281"/>
                  </a:moveTo>
                  <a:cubicBezTo>
                    <a:pt x="38804" y="3821"/>
                    <a:pt x="41712" y="6306"/>
                    <a:pt x="43766" y="9444"/>
                  </a:cubicBezTo>
                  <a:cubicBezTo>
                    <a:pt x="45803" y="12448"/>
                    <a:pt x="47126" y="15880"/>
                    <a:pt x="47631" y="19475"/>
                  </a:cubicBezTo>
                  <a:cubicBezTo>
                    <a:pt x="48021" y="22665"/>
                    <a:pt x="48160" y="25881"/>
                    <a:pt x="48043" y="29094"/>
                  </a:cubicBezTo>
                  <a:lnTo>
                    <a:pt x="12711" y="29094"/>
                  </a:lnTo>
                  <a:cubicBezTo>
                    <a:pt x="12900" y="33955"/>
                    <a:pt x="14600" y="37373"/>
                    <a:pt x="17778" y="39400"/>
                  </a:cubicBezTo>
                  <a:cubicBezTo>
                    <a:pt x="19884" y="40669"/>
                    <a:pt x="22311" y="41306"/>
                    <a:pt x="24769" y="41237"/>
                  </a:cubicBezTo>
                  <a:cubicBezTo>
                    <a:pt x="27307" y="41354"/>
                    <a:pt x="29803" y="40563"/>
                    <a:pt x="31811" y="39004"/>
                  </a:cubicBezTo>
                  <a:cubicBezTo>
                    <a:pt x="32891" y="38080"/>
                    <a:pt x="33774" y="36947"/>
                    <a:pt x="34405" y="35672"/>
                  </a:cubicBezTo>
                  <a:lnTo>
                    <a:pt x="47407" y="35672"/>
                  </a:lnTo>
                  <a:cubicBezTo>
                    <a:pt x="46818" y="39021"/>
                    <a:pt x="45169" y="42092"/>
                    <a:pt x="42701" y="44432"/>
                  </a:cubicBezTo>
                  <a:cubicBezTo>
                    <a:pt x="38355" y="49156"/>
                    <a:pt x="32292" y="51509"/>
                    <a:pt x="24459" y="51509"/>
                  </a:cubicBezTo>
                  <a:cubicBezTo>
                    <a:pt x="18245" y="51584"/>
                    <a:pt x="12202" y="49474"/>
                    <a:pt x="7386" y="45549"/>
                  </a:cubicBezTo>
                  <a:cubicBezTo>
                    <a:pt x="2461" y="41564"/>
                    <a:pt x="0" y="35094"/>
                    <a:pt x="0" y="26139"/>
                  </a:cubicBezTo>
                  <a:cubicBezTo>
                    <a:pt x="0" y="17746"/>
                    <a:pt x="2228" y="11304"/>
                    <a:pt x="6682" y="6816"/>
                  </a:cubicBezTo>
                  <a:cubicBezTo>
                    <a:pt x="11252" y="2254"/>
                    <a:pt x="17508" y="-208"/>
                    <a:pt x="23961" y="14"/>
                  </a:cubicBezTo>
                  <a:cubicBezTo>
                    <a:pt x="27886" y="-52"/>
                    <a:pt x="31782" y="721"/>
                    <a:pt x="35384" y="2281"/>
                  </a:cubicBezTo>
                  <a:close/>
                  <a:moveTo>
                    <a:pt x="16490" y="13223"/>
                  </a:moveTo>
                  <a:cubicBezTo>
                    <a:pt x="14554" y="15309"/>
                    <a:pt x="13350" y="17967"/>
                    <a:pt x="13054" y="20797"/>
                  </a:cubicBezTo>
                  <a:lnTo>
                    <a:pt x="34886" y="20797"/>
                  </a:lnTo>
                  <a:cubicBezTo>
                    <a:pt x="34844" y="17880"/>
                    <a:pt x="33601" y="15108"/>
                    <a:pt x="31450" y="13137"/>
                  </a:cubicBezTo>
                  <a:cubicBezTo>
                    <a:pt x="29363" y="11367"/>
                    <a:pt x="26698" y="10426"/>
                    <a:pt x="23961" y="10491"/>
                  </a:cubicBezTo>
                  <a:cubicBezTo>
                    <a:pt x="21201" y="10337"/>
                    <a:pt x="18499" y="11325"/>
                    <a:pt x="16490" y="13223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B4B4B4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pic>
        <p:nvPicPr>
          <p:cNvPr id="99" name="Google Shape;99;p8"/>
          <p:cNvPicPr preferRelativeResize="0"/>
          <p:nvPr/>
        </p:nvPicPr>
        <p:blipFill rotWithShape="1">
          <a:blip r:embed="rId21">
            <a:alphaModFix/>
          </a:blip>
          <a:srcRect/>
          <a:stretch/>
        </p:blipFill>
        <p:spPr>
          <a:xfrm rot="-5400000">
            <a:off x="11811887" y="6349041"/>
            <a:ext cx="441438" cy="68706"/>
          </a:xfrm>
          <a:prstGeom prst="rect">
            <a:avLst/>
          </a:prstGeom>
          <a:noFill/>
          <a:ln>
            <a:noFill/>
          </a:ln>
        </p:spPr>
      </p:pic>
      <p:sp>
        <p:nvSpPr>
          <p:cNvPr id="100" name="Google Shape;100;p8"/>
          <p:cNvSpPr txBox="1">
            <a:spLocks noGrp="1"/>
          </p:cNvSpPr>
          <p:nvPr>
            <p:ph type="title"/>
          </p:nvPr>
        </p:nvSpPr>
        <p:spPr>
          <a:xfrm>
            <a:off x="539400" y="560588"/>
            <a:ext cx="11089972" cy="42229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200"/>
              <a:buFont typeface="Franklin Gothic"/>
              <a:buNone/>
              <a:defRPr sz="3200" b="0" i="0" u="none" strike="noStrike" cap="none">
                <a:solidFill>
                  <a:schemeClr val="dk2"/>
                </a:solidFill>
                <a:latin typeface="Franklin Gothic"/>
                <a:ea typeface="Franklin Gothic"/>
                <a:cs typeface="Franklin Gothic"/>
                <a:sym typeface="Franklin Gothic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01" name="Google Shape;101;p8"/>
          <p:cNvSpPr txBox="1">
            <a:spLocks noGrp="1"/>
          </p:cNvSpPr>
          <p:nvPr>
            <p:ph type="body" idx="1"/>
          </p:nvPr>
        </p:nvSpPr>
        <p:spPr>
          <a:xfrm>
            <a:off x="550862" y="1859913"/>
            <a:ext cx="11089973" cy="13490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marR="0" lvl="0" indent="-228600" algn="l" rtl="0">
              <a:lnSpc>
                <a:spcPct val="95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320040" algn="l" rtl="0">
              <a:lnSpc>
                <a:spcPct val="95000"/>
              </a:lnSpc>
              <a:spcBef>
                <a:spcPts val="500"/>
              </a:spcBef>
              <a:spcAft>
                <a:spcPts val="0"/>
              </a:spcAft>
              <a:buClr>
                <a:schemeClr val="dk2"/>
              </a:buClr>
              <a:buSzPts val="1440"/>
              <a:buFont typeface="Noto Sans Symbols"/>
              <a:buChar char="▪"/>
              <a:defRPr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330200" algn="l" rtl="0">
              <a:lnSpc>
                <a:spcPct val="95000"/>
              </a:lnSpc>
              <a:spcBef>
                <a:spcPts val="300"/>
              </a:spcBef>
              <a:spcAft>
                <a:spcPts val="0"/>
              </a:spcAft>
              <a:buClr>
                <a:schemeClr val="dk2"/>
              </a:buClr>
              <a:buSzPts val="1600"/>
              <a:buFont typeface="Calibri"/>
              <a:buChar char="−"/>
              <a:defRPr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320039" algn="l" rtl="0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Clr>
                <a:schemeClr val="dk2"/>
              </a:buClr>
              <a:buSzPts val="1440"/>
              <a:buFont typeface="Noto Sans Symbols"/>
              <a:buChar char="▪"/>
              <a:defRPr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330200" algn="l" rtl="0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Clr>
                <a:schemeClr val="dk2"/>
              </a:buClr>
              <a:buSzPts val="1600"/>
              <a:buFont typeface="Calibri"/>
              <a:buChar char="−"/>
              <a:defRPr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02" name="Google Shape;102;p8"/>
          <p:cNvSpPr txBox="1">
            <a:spLocks noGrp="1"/>
          </p:cNvSpPr>
          <p:nvPr>
            <p:ph type="ftr" idx="11"/>
          </p:nvPr>
        </p:nvSpPr>
        <p:spPr>
          <a:xfrm>
            <a:off x="550863" y="6465614"/>
            <a:ext cx="5545138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03" name="Google Shape;103;p8"/>
          <p:cNvSpPr txBox="1">
            <a:spLocks noGrp="1"/>
          </p:cNvSpPr>
          <p:nvPr>
            <p:ph type="sldNum" idx="12"/>
          </p:nvPr>
        </p:nvSpPr>
        <p:spPr>
          <a:xfrm>
            <a:off x="11490153" y="6465614"/>
            <a:ext cx="150682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marL="0" marR="0" lvl="0" indent="0" algn="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04" name="Google Shape;104;p8"/>
          <p:cNvSpPr txBox="1"/>
          <p:nvPr/>
        </p:nvSpPr>
        <p:spPr>
          <a:xfrm rot="-5400000">
            <a:off x="11250971" y="5290633"/>
            <a:ext cx="1567737" cy="110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</a:pPr>
            <a:r>
              <a:rPr lang="en-US" sz="800" b="0" i="0" u="none" strike="noStrike" cap="none">
                <a:solidFill>
                  <a:srgbClr val="B4B4B4"/>
                </a:solidFill>
                <a:latin typeface="Calibri"/>
                <a:ea typeface="Calibri"/>
                <a:cs typeface="Calibri"/>
                <a:sym typeface="Calibri"/>
              </a:rPr>
              <a:t>Copyright © 2020. All rights reserved.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105" name="Google Shape;105;p8"/>
          <p:cNvCxnSpPr/>
          <p:nvPr/>
        </p:nvCxnSpPr>
        <p:spPr>
          <a:xfrm>
            <a:off x="539400" y="484910"/>
            <a:ext cx="540000" cy="0"/>
          </a:xfrm>
          <a:prstGeom prst="straightConnector1">
            <a:avLst/>
          </a:prstGeom>
          <a:noFill/>
          <a:ln w="38100" cap="flat" cmpd="sng">
            <a:solidFill>
              <a:schemeClr val="dk2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6" name="Google Shape;106;p8"/>
          <p:cNvSpPr txBox="1"/>
          <p:nvPr/>
        </p:nvSpPr>
        <p:spPr>
          <a:xfrm>
            <a:off x="11490153" y="6465614"/>
            <a:ext cx="150682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marR="0" lvl="0" indent="0" algn="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fld id="{00000000-1234-1234-1234-123412341234}" type="slidenum">
              <a:rPr lang="en-US"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rPr>
              <a:t>‹#›</a:t>
            </a:fld>
            <a:endParaRPr sz="1000" b="0" i="0" u="none" strike="noStrike" cap="none">
              <a:solidFill>
                <a:srgbClr val="7F7F7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61" r:id="rId1"/>
    <p:sldLayoutId id="2147483663" r:id="rId2"/>
    <p:sldLayoutId id="2147483664" r:id="rId3"/>
    <p:sldLayoutId id="2147483665" r:id="rId4"/>
    <p:sldLayoutId id="2147483666" r:id="rId5"/>
    <p:sldLayoutId id="2147483667" r:id="rId6"/>
    <p:sldLayoutId id="2147483668" r:id="rId7"/>
    <p:sldLayoutId id="2147483669" r:id="rId8"/>
    <p:sldLayoutId id="2147483670" r:id="rId9"/>
    <p:sldLayoutId id="2147483671" r:id="rId10"/>
    <p:sldLayoutId id="2147483672" r:id="rId11"/>
    <p:sldLayoutId id="2147483673" r:id="rId12"/>
    <p:sldLayoutId id="2147483674" r:id="rId13"/>
    <p:sldLayoutId id="2147483675" r:id="rId14"/>
    <p:sldLayoutId id="2147483676" r:id="rId15"/>
    <p:sldLayoutId id="2147483677" r:id="rId16"/>
  </p:sldLayoutIdLst>
  <p:hf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46">
          <p15:clr>
            <a:srgbClr val="F26B43"/>
          </p15:clr>
        </p15:guide>
        <p15:guide id="2" pos="347">
          <p15:clr>
            <a:srgbClr val="F26B43"/>
          </p15:clr>
        </p15:guide>
        <p15:guide id="3" pos="7333">
          <p15:clr>
            <a:srgbClr val="F26B43"/>
          </p15:clr>
        </p15:guide>
        <p15:guide id="4" orient="horz" pos="1170">
          <p15:clr>
            <a:srgbClr val="F26B43"/>
          </p15:clr>
        </p15:guide>
        <p15:guide id="5" orient="horz" pos="3974">
          <p15:clr>
            <a:srgbClr val="F26B43"/>
          </p15:clr>
        </p15:guide>
        <p15:guide id="6" pos="3749">
          <p15:clr>
            <a:srgbClr val="F26B43"/>
          </p15:clr>
        </p15:guide>
        <p15:guide id="7" pos="3931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78B45EBE-552E-2EC2-48EB-68E71DF932D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1"/>
            </p:custDataLst>
            <p:extLst>
              <p:ext uri="{D42A27DB-BD31-4B8C-83A1-F6EECF244321}">
                <p14:modId xmlns:p14="http://schemas.microsoft.com/office/powerpoint/2010/main" val="17558014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2" imgW="395" imgH="396" progId="TCLayout.ActiveDocument.1">
                  <p:embed/>
                </p:oleObj>
              </mc:Choice>
              <mc:Fallback>
                <p:oleObj name="think-cell Slide" r:id="rId22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0" name="Google Shape;10;p45"/>
          <p:cNvGrpSpPr/>
          <p:nvPr/>
        </p:nvGrpSpPr>
        <p:grpSpPr>
          <a:xfrm>
            <a:off x="11998459" y="6162188"/>
            <a:ext cx="68500" cy="441925"/>
            <a:chOff x="11998459" y="6162188"/>
            <a:chExt cx="68500" cy="441925"/>
          </a:xfrm>
        </p:grpSpPr>
        <p:sp>
          <p:nvSpPr>
            <p:cNvPr id="11" name="Google Shape;11;p45"/>
            <p:cNvSpPr/>
            <p:nvPr/>
          </p:nvSpPr>
          <p:spPr>
            <a:xfrm rot="-5400000">
              <a:off x="12063068" y="6476346"/>
              <a:ext cx="17" cy="1717"/>
            </a:xfrm>
            <a:custGeom>
              <a:avLst/>
              <a:gdLst/>
              <a:ahLst/>
              <a:cxnLst/>
              <a:rect l="l" t="t" r="r" b="b"/>
              <a:pathLst>
                <a:path w="17" h="1717" extrusionOk="0">
                  <a:moveTo>
                    <a:pt x="0" y="0"/>
                  </a:moveTo>
                  <a:lnTo>
                    <a:pt x="17" y="0"/>
                  </a:lnTo>
                  <a:lnTo>
                    <a:pt x="17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B0F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B4B4B4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" name="Google Shape;12;p45"/>
            <p:cNvSpPr/>
            <p:nvPr/>
          </p:nvSpPr>
          <p:spPr>
            <a:xfrm rot="-5400000">
              <a:off x="12023737" y="6455896"/>
              <a:ext cx="453" cy="271"/>
            </a:xfrm>
            <a:custGeom>
              <a:avLst/>
              <a:gdLst/>
              <a:ahLst/>
              <a:cxnLst/>
              <a:rect l="l" t="t" r="r" b="b"/>
              <a:pathLst>
                <a:path w="453" h="271" extrusionOk="0">
                  <a:moveTo>
                    <a:pt x="0" y="0"/>
                  </a:moveTo>
                  <a:cubicBezTo>
                    <a:pt x="258" y="172"/>
                    <a:pt x="498" y="344"/>
                    <a:pt x="447" y="240"/>
                  </a:cubicBezTo>
                  <a:close/>
                </a:path>
              </a:pathLst>
            </a:custGeom>
            <a:solidFill>
              <a:srgbClr val="00B0F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B4B4B4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" name="Google Shape;13;p45"/>
            <p:cNvSpPr/>
            <p:nvPr/>
          </p:nvSpPr>
          <p:spPr>
            <a:xfrm rot="-5400000">
              <a:off x="12023907" y="6477766"/>
              <a:ext cx="15" cy="76"/>
            </a:xfrm>
            <a:custGeom>
              <a:avLst/>
              <a:gdLst/>
              <a:ahLst/>
              <a:cxnLst/>
              <a:rect l="l" t="t" r="r" b="b"/>
              <a:pathLst>
                <a:path w="15" h="76" extrusionOk="0">
                  <a:moveTo>
                    <a:pt x="15" y="38"/>
                  </a:moveTo>
                  <a:cubicBezTo>
                    <a:pt x="15" y="38"/>
                    <a:pt x="15" y="-48"/>
                    <a:pt x="15" y="38"/>
                  </a:cubicBezTo>
                  <a:cubicBezTo>
                    <a:pt x="15" y="124"/>
                    <a:pt x="-19" y="38"/>
                    <a:pt x="15" y="38"/>
                  </a:cubicBezTo>
                  <a:close/>
                </a:path>
              </a:pathLst>
            </a:custGeom>
            <a:solidFill>
              <a:srgbClr val="00B0F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B4B4B4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" name="Google Shape;14;p45"/>
            <p:cNvSpPr/>
            <p:nvPr/>
          </p:nvSpPr>
          <p:spPr>
            <a:xfrm rot="-5400000">
              <a:off x="12021636" y="6473651"/>
              <a:ext cx="261" cy="103"/>
            </a:xfrm>
            <a:custGeom>
              <a:avLst/>
              <a:gdLst/>
              <a:ahLst/>
              <a:cxnLst/>
              <a:rect l="l" t="t" r="r" b="b"/>
              <a:pathLst>
                <a:path w="261" h="103" extrusionOk="0">
                  <a:moveTo>
                    <a:pt x="262" y="0"/>
                  </a:moveTo>
                  <a:lnTo>
                    <a:pt x="56" y="103"/>
                  </a:lnTo>
                  <a:cubicBezTo>
                    <a:pt x="176" y="103"/>
                    <a:pt x="-116" y="103"/>
                    <a:pt x="56" y="103"/>
                  </a:cubicBezTo>
                  <a:close/>
                </a:path>
              </a:pathLst>
            </a:custGeom>
            <a:solidFill>
              <a:srgbClr val="00B0F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B4B4B4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" name="Google Shape;15;p45"/>
            <p:cNvSpPr/>
            <p:nvPr/>
          </p:nvSpPr>
          <p:spPr>
            <a:xfrm rot="-5400000">
              <a:off x="12015635" y="6442208"/>
              <a:ext cx="51323" cy="51323"/>
            </a:xfrm>
            <a:custGeom>
              <a:avLst/>
              <a:gdLst/>
              <a:ahLst/>
              <a:cxnLst/>
              <a:rect l="l" t="t" r="r" b="b"/>
              <a:pathLst>
                <a:path w="51323" h="51323" extrusionOk="0">
                  <a:moveTo>
                    <a:pt x="25662" y="0"/>
                  </a:moveTo>
                  <a:cubicBezTo>
                    <a:pt x="11489" y="0"/>
                    <a:pt x="0" y="11489"/>
                    <a:pt x="0" y="25662"/>
                  </a:cubicBezTo>
                  <a:cubicBezTo>
                    <a:pt x="0" y="39834"/>
                    <a:pt x="11489" y="51323"/>
                    <a:pt x="25662" y="51323"/>
                  </a:cubicBezTo>
                  <a:cubicBezTo>
                    <a:pt x="39835" y="51323"/>
                    <a:pt x="51324" y="39834"/>
                    <a:pt x="51324" y="25662"/>
                  </a:cubicBezTo>
                  <a:cubicBezTo>
                    <a:pt x="51324" y="25645"/>
                    <a:pt x="51324" y="25627"/>
                    <a:pt x="51324" y="25610"/>
                  </a:cubicBezTo>
                  <a:cubicBezTo>
                    <a:pt x="51314" y="11457"/>
                    <a:pt x="39833" y="-9"/>
                    <a:pt x="25679" y="0"/>
                  </a:cubicBezTo>
                  <a:cubicBezTo>
                    <a:pt x="25673" y="0"/>
                    <a:pt x="25667" y="0"/>
                    <a:pt x="25662" y="0"/>
                  </a:cubicBezTo>
                  <a:close/>
                  <a:moveTo>
                    <a:pt x="26967" y="15648"/>
                  </a:moveTo>
                  <a:cubicBezTo>
                    <a:pt x="26864" y="15648"/>
                    <a:pt x="26967" y="15785"/>
                    <a:pt x="26967" y="15837"/>
                  </a:cubicBezTo>
                  <a:cubicBezTo>
                    <a:pt x="26894" y="15820"/>
                    <a:pt x="26817" y="15820"/>
                    <a:pt x="26744" y="15837"/>
                  </a:cubicBezTo>
                  <a:cubicBezTo>
                    <a:pt x="26899" y="15837"/>
                    <a:pt x="27139" y="16043"/>
                    <a:pt x="26933" y="16163"/>
                  </a:cubicBezTo>
                  <a:cubicBezTo>
                    <a:pt x="26727" y="16283"/>
                    <a:pt x="27019" y="16163"/>
                    <a:pt x="27036" y="16163"/>
                  </a:cubicBezTo>
                  <a:cubicBezTo>
                    <a:pt x="27173" y="15854"/>
                    <a:pt x="27586" y="16283"/>
                    <a:pt x="27294" y="16489"/>
                  </a:cubicBezTo>
                  <a:lnTo>
                    <a:pt x="27294" y="16489"/>
                  </a:lnTo>
                  <a:cubicBezTo>
                    <a:pt x="27294" y="16489"/>
                    <a:pt x="27294" y="16489"/>
                    <a:pt x="27294" y="16489"/>
                  </a:cubicBezTo>
                  <a:lnTo>
                    <a:pt x="27294" y="16489"/>
                  </a:lnTo>
                  <a:cubicBezTo>
                    <a:pt x="27294" y="16489"/>
                    <a:pt x="27191" y="16489"/>
                    <a:pt x="27156" y="16489"/>
                  </a:cubicBezTo>
                  <a:cubicBezTo>
                    <a:pt x="27122" y="16489"/>
                    <a:pt x="27156" y="16489"/>
                    <a:pt x="27156" y="16593"/>
                  </a:cubicBezTo>
                  <a:cubicBezTo>
                    <a:pt x="27156" y="16696"/>
                    <a:pt x="27276" y="16593"/>
                    <a:pt x="27156" y="16593"/>
                  </a:cubicBezTo>
                  <a:cubicBezTo>
                    <a:pt x="27036" y="16593"/>
                    <a:pt x="27294" y="16593"/>
                    <a:pt x="27379" y="16593"/>
                  </a:cubicBezTo>
                  <a:cubicBezTo>
                    <a:pt x="27465" y="16593"/>
                    <a:pt x="27276" y="16713"/>
                    <a:pt x="27276" y="16799"/>
                  </a:cubicBezTo>
                  <a:cubicBezTo>
                    <a:pt x="27276" y="16885"/>
                    <a:pt x="26795" y="16936"/>
                    <a:pt x="26744" y="16799"/>
                  </a:cubicBezTo>
                  <a:cubicBezTo>
                    <a:pt x="26692" y="16661"/>
                    <a:pt x="26297" y="16799"/>
                    <a:pt x="26074" y="16902"/>
                  </a:cubicBezTo>
                  <a:cubicBezTo>
                    <a:pt x="25851" y="17005"/>
                    <a:pt x="26074" y="17125"/>
                    <a:pt x="25868" y="16988"/>
                  </a:cubicBezTo>
                  <a:cubicBezTo>
                    <a:pt x="25662" y="16850"/>
                    <a:pt x="25610" y="16988"/>
                    <a:pt x="25559" y="17142"/>
                  </a:cubicBezTo>
                  <a:cubicBezTo>
                    <a:pt x="25507" y="17297"/>
                    <a:pt x="25559" y="17142"/>
                    <a:pt x="25404" y="17142"/>
                  </a:cubicBezTo>
                  <a:cubicBezTo>
                    <a:pt x="25553" y="17029"/>
                    <a:pt x="25690" y="16902"/>
                    <a:pt x="25816" y="16764"/>
                  </a:cubicBezTo>
                  <a:cubicBezTo>
                    <a:pt x="25816" y="16593"/>
                    <a:pt x="26057" y="16764"/>
                    <a:pt x="26194" y="16764"/>
                  </a:cubicBezTo>
                  <a:cubicBezTo>
                    <a:pt x="26332" y="16764"/>
                    <a:pt x="26297" y="16610"/>
                    <a:pt x="26349" y="16541"/>
                  </a:cubicBezTo>
                  <a:cubicBezTo>
                    <a:pt x="26400" y="16472"/>
                    <a:pt x="26091" y="16764"/>
                    <a:pt x="26005" y="16627"/>
                  </a:cubicBezTo>
                  <a:cubicBezTo>
                    <a:pt x="25919" y="16489"/>
                    <a:pt x="25748" y="16627"/>
                    <a:pt x="25902" y="16627"/>
                  </a:cubicBezTo>
                  <a:cubicBezTo>
                    <a:pt x="26057" y="16627"/>
                    <a:pt x="25765" y="16627"/>
                    <a:pt x="25662" y="16627"/>
                  </a:cubicBezTo>
                  <a:lnTo>
                    <a:pt x="25662" y="16627"/>
                  </a:lnTo>
                  <a:cubicBezTo>
                    <a:pt x="25662" y="16627"/>
                    <a:pt x="25662" y="16627"/>
                    <a:pt x="25662" y="16627"/>
                  </a:cubicBezTo>
                  <a:cubicBezTo>
                    <a:pt x="25919" y="16541"/>
                    <a:pt x="26040" y="16472"/>
                    <a:pt x="26005" y="16215"/>
                  </a:cubicBezTo>
                  <a:lnTo>
                    <a:pt x="25834" y="16215"/>
                  </a:lnTo>
                  <a:cubicBezTo>
                    <a:pt x="25954" y="16094"/>
                    <a:pt x="26126" y="15940"/>
                    <a:pt x="26297" y="16060"/>
                  </a:cubicBezTo>
                  <a:cubicBezTo>
                    <a:pt x="26160" y="15888"/>
                    <a:pt x="26297" y="16060"/>
                    <a:pt x="26297" y="16060"/>
                  </a:cubicBezTo>
                  <a:cubicBezTo>
                    <a:pt x="26297" y="16060"/>
                    <a:pt x="26194" y="15837"/>
                    <a:pt x="26297" y="15785"/>
                  </a:cubicBezTo>
                  <a:cubicBezTo>
                    <a:pt x="26400" y="15734"/>
                    <a:pt x="26297" y="15648"/>
                    <a:pt x="26194" y="15785"/>
                  </a:cubicBezTo>
                  <a:lnTo>
                    <a:pt x="26194" y="15785"/>
                  </a:lnTo>
                  <a:cubicBezTo>
                    <a:pt x="26057" y="15785"/>
                    <a:pt x="26194" y="15476"/>
                    <a:pt x="26194" y="15493"/>
                  </a:cubicBezTo>
                  <a:cubicBezTo>
                    <a:pt x="26023" y="15493"/>
                    <a:pt x="25988" y="15613"/>
                    <a:pt x="25834" y="15493"/>
                  </a:cubicBezTo>
                  <a:cubicBezTo>
                    <a:pt x="25679" y="15373"/>
                    <a:pt x="25834" y="15493"/>
                    <a:pt x="25834" y="15596"/>
                  </a:cubicBezTo>
                  <a:cubicBezTo>
                    <a:pt x="25834" y="15699"/>
                    <a:pt x="25662" y="15459"/>
                    <a:pt x="25713" y="15596"/>
                  </a:cubicBezTo>
                  <a:cubicBezTo>
                    <a:pt x="25765" y="15734"/>
                    <a:pt x="25713" y="15493"/>
                    <a:pt x="25713" y="15459"/>
                  </a:cubicBezTo>
                  <a:lnTo>
                    <a:pt x="25713" y="15459"/>
                  </a:lnTo>
                  <a:cubicBezTo>
                    <a:pt x="25713" y="15459"/>
                    <a:pt x="25713" y="15287"/>
                    <a:pt x="25816" y="15236"/>
                  </a:cubicBezTo>
                  <a:cubicBezTo>
                    <a:pt x="25919" y="15184"/>
                    <a:pt x="25713" y="15029"/>
                    <a:pt x="25816" y="15064"/>
                  </a:cubicBezTo>
                  <a:cubicBezTo>
                    <a:pt x="25919" y="15098"/>
                    <a:pt x="25816" y="15064"/>
                    <a:pt x="25816" y="14961"/>
                  </a:cubicBezTo>
                  <a:cubicBezTo>
                    <a:pt x="25816" y="14858"/>
                    <a:pt x="25816" y="15047"/>
                    <a:pt x="25816" y="15081"/>
                  </a:cubicBezTo>
                  <a:lnTo>
                    <a:pt x="25816" y="15081"/>
                  </a:lnTo>
                  <a:cubicBezTo>
                    <a:pt x="25816" y="15081"/>
                    <a:pt x="25816" y="15081"/>
                    <a:pt x="25816" y="15081"/>
                  </a:cubicBezTo>
                  <a:cubicBezTo>
                    <a:pt x="25816" y="15081"/>
                    <a:pt x="25816" y="15081"/>
                    <a:pt x="25816" y="15081"/>
                  </a:cubicBezTo>
                  <a:cubicBezTo>
                    <a:pt x="25812" y="15173"/>
                    <a:pt x="25812" y="15264"/>
                    <a:pt x="25816" y="15356"/>
                  </a:cubicBezTo>
                  <a:cubicBezTo>
                    <a:pt x="25713" y="15356"/>
                    <a:pt x="25816" y="15218"/>
                    <a:pt x="25816" y="15167"/>
                  </a:cubicBezTo>
                  <a:cubicBezTo>
                    <a:pt x="25816" y="15115"/>
                    <a:pt x="25816" y="14858"/>
                    <a:pt x="25919" y="14823"/>
                  </a:cubicBezTo>
                  <a:cubicBezTo>
                    <a:pt x="26023" y="14789"/>
                    <a:pt x="25919" y="14823"/>
                    <a:pt x="25919" y="14823"/>
                  </a:cubicBezTo>
                  <a:cubicBezTo>
                    <a:pt x="25919" y="14823"/>
                    <a:pt x="25799" y="14978"/>
                    <a:pt x="25731" y="14823"/>
                  </a:cubicBezTo>
                  <a:cubicBezTo>
                    <a:pt x="25662" y="14669"/>
                    <a:pt x="25731" y="14823"/>
                    <a:pt x="25731" y="14823"/>
                  </a:cubicBezTo>
                  <a:cubicBezTo>
                    <a:pt x="25731" y="14823"/>
                    <a:pt x="25731" y="14686"/>
                    <a:pt x="25868" y="14737"/>
                  </a:cubicBezTo>
                  <a:cubicBezTo>
                    <a:pt x="26005" y="14789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lnTo>
                    <a:pt x="25868" y="14737"/>
                  </a:lnTo>
                  <a:lnTo>
                    <a:pt x="25868" y="14652"/>
                  </a:lnTo>
                  <a:cubicBezTo>
                    <a:pt x="25868" y="14652"/>
                    <a:pt x="25868" y="14652"/>
                    <a:pt x="25868" y="14652"/>
                  </a:cubicBezTo>
                  <a:cubicBezTo>
                    <a:pt x="25868" y="14652"/>
                    <a:pt x="25868" y="14566"/>
                    <a:pt x="25868" y="14514"/>
                  </a:cubicBezTo>
                  <a:lnTo>
                    <a:pt x="25868" y="14514"/>
                  </a:lnTo>
                  <a:cubicBezTo>
                    <a:pt x="25868" y="14514"/>
                    <a:pt x="25868" y="14514"/>
                    <a:pt x="25868" y="14514"/>
                  </a:cubicBezTo>
                  <a:cubicBezTo>
                    <a:pt x="25868" y="14514"/>
                    <a:pt x="25868" y="14514"/>
                    <a:pt x="25971" y="14514"/>
                  </a:cubicBezTo>
                  <a:cubicBezTo>
                    <a:pt x="25976" y="14486"/>
                    <a:pt x="25976" y="14457"/>
                    <a:pt x="25971" y="14428"/>
                  </a:cubicBezTo>
                  <a:cubicBezTo>
                    <a:pt x="25971" y="14428"/>
                    <a:pt x="26091" y="14085"/>
                    <a:pt x="26126" y="14291"/>
                  </a:cubicBezTo>
                  <a:cubicBezTo>
                    <a:pt x="26160" y="14497"/>
                    <a:pt x="26126" y="14291"/>
                    <a:pt x="26126" y="14291"/>
                  </a:cubicBezTo>
                  <a:cubicBezTo>
                    <a:pt x="26538" y="14136"/>
                    <a:pt x="26435" y="14291"/>
                    <a:pt x="26126" y="14531"/>
                  </a:cubicBezTo>
                  <a:lnTo>
                    <a:pt x="26126" y="14531"/>
                  </a:lnTo>
                  <a:cubicBezTo>
                    <a:pt x="25902" y="14737"/>
                    <a:pt x="26366" y="14531"/>
                    <a:pt x="26486" y="14531"/>
                  </a:cubicBezTo>
                  <a:cubicBezTo>
                    <a:pt x="26607" y="14531"/>
                    <a:pt x="26486" y="15029"/>
                    <a:pt x="26263" y="14995"/>
                  </a:cubicBezTo>
                  <a:cubicBezTo>
                    <a:pt x="26040" y="14961"/>
                    <a:pt x="26263" y="14995"/>
                    <a:pt x="26263" y="14995"/>
                  </a:cubicBezTo>
                  <a:cubicBezTo>
                    <a:pt x="26263" y="14995"/>
                    <a:pt x="26108" y="15133"/>
                    <a:pt x="26005" y="14995"/>
                  </a:cubicBezTo>
                  <a:cubicBezTo>
                    <a:pt x="26064" y="15057"/>
                    <a:pt x="26162" y="15059"/>
                    <a:pt x="26224" y="15000"/>
                  </a:cubicBezTo>
                  <a:cubicBezTo>
                    <a:pt x="26226" y="14998"/>
                    <a:pt x="26227" y="14997"/>
                    <a:pt x="26229" y="14995"/>
                  </a:cubicBezTo>
                  <a:cubicBezTo>
                    <a:pt x="26486" y="15098"/>
                    <a:pt x="26503" y="15373"/>
                    <a:pt x="26589" y="15579"/>
                  </a:cubicBezTo>
                  <a:cubicBezTo>
                    <a:pt x="26675" y="15785"/>
                    <a:pt x="26830" y="15545"/>
                    <a:pt x="26967" y="15613"/>
                  </a:cubicBezTo>
                  <a:close/>
                  <a:moveTo>
                    <a:pt x="18138" y="47476"/>
                  </a:moveTo>
                  <a:lnTo>
                    <a:pt x="18138" y="47476"/>
                  </a:lnTo>
                  <a:lnTo>
                    <a:pt x="18138" y="47476"/>
                  </a:lnTo>
                  <a:lnTo>
                    <a:pt x="18138" y="47476"/>
                  </a:lnTo>
                  <a:lnTo>
                    <a:pt x="18224" y="47476"/>
                  </a:lnTo>
                  <a:lnTo>
                    <a:pt x="18224" y="47476"/>
                  </a:lnTo>
                  <a:lnTo>
                    <a:pt x="17984" y="47338"/>
                  </a:lnTo>
                  <a:lnTo>
                    <a:pt x="17984" y="47338"/>
                  </a:lnTo>
                  <a:lnTo>
                    <a:pt x="17984" y="47338"/>
                  </a:lnTo>
                  <a:lnTo>
                    <a:pt x="18070" y="47338"/>
                  </a:lnTo>
                  <a:lnTo>
                    <a:pt x="18070" y="47338"/>
                  </a:lnTo>
                  <a:lnTo>
                    <a:pt x="18070" y="47338"/>
                  </a:lnTo>
                  <a:lnTo>
                    <a:pt x="17795" y="47218"/>
                  </a:lnTo>
                  <a:lnTo>
                    <a:pt x="17795" y="47218"/>
                  </a:lnTo>
                  <a:cubicBezTo>
                    <a:pt x="17795" y="47218"/>
                    <a:pt x="17795" y="47218"/>
                    <a:pt x="17795" y="47218"/>
                  </a:cubicBezTo>
                  <a:cubicBezTo>
                    <a:pt x="17762" y="47203"/>
                    <a:pt x="17725" y="47203"/>
                    <a:pt x="17692" y="47218"/>
                  </a:cubicBezTo>
                  <a:lnTo>
                    <a:pt x="17692" y="47218"/>
                  </a:lnTo>
                  <a:lnTo>
                    <a:pt x="17692" y="47218"/>
                  </a:lnTo>
                  <a:lnTo>
                    <a:pt x="17692" y="47218"/>
                  </a:lnTo>
                  <a:lnTo>
                    <a:pt x="17864" y="47218"/>
                  </a:lnTo>
                  <a:lnTo>
                    <a:pt x="17658" y="47218"/>
                  </a:lnTo>
                  <a:lnTo>
                    <a:pt x="17658" y="47218"/>
                  </a:lnTo>
                  <a:lnTo>
                    <a:pt x="17417" y="47115"/>
                  </a:lnTo>
                  <a:lnTo>
                    <a:pt x="17417" y="47115"/>
                  </a:lnTo>
                  <a:lnTo>
                    <a:pt x="17417" y="47115"/>
                  </a:lnTo>
                  <a:lnTo>
                    <a:pt x="17280" y="47115"/>
                  </a:lnTo>
                  <a:lnTo>
                    <a:pt x="17469" y="47218"/>
                  </a:lnTo>
                  <a:lnTo>
                    <a:pt x="17194" y="47081"/>
                  </a:lnTo>
                  <a:lnTo>
                    <a:pt x="17194" y="47081"/>
                  </a:lnTo>
                  <a:lnTo>
                    <a:pt x="17366" y="47081"/>
                  </a:lnTo>
                  <a:lnTo>
                    <a:pt x="17228" y="47081"/>
                  </a:lnTo>
                  <a:lnTo>
                    <a:pt x="17366" y="47081"/>
                  </a:lnTo>
                  <a:lnTo>
                    <a:pt x="17108" y="46961"/>
                  </a:lnTo>
                  <a:lnTo>
                    <a:pt x="17108" y="46961"/>
                  </a:lnTo>
                  <a:lnTo>
                    <a:pt x="17005" y="46961"/>
                  </a:lnTo>
                  <a:lnTo>
                    <a:pt x="17005" y="46961"/>
                  </a:lnTo>
                  <a:lnTo>
                    <a:pt x="16782" y="46858"/>
                  </a:lnTo>
                  <a:lnTo>
                    <a:pt x="16782" y="46858"/>
                  </a:lnTo>
                  <a:lnTo>
                    <a:pt x="16696" y="46858"/>
                  </a:lnTo>
                  <a:lnTo>
                    <a:pt x="16696" y="46858"/>
                  </a:lnTo>
                  <a:cubicBezTo>
                    <a:pt x="16557" y="46803"/>
                    <a:pt x="16425" y="46733"/>
                    <a:pt x="16301" y="46651"/>
                  </a:cubicBezTo>
                  <a:lnTo>
                    <a:pt x="16301" y="46651"/>
                  </a:lnTo>
                  <a:lnTo>
                    <a:pt x="16129" y="46548"/>
                  </a:lnTo>
                  <a:lnTo>
                    <a:pt x="16283" y="46651"/>
                  </a:lnTo>
                  <a:lnTo>
                    <a:pt x="15940" y="46462"/>
                  </a:lnTo>
                  <a:lnTo>
                    <a:pt x="15940" y="46462"/>
                  </a:lnTo>
                  <a:lnTo>
                    <a:pt x="15837" y="46462"/>
                  </a:lnTo>
                  <a:lnTo>
                    <a:pt x="15837" y="46462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510" y="46274"/>
                  </a:lnTo>
                  <a:lnTo>
                    <a:pt x="15510" y="46274"/>
                  </a:lnTo>
                  <a:lnTo>
                    <a:pt x="15339" y="46153"/>
                  </a:lnTo>
                  <a:lnTo>
                    <a:pt x="15339" y="46153"/>
                  </a:lnTo>
                  <a:lnTo>
                    <a:pt x="15201" y="46153"/>
                  </a:lnTo>
                  <a:lnTo>
                    <a:pt x="15201" y="46153"/>
                  </a:lnTo>
                  <a:cubicBezTo>
                    <a:pt x="15162" y="46164"/>
                    <a:pt x="15120" y="46164"/>
                    <a:pt x="15081" y="46153"/>
                  </a:cubicBezTo>
                  <a:lnTo>
                    <a:pt x="15081" y="46153"/>
                  </a:lnTo>
                  <a:lnTo>
                    <a:pt x="15218" y="46239"/>
                  </a:lnTo>
                  <a:lnTo>
                    <a:pt x="15081" y="46153"/>
                  </a:lnTo>
                  <a:lnTo>
                    <a:pt x="15081" y="46153"/>
                  </a:lnTo>
                  <a:lnTo>
                    <a:pt x="14961" y="46153"/>
                  </a:lnTo>
                  <a:lnTo>
                    <a:pt x="14961" y="46153"/>
                  </a:lnTo>
                  <a:lnTo>
                    <a:pt x="14823" y="46067"/>
                  </a:lnTo>
                  <a:cubicBezTo>
                    <a:pt x="14890" y="46095"/>
                    <a:pt x="14953" y="46130"/>
                    <a:pt x="15012" y="46170"/>
                  </a:cubicBezTo>
                  <a:cubicBezTo>
                    <a:pt x="15012" y="46170"/>
                    <a:pt x="15150" y="46274"/>
                    <a:pt x="15184" y="46274"/>
                  </a:cubicBezTo>
                  <a:lnTo>
                    <a:pt x="14720" y="45947"/>
                  </a:lnTo>
                  <a:lnTo>
                    <a:pt x="14720" y="45947"/>
                  </a:lnTo>
                  <a:cubicBezTo>
                    <a:pt x="14446" y="45724"/>
                    <a:pt x="14136" y="45535"/>
                    <a:pt x="13879" y="45312"/>
                  </a:cubicBezTo>
                  <a:lnTo>
                    <a:pt x="13982" y="45312"/>
                  </a:lnTo>
                  <a:lnTo>
                    <a:pt x="13827" y="45191"/>
                  </a:lnTo>
                  <a:lnTo>
                    <a:pt x="13827" y="45191"/>
                  </a:lnTo>
                  <a:cubicBezTo>
                    <a:pt x="13827" y="45191"/>
                    <a:pt x="13827" y="45191"/>
                    <a:pt x="13724" y="45191"/>
                  </a:cubicBezTo>
                  <a:lnTo>
                    <a:pt x="13724" y="45191"/>
                  </a:lnTo>
                  <a:lnTo>
                    <a:pt x="13724" y="45191"/>
                  </a:lnTo>
                  <a:lnTo>
                    <a:pt x="13724" y="45191"/>
                  </a:lnTo>
                  <a:cubicBezTo>
                    <a:pt x="13500" y="45056"/>
                    <a:pt x="13292" y="44895"/>
                    <a:pt x="13106" y="44710"/>
                  </a:cubicBezTo>
                  <a:lnTo>
                    <a:pt x="13106" y="44710"/>
                  </a:lnTo>
                  <a:cubicBezTo>
                    <a:pt x="12865" y="44453"/>
                    <a:pt x="12573" y="44264"/>
                    <a:pt x="12316" y="44023"/>
                  </a:cubicBezTo>
                  <a:cubicBezTo>
                    <a:pt x="12316" y="44023"/>
                    <a:pt x="12316" y="44023"/>
                    <a:pt x="12316" y="44023"/>
                  </a:cubicBezTo>
                  <a:cubicBezTo>
                    <a:pt x="11271" y="42931"/>
                    <a:pt x="10350" y="41727"/>
                    <a:pt x="9567" y="40434"/>
                  </a:cubicBezTo>
                  <a:lnTo>
                    <a:pt x="9567" y="40434"/>
                  </a:lnTo>
                  <a:cubicBezTo>
                    <a:pt x="9215" y="39466"/>
                    <a:pt x="8691" y="38570"/>
                    <a:pt x="8021" y="37788"/>
                  </a:cubicBezTo>
                  <a:lnTo>
                    <a:pt x="8021" y="37788"/>
                  </a:lnTo>
                  <a:cubicBezTo>
                    <a:pt x="6949" y="36560"/>
                    <a:pt x="6200" y="35084"/>
                    <a:pt x="5840" y="33494"/>
                  </a:cubicBezTo>
                  <a:cubicBezTo>
                    <a:pt x="5840" y="33494"/>
                    <a:pt x="5840" y="33494"/>
                    <a:pt x="5840" y="33580"/>
                  </a:cubicBezTo>
                  <a:cubicBezTo>
                    <a:pt x="5850" y="33546"/>
                    <a:pt x="5850" y="33511"/>
                    <a:pt x="5840" y="33477"/>
                  </a:cubicBezTo>
                  <a:cubicBezTo>
                    <a:pt x="5840" y="33477"/>
                    <a:pt x="5840" y="33580"/>
                    <a:pt x="5840" y="33614"/>
                  </a:cubicBezTo>
                  <a:cubicBezTo>
                    <a:pt x="5600" y="33202"/>
                    <a:pt x="5685" y="28461"/>
                    <a:pt x="5222" y="30299"/>
                  </a:cubicBezTo>
                  <a:cubicBezTo>
                    <a:pt x="5222" y="30299"/>
                    <a:pt x="5222" y="30093"/>
                    <a:pt x="5222" y="30042"/>
                  </a:cubicBezTo>
                  <a:cubicBezTo>
                    <a:pt x="5222" y="29990"/>
                    <a:pt x="5222" y="30042"/>
                    <a:pt x="5222" y="30128"/>
                  </a:cubicBezTo>
                  <a:cubicBezTo>
                    <a:pt x="5222" y="30213"/>
                    <a:pt x="5222" y="29887"/>
                    <a:pt x="5067" y="29784"/>
                  </a:cubicBezTo>
                  <a:cubicBezTo>
                    <a:pt x="4913" y="29681"/>
                    <a:pt x="5067" y="29784"/>
                    <a:pt x="5067" y="29784"/>
                  </a:cubicBezTo>
                  <a:lnTo>
                    <a:pt x="5067" y="29784"/>
                  </a:lnTo>
                  <a:cubicBezTo>
                    <a:pt x="5067" y="29784"/>
                    <a:pt x="5067" y="29612"/>
                    <a:pt x="5067" y="29544"/>
                  </a:cubicBezTo>
                  <a:cubicBezTo>
                    <a:pt x="5067" y="29475"/>
                    <a:pt x="5067" y="29664"/>
                    <a:pt x="5067" y="29715"/>
                  </a:cubicBezTo>
                  <a:cubicBezTo>
                    <a:pt x="5067" y="29458"/>
                    <a:pt x="4947" y="29166"/>
                    <a:pt x="4844" y="28908"/>
                  </a:cubicBezTo>
                  <a:cubicBezTo>
                    <a:pt x="4844" y="28994"/>
                    <a:pt x="4844" y="29080"/>
                    <a:pt x="4844" y="29183"/>
                  </a:cubicBezTo>
                  <a:cubicBezTo>
                    <a:pt x="4689" y="28753"/>
                    <a:pt x="4672" y="28290"/>
                    <a:pt x="4552" y="27843"/>
                  </a:cubicBezTo>
                  <a:cubicBezTo>
                    <a:pt x="4552" y="27929"/>
                    <a:pt x="4552" y="27843"/>
                    <a:pt x="4552" y="27740"/>
                  </a:cubicBezTo>
                  <a:cubicBezTo>
                    <a:pt x="4552" y="27637"/>
                    <a:pt x="4552" y="27740"/>
                    <a:pt x="4552" y="27740"/>
                  </a:cubicBezTo>
                  <a:cubicBezTo>
                    <a:pt x="4552" y="27740"/>
                    <a:pt x="4552" y="27740"/>
                    <a:pt x="4552" y="27740"/>
                  </a:cubicBezTo>
                  <a:cubicBezTo>
                    <a:pt x="4552" y="27740"/>
                    <a:pt x="4552" y="27740"/>
                    <a:pt x="4552" y="27740"/>
                  </a:cubicBezTo>
                  <a:cubicBezTo>
                    <a:pt x="4343" y="27287"/>
                    <a:pt x="4226" y="26796"/>
                    <a:pt x="4208" y="26297"/>
                  </a:cubicBezTo>
                  <a:cubicBezTo>
                    <a:pt x="4218" y="26366"/>
                    <a:pt x="4218" y="26435"/>
                    <a:pt x="4208" y="26503"/>
                  </a:cubicBezTo>
                  <a:cubicBezTo>
                    <a:pt x="4218" y="26435"/>
                    <a:pt x="4218" y="26366"/>
                    <a:pt x="4208" y="26297"/>
                  </a:cubicBezTo>
                  <a:lnTo>
                    <a:pt x="4208" y="26297"/>
                  </a:lnTo>
                  <a:cubicBezTo>
                    <a:pt x="4208" y="26297"/>
                    <a:pt x="4208" y="26297"/>
                    <a:pt x="4208" y="26297"/>
                  </a:cubicBezTo>
                  <a:lnTo>
                    <a:pt x="4208" y="26297"/>
                  </a:lnTo>
                  <a:lnTo>
                    <a:pt x="4208" y="26297"/>
                  </a:lnTo>
                  <a:cubicBezTo>
                    <a:pt x="4208" y="26297"/>
                    <a:pt x="4208" y="26297"/>
                    <a:pt x="4208" y="26400"/>
                  </a:cubicBezTo>
                  <a:cubicBezTo>
                    <a:pt x="4208" y="26503"/>
                    <a:pt x="4208" y="26400"/>
                    <a:pt x="4208" y="26400"/>
                  </a:cubicBezTo>
                  <a:lnTo>
                    <a:pt x="4208" y="26400"/>
                  </a:lnTo>
                  <a:lnTo>
                    <a:pt x="4208" y="26400"/>
                  </a:lnTo>
                  <a:cubicBezTo>
                    <a:pt x="4208" y="26314"/>
                    <a:pt x="4208" y="26194"/>
                    <a:pt x="4208" y="26091"/>
                  </a:cubicBezTo>
                  <a:lnTo>
                    <a:pt x="4208" y="26091"/>
                  </a:lnTo>
                  <a:cubicBezTo>
                    <a:pt x="4200" y="26034"/>
                    <a:pt x="4200" y="25976"/>
                    <a:pt x="4208" y="25919"/>
                  </a:cubicBezTo>
                  <a:lnTo>
                    <a:pt x="4208" y="25919"/>
                  </a:lnTo>
                  <a:cubicBezTo>
                    <a:pt x="4191" y="25679"/>
                    <a:pt x="4191" y="25438"/>
                    <a:pt x="4208" y="25198"/>
                  </a:cubicBezTo>
                  <a:lnTo>
                    <a:pt x="4208" y="25198"/>
                  </a:lnTo>
                  <a:cubicBezTo>
                    <a:pt x="4208" y="25198"/>
                    <a:pt x="4208" y="25112"/>
                    <a:pt x="4208" y="25078"/>
                  </a:cubicBezTo>
                  <a:lnTo>
                    <a:pt x="4208" y="25078"/>
                  </a:lnTo>
                  <a:cubicBezTo>
                    <a:pt x="4764" y="15747"/>
                    <a:pt x="10928" y="7687"/>
                    <a:pt x="19787" y="4706"/>
                  </a:cubicBezTo>
                  <a:lnTo>
                    <a:pt x="19787" y="4706"/>
                  </a:lnTo>
                  <a:lnTo>
                    <a:pt x="19994" y="4706"/>
                  </a:lnTo>
                  <a:lnTo>
                    <a:pt x="19994" y="4706"/>
                  </a:lnTo>
                  <a:lnTo>
                    <a:pt x="20217" y="4706"/>
                  </a:lnTo>
                  <a:lnTo>
                    <a:pt x="20062" y="4706"/>
                  </a:lnTo>
                  <a:lnTo>
                    <a:pt x="20337" y="4706"/>
                  </a:lnTo>
                  <a:lnTo>
                    <a:pt x="20234" y="4706"/>
                  </a:lnTo>
                  <a:lnTo>
                    <a:pt x="20234" y="4706"/>
                  </a:lnTo>
                  <a:lnTo>
                    <a:pt x="20423" y="4706"/>
                  </a:lnTo>
                  <a:lnTo>
                    <a:pt x="20423" y="4706"/>
                  </a:lnTo>
                  <a:lnTo>
                    <a:pt x="21711" y="4414"/>
                  </a:lnTo>
                  <a:lnTo>
                    <a:pt x="21711" y="4414"/>
                  </a:lnTo>
                  <a:lnTo>
                    <a:pt x="22038" y="4414"/>
                  </a:lnTo>
                  <a:lnTo>
                    <a:pt x="21814" y="4414"/>
                  </a:lnTo>
                  <a:lnTo>
                    <a:pt x="21814" y="4414"/>
                  </a:lnTo>
                  <a:lnTo>
                    <a:pt x="22415" y="4414"/>
                  </a:lnTo>
                  <a:lnTo>
                    <a:pt x="22415" y="4414"/>
                  </a:lnTo>
                  <a:lnTo>
                    <a:pt x="22106" y="4414"/>
                  </a:lnTo>
                  <a:lnTo>
                    <a:pt x="22398" y="4414"/>
                  </a:lnTo>
                  <a:lnTo>
                    <a:pt x="22398" y="4414"/>
                  </a:lnTo>
                  <a:lnTo>
                    <a:pt x="22690" y="4414"/>
                  </a:lnTo>
                  <a:lnTo>
                    <a:pt x="22587" y="4414"/>
                  </a:lnTo>
                  <a:lnTo>
                    <a:pt x="22484" y="4414"/>
                  </a:lnTo>
                  <a:lnTo>
                    <a:pt x="22725" y="4414"/>
                  </a:lnTo>
                  <a:lnTo>
                    <a:pt x="22347" y="4414"/>
                  </a:lnTo>
                  <a:lnTo>
                    <a:pt x="22244" y="4414"/>
                  </a:lnTo>
                  <a:lnTo>
                    <a:pt x="22055" y="4414"/>
                  </a:lnTo>
                  <a:lnTo>
                    <a:pt x="22415" y="4414"/>
                  </a:lnTo>
                  <a:lnTo>
                    <a:pt x="22020" y="4414"/>
                  </a:lnTo>
                  <a:lnTo>
                    <a:pt x="22020" y="4414"/>
                  </a:lnTo>
                  <a:lnTo>
                    <a:pt x="21608" y="4414"/>
                  </a:lnTo>
                  <a:lnTo>
                    <a:pt x="21608" y="4414"/>
                  </a:lnTo>
                  <a:lnTo>
                    <a:pt x="21213" y="4500"/>
                  </a:lnTo>
                  <a:lnTo>
                    <a:pt x="21385" y="4500"/>
                  </a:lnTo>
                  <a:lnTo>
                    <a:pt x="21385" y="4500"/>
                  </a:lnTo>
                  <a:cubicBezTo>
                    <a:pt x="21251" y="4544"/>
                    <a:pt x="21113" y="4572"/>
                    <a:pt x="20973" y="4586"/>
                  </a:cubicBezTo>
                  <a:lnTo>
                    <a:pt x="21144" y="4586"/>
                  </a:lnTo>
                  <a:lnTo>
                    <a:pt x="20955" y="4586"/>
                  </a:lnTo>
                  <a:lnTo>
                    <a:pt x="20955" y="4586"/>
                  </a:lnTo>
                  <a:lnTo>
                    <a:pt x="20835" y="4586"/>
                  </a:lnTo>
                  <a:lnTo>
                    <a:pt x="20835" y="4586"/>
                  </a:lnTo>
                  <a:lnTo>
                    <a:pt x="20835" y="4586"/>
                  </a:lnTo>
                  <a:cubicBezTo>
                    <a:pt x="20835" y="4586"/>
                    <a:pt x="20835" y="4586"/>
                    <a:pt x="20835" y="4586"/>
                  </a:cubicBezTo>
                  <a:lnTo>
                    <a:pt x="20835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560" y="4586"/>
                  </a:lnTo>
                  <a:lnTo>
                    <a:pt x="20560" y="4586"/>
                  </a:lnTo>
                  <a:lnTo>
                    <a:pt x="20114" y="4706"/>
                  </a:lnTo>
                  <a:lnTo>
                    <a:pt x="20114" y="4706"/>
                  </a:lnTo>
                  <a:lnTo>
                    <a:pt x="19787" y="4827"/>
                  </a:lnTo>
                  <a:lnTo>
                    <a:pt x="19787" y="4827"/>
                  </a:lnTo>
                  <a:lnTo>
                    <a:pt x="19392" y="4947"/>
                  </a:lnTo>
                  <a:lnTo>
                    <a:pt x="19392" y="4947"/>
                  </a:lnTo>
                  <a:lnTo>
                    <a:pt x="19100" y="5153"/>
                  </a:lnTo>
                  <a:lnTo>
                    <a:pt x="19100" y="5153"/>
                  </a:lnTo>
                  <a:lnTo>
                    <a:pt x="18997" y="5153"/>
                  </a:lnTo>
                  <a:lnTo>
                    <a:pt x="18997" y="5153"/>
                  </a:lnTo>
                  <a:lnTo>
                    <a:pt x="18430" y="5359"/>
                  </a:lnTo>
                  <a:lnTo>
                    <a:pt x="18568" y="5359"/>
                  </a:lnTo>
                  <a:lnTo>
                    <a:pt x="18568" y="5359"/>
                  </a:lnTo>
                  <a:cubicBezTo>
                    <a:pt x="18763" y="5286"/>
                    <a:pt x="18964" y="5229"/>
                    <a:pt x="19169" y="5187"/>
                  </a:cubicBezTo>
                  <a:lnTo>
                    <a:pt x="19169" y="5187"/>
                  </a:lnTo>
                  <a:lnTo>
                    <a:pt x="19341" y="5187"/>
                  </a:lnTo>
                  <a:lnTo>
                    <a:pt x="19461" y="5187"/>
                  </a:lnTo>
                  <a:lnTo>
                    <a:pt x="19186" y="5187"/>
                  </a:lnTo>
                  <a:lnTo>
                    <a:pt x="19186" y="5187"/>
                  </a:lnTo>
                  <a:lnTo>
                    <a:pt x="19032" y="5187"/>
                  </a:lnTo>
                  <a:lnTo>
                    <a:pt x="19032" y="5187"/>
                  </a:lnTo>
                  <a:lnTo>
                    <a:pt x="18911" y="5187"/>
                  </a:lnTo>
                  <a:lnTo>
                    <a:pt x="18911" y="5187"/>
                  </a:lnTo>
                  <a:lnTo>
                    <a:pt x="18740" y="5187"/>
                  </a:lnTo>
                  <a:lnTo>
                    <a:pt x="18740" y="5187"/>
                  </a:lnTo>
                  <a:lnTo>
                    <a:pt x="18894" y="5187"/>
                  </a:lnTo>
                  <a:lnTo>
                    <a:pt x="18894" y="5187"/>
                  </a:lnTo>
                  <a:lnTo>
                    <a:pt x="19049" y="5187"/>
                  </a:lnTo>
                  <a:lnTo>
                    <a:pt x="19049" y="5187"/>
                  </a:lnTo>
                  <a:lnTo>
                    <a:pt x="18860" y="5187"/>
                  </a:lnTo>
                  <a:cubicBezTo>
                    <a:pt x="18997" y="5187"/>
                    <a:pt x="19392" y="5067"/>
                    <a:pt x="19032" y="5187"/>
                  </a:cubicBezTo>
                  <a:lnTo>
                    <a:pt x="19186" y="5187"/>
                  </a:lnTo>
                  <a:lnTo>
                    <a:pt x="19289" y="5187"/>
                  </a:lnTo>
                  <a:lnTo>
                    <a:pt x="19650" y="5084"/>
                  </a:lnTo>
                  <a:cubicBezTo>
                    <a:pt x="19252" y="5196"/>
                    <a:pt x="18862" y="5334"/>
                    <a:pt x="18482" y="5497"/>
                  </a:cubicBezTo>
                  <a:lnTo>
                    <a:pt x="18654" y="5497"/>
                  </a:lnTo>
                  <a:lnTo>
                    <a:pt x="18654" y="5497"/>
                  </a:lnTo>
                  <a:cubicBezTo>
                    <a:pt x="18654" y="5497"/>
                    <a:pt x="18860" y="5497"/>
                    <a:pt x="18740" y="5497"/>
                  </a:cubicBezTo>
                  <a:lnTo>
                    <a:pt x="18894" y="5497"/>
                  </a:lnTo>
                  <a:lnTo>
                    <a:pt x="18894" y="5497"/>
                  </a:lnTo>
                  <a:lnTo>
                    <a:pt x="19032" y="5497"/>
                  </a:lnTo>
                  <a:cubicBezTo>
                    <a:pt x="18929" y="5497"/>
                    <a:pt x="18808" y="5497"/>
                    <a:pt x="18722" y="5617"/>
                  </a:cubicBezTo>
                  <a:lnTo>
                    <a:pt x="18722" y="5617"/>
                  </a:lnTo>
                  <a:lnTo>
                    <a:pt x="18585" y="5617"/>
                  </a:lnTo>
                  <a:lnTo>
                    <a:pt x="18585" y="5617"/>
                  </a:lnTo>
                  <a:lnTo>
                    <a:pt x="18413" y="5617"/>
                  </a:lnTo>
                  <a:cubicBezTo>
                    <a:pt x="18505" y="5624"/>
                    <a:pt x="18597" y="5624"/>
                    <a:pt x="18688" y="5617"/>
                  </a:cubicBezTo>
                  <a:cubicBezTo>
                    <a:pt x="18396" y="5771"/>
                    <a:pt x="18035" y="5909"/>
                    <a:pt x="17743" y="6098"/>
                  </a:cubicBezTo>
                  <a:lnTo>
                    <a:pt x="17743" y="6098"/>
                  </a:lnTo>
                  <a:lnTo>
                    <a:pt x="17554" y="6201"/>
                  </a:lnTo>
                  <a:lnTo>
                    <a:pt x="17743" y="6201"/>
                  </a:lnTo>
                  <a:lnTo>
                    <a:pt x="17743" y="6201"/>
                  </a:lnTo>
                  <a:cubicBezTo>
                    <a:pt x="17743" y="6201"/>
                    <a:pt x="17743" y="6201"/>
                    <a:pt x="17743" y="6201"/>
                  </a:cubicBezTo>
                  <a:cubicBezTo>
                    <a:pt x="17557" y="6309"/>
                    <a:pt x="17362" y="6402"/>
                    <a:pt x="17159" y="6476"/>
                  </a:cubicBezTo>
                  <a:cubicBezTo>
                    <a:pt x="17159" y="6476"/>
                    <a:pt x="17159" y="6476"/>
                    <a:pt x="17159" y="6476"/>
                  </a:cubicBezTo>
                  <a:cubicBezTo>
                    <a:pt x="17159" y="6476"/>
                    <a:pt x="17056" y="6476"/>
                    <a:pt x="17039" y="6476"/>
                  </a:cubicBezTo>
                  <a:lnTo>
                    <a:pt x="17039" y="6476"/>
                  </a:lnTo>
                  <a:cubicBezTo>
                    <a:pt x="16976" y="6499"/>
                    <a:pt x="16918" y="6534"/>
                    <a:pt x="16867" y="6579"/>
                  </a:cubicBezTo>
                  <a:lnTo>
                    <a:pt x="16867" y="6579"/>
                  </a:lnTo>
                  <a:cubicBezTo>
                    <a:pt x="16867" y="6579"/>
                    <a:pt x="16627" y="6750"/>
                    <a:pt x="16730" y="6716"/>
                  </a:cubicBezTo>
                  <a:lnTo>
                    <a:pt x="16730" y="6716"/>
                  </a:lnTo>
                  <a:lnTo>
                    <a:pt x="16730" y="6716"/>
                  </a:lnTo>
                  <a:lnTo>
                    <a:pt x="16730" y="6716"/>
                  </a:lnTo>
                  <a:cubicBezTo>
                    <a:pt x="16730" y="6716"/>
                    <a:pt x="16730" y="6716"/>
                    <a:pt x="16730" y="6716"/>
                  </a:cubicBezTo>
                  <a:lnTo>
                    <a:pt x="16885" y="6716"/>
                  </a:lnTo>
                  <a:lnTo>
                    <a:pt x="16627" y="6853"/>
                  </a:lnTo>
                  <a:lnTo>
                    <a:pt x="16627" y="6853"/>
                  </a:lnTo>
                  <a:cubicBezTo>
                    <a:pt x="16627" y="6853"/>
                    <a:pt x="16455" y="6853"/>
                    <a:pt x="16386" y="6991"/>
                  </a:cubicBezTo>
                  <a:cubicBezTo>
                    <a:pt x="16318" y="7128"/>
                    <a:pt x="16507" y="6991"/>
                    <a:pt x="16558" y="6991"/>
                  </a:cubicBezTo>
                  <a:cubicBezTo>
                    <a:pt x="16389" y="7066"/>
                    <a:pt x="16228" y="7158"/>
                    <a:pt x="16077" y="7266"/>
                  </a:cubicBezTo>
                  <a:lnTo>
                    <a:pt x="16077" y="7266"/>
                  </a:lnTo>
                  <a:lnTo>
                    <a:pt x="16077" y="7266"/>
                  </a:lnTo>
                  <a:cubicBezTo>
                    <a:pt x="16317" y="7116"/>
                    <a:pt x="16570" y="6989"/>
                    <a:pt x="16833" y="6888"/>
                  </a:cubicBezTo>
                  <a:lnTo>
                    <a:pt x="16833" y="6888"/>
                  </a:lnTo>
                  <a:cubicBezTo>
                    <a:pt x="16833" y="6888"/>
                    <a:pt x="16833" y="6888"/>
                    <a:pt x="16833" y="6888"/>
                  </a:cubicBezTo>
                  <a:lnTo>
                    <a:pt x="16833" y="6888"/>
                  </a:lnTo>
                  <a:lnTo>
                    <a:pt x="16936" y="6888"/>
                  </a:lnTo>
                  <a:lnTo>
                    <a:pt x="16833" y="6888"/>
                  </a:lnTo>
                  <a:cubicBezTo>
                    <a:pt x="16833" y="6888"/>
                    <a:pt x="16988" y="6785"/>
                    <a:pt x="17056" y="6785"/>
                  </a:cubicBezTo>
                  <a:lnTo>
                    <a:pt x="17056" y="6785"/>
                  </a:lnTo>
                  <a:cubicBezTo>
                    <a:pt x="17056" y="6785"/>
                    <a:pt x="17314" y="6682"/>
                    <a:pt x="17159" y="6785"/>
                  </a:cubicBezTo>
                  <a:lnTo>
                    <a:pt x="17039" y="6785"/>
                  </a:lnTo>
                  <a:cubicBezTo>
                    <a:pt x="17073" y="6775"/>
                    <a:pt x="17109" y="6775"/>
                    <a:pt x="17142" y="6785"/>
                  </a:cubicBezTo>
                  <a:lnTo>
                    <a:pt x="17022" y="6785"/>
                  </a:lnTo>
                  <a:lnTo>
                    <a:pt x="17022" y="6785"/>
                  </a:lnTo>
                  <a:cubicBezTo>
                    <a:pt x="17022" y="6785"/>
                    <a:pt x="17022" y="6785"/>
                    <a:pt x="16885" y="6785"/>
                  </a:cubicBezTo>
                  <a:cubicBezTo>
                    <a:pt x="16747" y="6785"/>
                    <a:pt x="17074" y="6785"/>
                    <a:pt x="17005" y="6785"/>
                  </a:cubicBezTo>
                  <a:cubicBezTo>
                    <a:pt x="17104" y="6745"/>
                    <a:pt x="17215" y="6745"/>
                    <a:pt x="17314" y="6785"/>
                  </a:cubicBezTo>
                  <a:lnTo>
                    <a:pt x="17314" y="6785"/>
                  </a:lnTo>
                  <a:cubicBezTo>
                    <a:pt x="17125" y="6922"/>
                    <a:pt x="16902" y="7025"/>
                    <a:pt x="16696" y="7145"/>
                  </a:cubicBezTo>
                  <a:lnTo>
                    <a:pt x="16696" y="7145"/>
                  </a:lnTo>
                  <a:lnTo>
                    <a:pt x="16696" y="7145"/>
                  </a:lnTo>
                  <a:lnTo>
                    <a:pt x="16696" y="7145"/>
                  </a:lnTo>
                  <a:cubicBezTo>
                    <a:pt x="16696" y="7145"/>
                    <a:pt x="16696" y="7145"/>
                    <a:pt x="16696" y="7145"/>
                  </a:cubicBezTo>
                  <a:lnTo>
                    <a:pt x="16696" y="7145"/>
                  </a:lnTo>
                  <a:lnTo>
                    <a:pt x="16696" y="7145"/>
                  </a:lnTo>
                  <a:lnTo>
                    <a:pt x="16455" y="7300"/>
                  </a:lnTo>
                  <a:lnTo>
                    <a:pt x="16455" y="7300"/>
                  </a:lnTo>
                  <a:cubicBezTo>
                    <a:pt x="16455" y="7300"/>
                    <a:pt x="16455" y="7300"/>
                    <a:pt x="16455" y="7386"/>
                  </a:cubicBezTo>
                  <a:lnTo>
                    <a:pt x="16610" y="7386"/>
                  </a:lnTo>
                  <a:lnTo>
                    <a:pt x="16610" y="7386"/>
                  </a:lnTo>
                  <a:lnTo>
                    <a:pt x="16610" y="7489"/>
                  </a:lnTo>
                  <a:cubicBezTo>
                    <a:pt x="16610" y="7489"/>
                    <a:pt x="16610" y="7489"/>
                    <a:pt x="16610" y="7489"/>
                  </a:cubicBezTo>
                  <a:lnTo>
                    <a:pt x="16610" y="7489"/>
                  </a:lnTo>
                  <a:cubicBezTo>
                    <a:pt x="16953" y="7266"/>
                    <a:pt x="16713" y="7489"/>
                    <a:pt x="16610" y="7592"/>
                  </a:cubicBezTo>
                  <a:cubicBezTo>
                    <a:pt x="16730" y="7592"/>
                    <a:pt x="16833" y="7386"/>
                    <a:pt x="16970" y="7334"/>
                  </a:cubicBezTo>
                  <a:lnTo>
                    <a:pt x="16970" y="7334"/>
                  </a:lnTo>
                  <a:cubicBezTo>
                    <a:pt x="16970" y="7334"/>
                    <a:pt x="17280" y="7145"/>
                    <a:pt x="17108" y="7334"/>
                  </a:cubicBezTo>
                  <a:lnTo>
                    <a:pt x="17245" y="7334"/>
                  </a:lnTo>
                  <a:lnTo>
                    <a:pt x="17142" y="7334"/>
                  </a:lnTo>
                  <a:cubicBezTo>
                    <a:pt x="17142" y="7334"/>
                    <a:pt x="17142" y="7334"/>
                    <a:pt x="17142" y="7334"/>
                  </a:cubicBezTo>
                  <a:cubicBezTo>
                    <a:pt x="17142" y="7334"/>
                    <a:pt x="17022" y="7334"/>
                    <a:pt x="16988" y="7437"/>
                  </a:cubicBezTo>
                  <a:lnTo>
                    <a:pt x="16988" y="7437"/>
                  </a:lnTo>
                  <a:cubicBezTo>
                    <a:pt x="16988" y="7437"/>
                    <a:pt x="16885" y="7437"/>
                    <a:pt x="16867" y="7437"/>
                  </a:cubicBezTo>
                  <a:cubicBezTo>
                    <a:pt x="17211" y="7317"/>
                    <a:pt x="16747" y="7437"/>
                    <a:pt x="16610" y="7575"/>
                  </a:cubicBezTo>
                  <a:lnTo>
                    <a:pt x="16610" y="7575"/>
                  </a:lnTo>
                  <a:lnTo>
                    <a:pt x="16421" y="7678"/>
                  </a:lnTo>
                  <a:lnTo>
                    <a:pt x="16421" y="7678"/>
                  </a:lnTo>
                  <a:lnTo>
                    <a:pt x="16283" y="7678"/>
                  </a:lnTo>
                  <a:cubicBezTo>
                    <a:pt x="16438" y="7678"/>
                    <a:pt x="16283" y="7678"/>
                    <a:pt x="16283" y="7678"/>
                  </a:cubicBezTo>
                  <a:lnTo>
                    <a:pt x="16283" y="7678"/>
                  </a:lnTo>
                  <a:lnTo>
                    <a:pt x="16129" y="7678"/>
                  </a:lnTo>
                  <a:lnTo>
                    <a:pt x="16129" y="7678"/>
                  </a:lnTo>
                  <a:lnTo>
                    <a:pt x="16129" y="7678"/>
                  </a:lnTo>
                  <a:lnTo>
                    <a:pt x="16129" y="7678"/>
                  </a:lnTo>
                  <a:cubicBezTo>
                    <a:pt x="16026" y="7678"/>
                    <a:pt x="15923" y="7833"/>
                    <a:pt x="15820" y="7867"/>
                  </a:cubicBezTo>
                  <a:cubicBezTo>
                    <a:pt x="15717" y="7901"/>
                    <a:pt x="15974" y="7764"/>
                    <a:pt x="16043" y="7747"/>
                  </a:cubicBezTo>
                  <a:cubicBezTo>
                    <a:pt x="16112" y="7729"/>
                    <a:pt x="16043" y="7747"/>
                    <a:pt x="16043" y="7747"/>
                  </a:cubicBezTo>
                  <a:cubicBezTo>
                    <a:pt x="16131" y="7705"/>
                    <a:pt x="16223" y="7670"/>
                    <a:pt x="16318" y="7644"/>
                  </a:cubicBezTo>
                  <a:lnTo>
                    <a:pt x="16198" y="7644"/>
                  </a:lnTo>
                  <a:cubicBezTo>
                    <a:pt x="16386" y="7558"/>
                    <a:pt x="16558" y="7420"/>
                    <a:pt x="16747" y="7352"/>
                  </a:cubicBezTo>
                  <a:lnTo>
                    <a:pt x="16747" y="7352"/>
                  </a:lnTo>
                  <a:lnTo>
                    <a:pt x="16747" y="7352"/>
                  </a:lnTo>
                  <a:cubicBezTo>
                    <a:pt x="16976" y="7288"/>
                    <a:pt x="17195" y="7196"/>
                    <a:pt x="17400" y="7077"/>
                  </a:cubicBezTo>
                  <a:cubicBezTo>
                    <a:pt x="17400" y="7077"/>
                    <a:pt x="17400" y="7077"/>
                    <a:pt x="17262" y="7077"/>
                  </a:cubicBezTo>
                  <a:lnTo>
                    <a:pt x="17262" y="7077"/>
                  </a:lnTo>
                  <a:cubicBezTo>
                    <a:pt x="17366" y="7077"/>
                    <a:pt x="17761" y="6836"/>
                    <a:pt x="17520" y="6991"/>
                  </a:cubicBezTo>
                  <a:cubicBezTo>
                    <a:pt x="17692" y="6991"/>
                    <a:pt x="17692" y="6819"/>
                    <a:pt x="17846" y="6768"/>
                  </a:cubicBezTo>
                  <a:cubicBezTo>
                    <a:pt x="17692" y="6768"/>
                    <a:pt x="17846" y="6768"/>
                    <a:pt x="17846" y="6768"/>
                  </a:cubicBezTo>
                  <a:lnTo>
                    <a:pt x="17846" y="6768"/>
                  </a:lnTo>
                  <a:cubicBezTo>
                    <a:pt x="18036" y="6628"/>
                    <a:pt x="18252" y="6528"/>
                    <a:pt x="18482" y="6476"/>
                  </a:cubicBezTo>
                  <a:lnTo>
                    <a:pt x="18482" y="6476"/>
                  </a:lnTo>
                  <a:cubicBezTo>
                    <a:pt x="18662" y="6364"/>
                    <a:pt x="18859" y="6282"/>
                    <a:pt x="19066" y="6235"/>
                  </a:cubicBezTo>
                  <a:lnTo>
                    <a:pt x="18911" y="6321"/>
                  </a:lnTo>
                  <a:cubicBezTo>
                    <a:pt x="19100" y="6321"/>
                    <a:pt x="19238" y="6149"/>
                    <a:pt x="19427" y="6115"/>
                  </a:cubicBezTo>
                  <a:lnTo>
                    <a:pt x="19238" y="6252"/>
                  </a:lnTo>
                  <a:cubicBezTo>
                    <a:pt x="20286" y="5617"/>
                    <a:pt x="22038" y="4998"/>
                    <a:pt x="20303" y="5909"/>
                  </a:cubicBezTo>
                  <a:cubicBezTo>
                    <a:pt x="20578" y="5823"/>
                    <a:pt x="21230" y="5411"/>
                    <a:pt x="21024" y="5651"/>
                  </a:cubicBezTo>
                  <a:cubicBezTo>
                    <a:pt x="21780" y="5393"/>
                    <a:pt x="20629" y="6012"/>
                    <a:pt x="20303" y="6149"/>
                  </a:cubicBezTo>
                  <a:cubicBezTo>
                    <a:pt x="20698" y="6012"/>
                    <a:pt x="20303" y="6149"/>
                    <a:pt x="20303" y="6149"/>
                  </a:cubicBezTo>
                  <a:cubicBezTo>
                    <a:pt x="20303" y="6149"/>
                    <a:pt x="20560" y="5977"/>
                    <a:pt x="20406" y="6149"/>
                  </a:cubicBezTo>
                  <a:cubicBezTo>
                    <a:pt x="20663" y="5857"/>
                    <a:pt x="20921" y="6149"/>
                    <a:pt x="20492" y="6235"/>
                  </a:cubicBezTo>
                  <a:cubicBezTo>
                    <a:pt x="20448" y="6218"/>
                    <a:pt x="20398" y="6218"/>
                    <a:pt x="20354" y="6235"/>
                  </a:cubicBezTo>
                  <a:cubicBezTo>
                    <a:pt x="20612" y="6235"/>
                    <a:pt x="20251" y="6321"/>
                    <a:pt x="20165" y="6355"/>
                  </a:cubicBezTo>
                  <a:cubicBezTo>
                    <a:pt x="20818" y="6149"/>
                    <a:pt x="19616" y="6647"/>
                    <a:pt x="20337" y="6355"/>
                  </a:cubicBezTo>
                  <a:cubicBezTo>
                    <a:pt x="19427" y="6750"/>
                    <a:pt x="20749" y="6355"/>
                    <a:pt x="19856" y="6716"/>
                  </a:cubicBezTo>
                  <a:cubicBezTo>
                    <a:pt x="19856" y="6819"/>
                    <a:pt x="19856" y="6716"/>
                    <a:pt x="20097" y="6716"/>
                  </a:cubicBezTo>
                  <a:cubicBezTo>
                    <a:pt x="19967" y="6814"/>
                    <a:pt x="19822" y="6889"/>
                    <a:pt x="19667" y="6939"/>
                  </a:cubicBezTo>
                  <a:cubicBezTo>
                    <a:pt x="19564" y="6939"/>
                    <a:pt x="20423" y="6939"/>
                    <a:pt x="19495" y="7145"/>
                  </a:cubicBezTo>
                  <a:cubicBezTo>
                    <a:pt x="19392" y="7145"/>
                    <a:pt x="19959" y="7145"/>
                    <a:pt x="19358" y="7266"/>
                  </a:cubicBezTo>
                  <a:cubicBezTo>
                    <a:pt x="19856" y="7094"/>
                    <a:pt x="19925" y="7266"/>
                    <a:pt x="19358" y="7352"/>
                  </a:cubicBezTo>
                  <a:cubicBezTo>
                    <a:pt x="19581" y="7541"/>
                    <a:pt x="19255" y="7592"/>
                    <a:pt x="19358" y="7523"/>
                  </a:cubicBezTo>
                  <a:cubicBezTo>
                    <a:pt x="19083" y="7523"/>
                    <a:pt x="19358" y="7747"/>
                    <a:pt x="19049" y="7626"/>
                  </a:cubicBezTo>
                  <a:cubicBezTo>
                    <a:pt x="18860" y="7953"/>
                    <a:pt x="19186" y="7764"/>
                    <a:pt x="18860" y="7918"/>
                  </a:cubicBezTo>
                  <a:cubicBezTo>
                    <a:pt x="19118" y="7833"/>
                    <a:pt x="18654" y="8193"/>
                    <a:pt x="18860" y="8039"/>
                  </a:cubicBezTo>
                  <a:cubicBezTo>
                    <a:pt x="18534" y="8365"/>
                    <a:pt x="19152" y="7850"/>
                    <a:pt x="18705" y="8399"/>
                  </a:cubicBezTo>
                  <a:cubicBezTo>
                    <a:pt x="18482" y="8520"/>
                    <a:pt x="19066" y="8399"/>
                    <a:pt x="18551" y="8588"/>
                  </a:cubicBezTo>
                  <a:cubicBezTo>
                    <a:pt x="18929" y="8434"/>
                    <a:pt x="18637" y="8966"/>
                    <a:pt x="18396" y="8829"/>
                  </a:cubicBezTo>
                  <a:cubicBezTo>
                    <a:pt x="18396" y="8966"/>
                    <a:pt x="18242" y="9069"/>
                    <a:pt x="18190" y="8966"/>
                  </a:cubicBezTo>
                  <a:cubicBezTo>
                    <a:pt x="18138" y="8863"/>
                    <a:pt x="18018" y="9155"/>
                    <a:pt x="18190" y="8966"/>
                  </a:cubicBezTo>
                  <a:cubicBezTo>
                    <a:pt x="18362" y="8777"/>
                    <a:pt x="17692" y="9447"/>
                    <a:pt x="17846" y="9155"/>
                  </a:cubicBezTo>
                  <a:cubicBezTo>
                    <a:pt x="17709" y="8966"/>
                    <a:pt x="18173" y="8709"/>
                    <a:pt x="18224" y="8605"/>
                  </a:cubicBezTo>
                  <a:cubicBezTo>
                    <a:pt x="17915" y="8777"/>
                    <a:pt x="18104" y="8605"/>
                    <a:pt x="18224" y="8434"/>
                  </a:cubicBezTo>
                  <a:cubicBezTo>
                    <a:pt x="18345" y="8262"/>
                    <a:pt x="17967" y="8640"/>
                    <a:pt x="18053" y="8434"/>
                  </a:cubicBezTo>
                  <a:cubicBezTo>
                    <a:pt x="17761" y="8709"/>
                    <a:pt x="17589" y="8743"/>
                    <a:pt x="17486" y="9155"/>
                  </a:cubicBezTo>
                  <a:cubicBezTo>
                    <a:pt x="17383" y="9567"/>
                    <a:pt x="16816" y="10065"/>
                    <a:pt x="16747" y="9842"/>
                  </a:cubicBezTo>
                  <a:cubicBezTo>
                    <a:pt x="16678" y="9619"/>
                    <a:pt x="16867" y="9722"/>
                    <a:pt x="16747" y="9396"/>
                  </a:cubicBezTo>
                  <a:cubicBezTo>
                    <a:pt x="16524" y="9791"/>
                    <a:pt x="16524" y="10306"/>
                    <a:pt x="16524" y="10306"/>
                  </a:cubicBezTo>
                  <a:cubicBezTo>
                    <a:pt x="15820" y="10461"/>
                    <a:pt x="16644" y="9104"/>
                    <a:pt x="16799" y="9069"/>
                  </a:cubicBezTo>
                  <a:cubicBezTo>
                    <a:pt x="16524" y="9172"/>
                    <a:pt x="16799" y="9069"/>
                    <a:pt x="16558" y="9069"/>
                  </a:cubicBezTo>
                  <a:cubicBezTo>
                    <a:pt x="16678" y="8897"/>
                    <a:pt x="16386" y="9155"/>
                    <a:pt x="16301" y="9069"/>
                  </a:cubicBezTo>
                  <a:cubicBezTo>
                    <a:pt x="16215" y="8983"/>
                    <a:pt x="17005" y="8382"/>
                    <a:pt x="16850" y="8794"/>
                  </a:cubicBezTo>
                  <a:cubicBezTo>
                    <a:pt x="18310" y="8485"/>
                    <a:pt x="19203" y="7077"/>
                    <a:pt x="19530" y="6733"/>
                  </a:cubicBezTo>
                  <a:cubicBezTo>
                    <a:pt x="19032" y="7145"/>
                    <a:pt x="19169" y="6733"/>
                    <a:pt x="18980" y="6733"/>
                  </a:cubicBezTo>
                  <a:cubicBezTo>
                    <a:pt x="18791" y="6733"/>
                    <a:pt x="19238" y="6579"/>
                    <a:pt x="18980" y="6561"/>
                  </a:cubicBezTo>
                  <a:cubicBezTo>
                    <a:pt x="19203" y="6321"/>
                    <a:pt x="18980" y="6561"/>
                    <a:pt x="18980" y="6373"/>
                  </a:cubicBezTo>
                  <a:lnTo>
                    <a:pt x="19083" y="6373"/>
                  </a:lnTo>
                  <a:lnTo>
                    <a:pt x="18929" y="6458"/>
                  </a:lnTo>
                  <a:cubicBezTo>
                    <a:pt x="18671" y="6579"/>
                    <a:pt x="18430" y="6733"/>
                    <a:pt x="18173" y="6871"/>
                  </a:cubicBezTo>
                  <a:lnTo>
                    <a:pt x="18173" y="6871"/>
                  </a:lnTo>
                  <a:lnTo>
                    <a:pt x="18293" y="6871"/>
                  </a:lnTo>
                  <a:lnTo>
                    <a:pt x="18242" y="6871"/>
                  </a:lnTo>
                  <a:lnTo>
                    <a:pt x="18242" y="6871"/>
                  </a:lnTo>
                  <a:cubicBezTo>
                    <a:pt x="18242" y="6957"/>
                    <a:pt x="17984" y="6871"/>
                    <a:pt x="17898" y="7025"/>
                  </a:cubicBezTo>
                  <a:lnTo>
                    <a:pt x="17898" y="7025"/>
                  </a:lnTo>
                  <a:lnTo>
                    <a:pt x="17898" y="7025"/>
                  </a:lnTo>
                  <a:lnTo>
                    <a:pt x="18001" y="7025"/>
                  </a:lnTo>
                  <a:cubicBezTo>
                    <a:pt x="18001" y="7025"/>
                    <a:pt x="18001" y="7025"/>
                    <a:pt x="18001" y="7025"/>
                  </a:cubicBezTo>
                  <a:lnTo>
                    <a:pt x="18001" y="7025"/>
                  </a:lnTo>
                  <a:cubicBezTo>
                    <a:pt x="18001" y="7025"/>
                    <a:pt x="17881" y="7025"/>
                    <a:pt x="17829" y="7025"/>
                  </a:cubicBezTo>
                  <a:lnTo>
                    <a:pt x="17829" y="7025"/>
                  </a:lnTo>
                  <a:lnTo>
                    <a:pt x="17829" y="7025"/>
                  </a:lnTo>
                  <a:cubicBezTo>
                    <a:pt x="17623" y="7180"/>
                    <a:pt x="17400" y="7300"/>
                    <a:pt x="17177" y="7437"/>
                  </a:cubicBezTo>
                  <a:lnTo>
                    <a:pt x="17434" y="7334"/>
                  </a:lnTo>
                  <a:lnTo>
                    <a:pt x="17434" y="7334"/>
                  </a:lnTo>
                  <a:lnTo>
                    <a:pt x="17864" y="7111"/>
                  </a:lnTo>
                  <a:cubicBezTo>
                    <a:pt x="17702" y="7258"/>
                    <a:pt x="17523" y="7385"/>
                    <a:pt x="17331" y="7489"/>
                  </a:cubicBezTo>
                  <a:lnTo>
                    <a:pt x="17331" y="7489"/>
                  </a:lnTo>
                  <a:cubicBezTo>
                    <a:pt x="17075" y="7607"/>
                    <a:pt x="16843" y="7770"/>
                    <a:pt x="16644" y="7970"/>
                  </a:cubicBezTo>
                  <a:cubicBezTo>
                    <a:pt x="16644" y="7970"/>
                    <a:pt x="16747" y="7884"/>
                    <a:pt x="16799" y="7884"/>
                  </a:cubicBezTo>
                  <a:lnTo>
                    <a:pt x="16799" y="7884"/>
                  </a:lnTo>
                  <a:lnTo>
                    <a:pt x="17675" y="7437"/>
                  </a:lnTo>
                  <a:lnTo>
                    <a:pt x="17675" y="7437"/>
                  </a:lnTo>
                  <a:lnTo>
                    <a:pt x="17675" y="7437"/>
                  </a:lnTo>
                  <a:cubicBezTo>
                    <a:pt x="17675" y="7437"/>
                    <a:pt x="17675" y="7334"/>
                    <a:pt x="17812" y="7352"/>
                  </a:cubicBezTo>
                  <a:lnTo>
                    <a:pt x="17812" y="7352"/>
                  </a:lnTo>
                  <a:cubicBezTo>
                    <a:pt x="17812" y="7352"/>
                    <a:pt x="17812" y="7352"/>
                    <a:pt x="17932" y="7352"/>
                  </a:cubicBezTo>
                  <a:lnTo>
                    <a:pt x="17932" y="7352"/>
                  </a:lnTo>
                  <a:lnTo>
                    <a:pt x="18362" y="7111"/>
                  </a:lnTo>
                  <a:cubicBezTo>
                    <a:pt x="18362" y="7111"/>
                    <a:pt x="18362" y="7111"/>
                    <a:pt x="18362" y="7266"/>
                  </a:cubicBezTo>
                  <a:lnTo>
                    <a:pt x="18362" y="7266"/>
                  </a:lnTo>
                  <a:cubicBezTo>
                    <a:pt x="18341" y="7321"/>
                    <a:pt x="18297" y="7365"/>
                    <a:pt x="18242" y="7386"/>
                  </a:cubicBezTo>
                  <a:cubicBezTo>
                    <a:pt x="18242" y="7300"/>
                    <a:pt x="18242" y="7472"/>
                    <a:pt x="18104" y="7489"/>
                  </a:cubicBezTo>
                  <a:cubicBezTo>
                    <a:pt x="17967" y="7506"/>
                    <a:pt x="17967" y="7626"/>
                    <a:pt x="17898" y="7626"/>
                  </a:cubicBezTo>
                  <a:cubicBezTo>
                    <a:pt x="17829" y="7626"/>
                    <a:pt x="17898" y="7626"/>
                    <a:pt x="17898" y="7626"/>
                  </a:cubicBezTo>
                  <a:lnTo>
                    <a:pt x="17898" y="7626"/>
                  </a:lnTo>
                  <a:cubicBezTo>
                    <a:pt x="17898" y="7626"/>
                    <a:pt x="17606" y="7764"/>
                    <a:pt x="17692" y="7626"/>
                  </a:cubicBezTo>
                  <a:lnTo>
                    <a:pt x="17692" y="7626"/>
                  </a:lnTo>
                  <a:cubicBezTo>
                    <a:pt x="17692" y="7626"/>
                    <a:pt x="17692" y="7712"/>
                    <a:pt x="17537" y="7729"/>
                  </a:cubicBezTo>
                  <a:lnTo>
                    <a:pt x="17537" y="7729"/>
                  </a:lnTo>
                  <a:cubicBezTo>
                    <a:pt x="17537" y="7729"/>
                    <a:pt x="17417" y="7729"/>
                    <a:pt x="17537" y="7729"/>
                  </a:cubicBezTo>
                  <a:cubicBezTo>
                    <a:pt x="17222" y="8004"/>
                    <a:pt x="16845" y="8199"/>
                    <a:pt x="16438" y="8296"/>
                  </a:cubicBezTo>
                  <a:cubicBezTo>
                    <a:pt x="16466" y="8278"/>
                    <a:pt x="16495" y="8261"/>
                    <a:pt x="16524" y="8245"/>
                  </a:cubicBezTo>
                  <a:lnTo>
                    <a:pt x="16524" y="8245"/>
                  </a:lnTo>
                  <a:lnTo>
                    <a:pt x="16661" y="8125"/>
                  </a:lnTo>
                  <a:lnTo>
                    <a:pt x="16661" y="8125"/>
                  </a:lnTo>
                  <a:cubicBezTo>
                    <a:pt x="16661" y="8125"/>
                    <a:pt x="16490" y="8210"/>
                    <a:pt x="16661" y="8125"/>
                  </a:cubicBezTo>
                  <a:cubicBezTo>
                    <a:pt x="16557" y="8250"/>
                    <a:pt x="16436" y="8360"/>
                    <a:pt x="16301" y="8451"/>
                  </a:cubicBezTo>
                  <a:lnTo>
                    <a:pt x="16404" y="8296"/>
                  </a:lnTo>
                  <a:cubicBezTo>
                    <a:pt x="16404" y="8296"/>
                    <a:pt x="16404" y="8382"/>
                    <a:pt x="16283" y="8399"/>
                  </a:cubicBezTo>
                  <a:cubicBezTo>
                    <a:pt x="16163" y="8417"/>
                    <a:pt x="16283" y="8399"/>
                    <a:pt x="16283" y="8399"/>
                  </a:cubicBezTo>
                  <a:lnTo>
                    <a:pt x="16283" y="8399"/>
                  </a:lnTo>
                  <a:lnTo>
                    <a:pt x="16438" y="8279"/>
                  </a:lnTo>
                  <a:cubicBezTo>
                    <a:pt x="16438" y="8279"/>
                    <a:pt x="16335" y="8279"/>
                    <a:pt x="16438" y="8279"/>
                  </a:cubicBezTo>
                  <a:lnTo>
                    <a:pt x="16438" y="8279"/>
                  </a:lnTo>
                  <a:lnTo>
                    <a:pt x="16438" y="8279"/>
                  </a:lnTo>
                  <a:cubicBezTo>
                    <a:pt x="16260" y="8438"/>
                    <a:pt x="16057" y="8566"/>
                    <a:pt x="15837" y="8657"/>
                  </a:cubicBezTo>
                  <a:lnTo>
                    <a:pt x="15837" y="8657"/>
                  </a:lnTo>
                  <a:cubicBezTo>
                    <a:pt x="15510" y="8846"/>
                    <a:pt x="15837" y="8520"/>
                    <a:pt x="15837" y="8365"/>
                  </a:cubicBezTo>
                  <a:cubicBezTo>
                    <a:pt x="15545" y="8537"/>
                    <a:pt x="15614" y="8846"/>
                    <a:pt x="15287" y="8932"/>
                  </a:cubicBezTo>
                  <a:lnTo>
                    <a:pt x="15287" y="8932"/>
                  </a:lnTo>
                  <a:lnTo>
                    <a:pt x="14841" y="9138"/>
                  </a:lnTo>
                  <a:cubicBezTo>
                    <a:pt x="14841" y="9138"/>
                    <a:pt x="14841" y="9138"/>
                    <a:pt x="14841" y="9138"/>
                  </a:cubicBezTo>
                  <a:lnTo>
                    <a:pt x="14841" y="9138"/>
                  </a:lnTo>
                  <a:lnTo>
                    <a:pt x="14841" y="9138"/>
                  </a:lnTo>
                  <a:cubicBezTo>
                    <a:pt x="14841" y="9138"/>
                    <a:pt x="14841" y="9138"/>
                    <a:pt x="14961" y="9035"/>
                  </a:cubicBezTo>
                  <a:cubicBezTo>
                    <a:pt x="15081" y="8932"/>
                    <a:pt x="14841" y="9035"/>
                    <a:pt x="14806" y="9121"/>
                  </a:cubicBezTo>
                  <a:cubicBezTo>
                    <a:pt x="14849" y="9096"/>
                    <a:pt x="14884" y="9060"/>
                    <a:pt x="14909" y="9018"/>
                  </a:cubicBezTo>
                  <a:cubicBezTo>
                    <a:pt x="14909" y="9018"/>
                    <a:pt x="14514" y="9344"/>
                    <a:pt x="14686" y="9138"/>
                  </a:cubicBezTo>
                  <a:lnTo>
                    <a:pt x="14531" y="9258"/>
                  </a:lnTo>
                  <a:cubicBezTo>
                    <a:pt x="14601" y="9111"/>
                    <a:pt x="14687" y="8973"/>
                    <a:pt x="14789" y="8846"/>
                  </a:cubicBezTo>
                  <a:lnTo>
                    <a:pt x="14789" y="8846"/>
                  </a:lnTo>
                  <a:lnTo>
                    <a:pt x="14789" y="8846"/>
                  </a:lnTo>
                  <a:lnTo>
                    <a:pt x="14703" y="8949"/>
                  </a:lnTo>
                  <a:cubicBezTo>
                    <a:pt x="14909" y="8794"/>
                    <a:pt x="14600" y="9138"/>
                    <a:pt x="14549" y="9121"/>
                  </a:cubicBezTo>
                  <a:lnTo>
                    <a:pt x="14686" y="9121"/>
                  </a:lnTo>
                  <a:cubicBezTo>
                    <a:pt x="14549" y="9361"/>
                    <a:pt x="13999" y="9653"/>
                    <a:pt x="14411" y="9121"/>
                  </a:cubicBezTo>
                  <a:cubicBezTo>
                    <a:pt x="14274" y="9207"/>
                    <a:pt x="14205" y="9361"/>
                    <a:pt x="14085" y="9447"/>
                  </a:cubicBezTo>
                  <a:lnTo>
                    <a:pt x="14085" y="9447"/>
                  </a:lnTo>
                  <a:lnTo>
                    <a:pt x="14085" y="9447"/>
                  </a:lnTo>
                  <a:lnTo>
                    <a:pt x="14085" y="9447"/>
                  </a:lnTo>
                  <a:lnTo>
                    <a:pt x="13930" y="9585"/>
                  </a:lnTo>
                  <a:cubicBezTo>
                    <a:pt x="13930" y="9585"/>
                    <a:pt x="13930" y="9585"/>
                    <a:pt x="13930" y="9585"/>
                  </a:cubicBezTo>
                  <a:cubicBezTo>
                    <a:pt x="13930" y="9585"/>
                    <a:pt x="13810" y="9585"/>
                    <a:pt x="13776" y="9585"/>
                  </a:cubicBezTo>
                  <a:cubicBezTo>
                    <a:pt x="13741" y="9585"/>
                    <a:pt x="13260" y="9911"/>
                    <a:pt x="13123" y="9945"/>
                  </a:cubicBezTo>
                  <a:lnTo>
                    <a:pt x="13123" y="9945"/>
                  </a:lnTo>
                  <a:cubicBezTo>
                    <a:pt x="12737" y="10291"/>
                    <a:pt x="12330" y="10612"/>
                    <a:pt x="11903" y="10907"/>
                  </a:cubicBezTo>
                  <a:cubicBezTo>
                    <a:pt x="12900" y="10254"/>
                    <a:pt x="11749" y="11405"/>
                    <a:pt x="11525" y="11405"/>
                  </a:cubicBezTo>
                  <a:cubicBezTo>
                    <a:pt x="11972" y="11405"/>
                    <a:pt x="11732" y="11783"/>
                    <a:pt x="11525" y="12092"/>
                  </a:cubicBezTo>
                  <a:lnTo>
                    <a:pt x="11525" y="12092"/>
                  </a:lnTo>
                  <a:cubicBezTo>
                    <a:pt x="11512" y="12253"/>
                    <a:pt x="11471" y="12409"/>
                    <a:pt x="11405" y="12556"/>
                  </a:cubicBezTo>
                  <a:cubicBezTo>
                    <a:pt x="11525" y="12556"/>
                    <a:pt x="11508" y="12693"/>
                    <a:pt x="11629" y="12693"/>
                  </a:cubicBezTo>
                  <a:lnTo>
                    <a:pt x="11629" y="12693"/>
                  </a:lnTo>
                  <a:cubicBezTo>
                    <a:pt x="11143" y="13178"/>
                    <a:pt x="10727" y="13727"/>
                    <a:pt x="10392" y="14325"/>
                  </a:cubicBezTo>
                  <a:cubicBezTo>
                    <a:pt x="10598" y="14325"/>
                    <a:pt x="10546" y="14325"/>
                    <a:pt x="10753" y="14188"/>
                  </a:cubicBezTo>
                  <a:cubicBezTo>
                    <a:pt x="10753" y="14274"/>
                    <a:pt x="10546" y="14445"/>
                    <a:pt x="10649" y="14514"/>
                  </a:cubicBezTo>
                  <a:cubicBezTo>
                    <a:pt x="11067" y="13670"/>
                    <a:pt x="11757" y="12992"/>
                    <a:pt x="12608" y="12590"/>
                  </a:cubicBezTo>
                  <a:cubicBezTo>
                    <a:pt x="13106" y="12024"/>
                    <a:pt x="13484" y="11337"/>
                    <a:pt x="13999" y="11148"/>
                  </a:cubicBezTo>
                  <a:lnTo>
                    <a:pt x="13999" y="11148"/>
                  </a:lnTo>
                  <a:cubicBezTo>
                    <a:pt x="14085" y="11148"/>
                    <a:pt x="14119" y="10976"/>
                    <a:pt x="14205" y="10976"/>
                  </a:cubicBezTo>
                  <a:cubicBezTo>
                    <a:pt x="14291" y="10976"/>
                    <a:pt x="14205" y="10873"/>
                    <a:pt x="14325" y="10856"/>
                  </a:cubicBezTo>
                  <a:cubicBezTo>
                    <a:pt x="14446" y="10838"/>
                    <a:pt x="15493" y="9808"/>
                    <a:pt x="15081" y="10409"/>
                  </a:cubicBezTo>
                  <a:cubicBezTo>
                    <a:pt x="15081" y="10409"/>
                    <a:pt x="15253" y="10409"/>
                    <a:pt x="15201" y="10409"/>
                  </a:cubicBezTo>
                  <a:lnTo>
                    <a:pt x="15201" y="10409"/>
                  </a:lnTo>
                  <a:cubicBezTo>
                    <a:pt x="15510" y="10409"/>
                    <a:pt x="15201" y="10409"/>
                    <a:pt x="15304" y="10564"/>
                  </a:cubicBezTo>
                  <a:cubicBezTo>
                    <a:pt x="15407" y="10718"/>
                    <a:pt x="15201" y="10649"/>
                    <a:pt x="15167" y="10701"/>
                  </a:cubicBezTo>
                  <a:lnTo>
                    <a:pt x="15167" y="10701"/>
                  </a:lnTo>
                  <a:cubicBezTo>
                    <a:pt x="15167" y="10701"/>
                    <a:pt x="15167" y="10804"/>
                    <a:pt x="15167" y="10856"/>
                  </a:cubicBezTo>
                  <a:lnTo>
                    <a:pt x="15167" y="10856"/>
                  </a:lnTo>
                  <a:cubicBezTo>
                    <a:pt x="15167" y="10856"/>
                    <a:pt x="15167" y="10941"/>
                    <a:pt x="15167" y="10941"/>
                  </a:cubicBezTo>
                  <a:lnTo>
                    <a:pt x="15167" y="10941"/>
                  </a:lnTo>
                  <a:cubicBezTo>
                    <a:pt x="15167" y="10941"/>
                    <a:pt x="15167" y="11027"/>
                    <a:pt x="15047" y="11079"/>
                  </a:cubicBez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cubicBezTo>
                    <a:pt x="15201" y="11079"/>
                    <a:pt x="15047" y="11165"/>
                    <a:pt x="15047" y="11216"/>
                  </a:cubicBezTo>
                  <a:cubicBezTo>
                    <a:pt x="15047" y="11268"/>
                    <a:pt x="15150" y="11113"/>
                    <a:pt x="15201" y="11130"/>
                  </a:cubicBezTo>
                  <a:cubicBezTo>
                    <a:pt x="15253" y="11148"/>
                    <a:pt x="14909" y="11337"/>
                    <a:pt x="14789" y="11508"/>
                  </a:cubicBezTo>
                  <a:lnTo>
                    <a:pt x="14789" y="11508"/>
                  </a:lnTo>
                  <a:cubicBezTo>
                    <a:pt x="14789" y="11508"/>
                    <a:pt x="14652" y="11629"/>
                    <a:pt x="14583" y="11508"/>
                  </a:cubicBezTo>
                  <a:cubicBezTo>
                    <a:pt x="14772" y="11680"/>
                    <a:pt x="14308" y="12041"/>
                    <a:pt x="14325" y="11989"/>
                  </a:cubicBezTo>
                  <a:cubicBezTo>
                    <a:pt x="14342" y="11938"/>
                    <a:pt x="14325" y="12144"/>
                    <a:pt x="14325" y="11989"/>
                  </a:cubicBezTo>
                  <a:cubicBezTo>
                    <a:pt x="14325" y="11835"/>
                    <a:pt x="14119" y="12264"/>
                    <a:pt x="14016" y="12367"/>
                  </a:cubicBezTo>
                  <a:cubicBezTo>
                    <a:pt x="14291" y="12178"/>
                    <a:pt x="14360" y="12144"/>
                    <a:pt x="14016" y="12367"/>
                  </a:cubicBezTo>
                  <a:cubicBezTo>
                    <a:pt x="14016" y="12367"/>
                    <a:pt x="14308" y="12127"/>
                    <a:pt x="14308" y="12230"/>
                  </a:cubicBezTo>
                  <a:cubicBezTo>
                    <a:pt x="14308" y="12333"/>
                    <a:pt x="14463" y="12109"/>
                    <a:pt x="14549" y="12075"/>
                  </a:cubicBezTo>
                  <a:cubicBezTo>
                    <a:pt x="14564" y="12131"/>
                    <a:pt x="14564" y="12191"/>
                    <a:pt x="14549" y="12247"/>
                  </a:cubicBezTo>
                  <a:cubicBezTo>
                    <a:pt x="14549" y="12161"/>
                    <a:pt x="14961" y="11800"/>
                    <a:pt x="14995" y="11921"/>
                  </a:cubicBezTo>
                  <a:cubicBezTo>
                    <a:pt x="15030" y="12041"/>
                    <a:pt x="14995" y="11921"/>
                    <a:pt x="14995" y="11921"/>
                  </a:cubicBezTo>
                  <a:cubicBezTo>
                    <a:pt x="14995" y="11921"/>
                    <a:pt x="14995" y="11817"/>
                    <a:pt x="15133" y="11817"/>
                  </a:cubicBezTo>
                  <a:lnTo>
                    <a:pt x="15133" y="11817"/>
                  </a:lnTo>
                  <a:cubicBezTo>
                    <a:pt x="15133" y="11732"/>
                    <a:pt x="15579" y="11457"/>
                    <a:pt x="15442" y="11577"/>
                  </a:cubicBezTo>
                  <a:lnTo>
                    <a:pt x="15442" y="11577"/>
                  </a:lnTo>
                  <a:cubicBezTo>
                    <a:pt x="15442" y="11577"/>
                    <a:pt x="15442" y="11697"/>
                    <a:pt x="15322" y="11697"/>
                  </a:cubicBezTo>
                  <a:cubicBezTo>
                    <a:pt x="15201" y="11697"/>
                    <a:pt x="15322" y="11697"/>
                    <a:pt x="15322" y="11783"/>
                  </a:cubicBezTo>
                  <a:lnTo>
                    <a:pt x="15322" y="11783"/>
                  </a:lnTo>
                  <a:cubicBezTo>
                    <a:pt x="15218" y="11783"/>
                    <a:pt x="15322" y="11955"/>
                    <a:pt x="15150" y="12006"/>
                  </a:cubicBezTo>
                  <a:cubicBezTo>
                    <a:pt x="14978" y="12058"/>
                    <a:pt x="15150" y="12127"/>
                    <a:pt x="15150" y="12006"/>
                  </a:cubicBezTo>
                  <a:cubicBezTo>
                    <a:pt x="15150" y="11886"/>
                    <a:pt x="14789" y="12161"/>
                    <a:pt x="15150" y="12144"/>
                  </a:cubicBezTo>
                  <a:cubicBezTo>
                    <a:pt x="15510" y="12127"/>
                    <a:pt x="14961" y="12298"/>
                    <a:pt x="15150" y="12247"/>
                  </a:cubicBezTo>
                  <a:cubicBezTo>
                    <a:pt x="15339" y="12195"/>
                    <a:pt x="14995" y="12419"/>
                    <a:pt x="14978" y="12247"/>
                  </a:cubicBezTo>
                  <a:cubicBezTo>
                    <a:pt x="14961" y="12075"/>
                    <a:pt x="14978" y="12333"/>
                    <a:pt x="14978" y="12350"/>
                  </a:cubicBezTo>
                  <a:cubicBezTo>
                    <a:pt x="14978" y="12367"/>
                    <a:pt x="15098" y="12350"/>
                    <a:pt x="15150" y="12350"/>
                  </a:cubicBezTo>
                  <a:cubicBezTo>
                    <a:pt x="15201" y="12350"/>
                    <a:pt x="14961" y="12350"/>
                    <a:pt x="14892" y="12505"/>
                  </a:cubicBezTo>
                  <a:cubicBezTo>
                    <a:pt x="15133" y="12505"/>
                    <a:pt x="15047" y="12505"/>
                    <a:pt x="14892" y="12608"/>
                  </a:cubicBezTo>
                  <a:cubicBezTo>
                    <a:pt x="14738" y="12711"/>
                    <a:pt x="14892" y="12608"/>
                    <a:pt x="14995" y="12608"/>
                  </a:cubicBezTo>
                  <a:cubicBezTo>
                    <a:pt x="15011" y="12682"/>
                    <a:pt x="14963" y="12755"/>
                    <a:pt x="14889" y="12770"/>
                  </a:cubicBezTo>
                  <a:cubicBezTo>
                    <a:pt x="14861" y="12776"/>
                    <a:pt x="14832" y="12773"/>
                    <a:pt x="14806" y="12762"/>
                  </a:cubicBezTo>
                  <a:cubicBezTo>
                    <a:pt x="14806" y="12762"/>
                    <a:pt x="14961" y="12848"/>
                    <a:pt x="14806" y="12917"/>
                  </a:cubicBezTo>
                  <a:cubicBezTo>
                    <a:pt x="14995" y="13020"/>
                    <a:pt x="14600" y="13157"/>
                    <a:pt x="14566" y="13089"/>
                  </a:cubicBezTo>
                  <a:cubicBezTo>
                    <a:pt x="14531" y="13020"/>
                    <a:pt x="14566" y="13363"/>
                    <a:pt x="14411" y="13312"/>
                  </a:cubicBezTo>
                  <a:cubicBezTo>
                    <a:pt x="14257" y="13260"/>
                    <a:pt x="14669" y="13312"/>
                    <a:pt x="14531" y="13415"/>
                  </a:cubicBezTo>
                  <a:cubicBezTo>
                    <a:pt x="14394" y="13518"/>
                    <a:pt x="14531" y="13415"/>
                    <a:pt x="14531" y="13501"/>
                  </a:cubicBezTo>
                  <a:cubicBezTo>
                    <a:pt x="14531" y="13587"/>
                    <a:pt x="14531" y="13501"/>
                    <a:pt x="14531" y="13621"/>
                  </a:cubicBezTo>
                  <a:lnTo>
                    <a:pt x="14634" y="13621"/>
                  </a:lnTo>
                  <a:cubicBezTo>
                    <a:pt x="14634" y="13707"/>
                    <a:pt x="14428" y="13879"/>
                    <a:pt x="14325" y="13844"/>
                  </a:cubicBezTo>
                  <a:cubicBezTo>
                    <a:pt x="14222" y="13810"/>
                    <a:pt x="14480" y="13844"/>
                    <a:pt x="14549" y="13844"/>
                  </a:cubicBezTo>
                  <a:cubicBezTo>
                    <a:pt x="14325" y="14050"/>
                    <a:pt x="14549" y="13844"/>
                    <a:pt x="14549" y="13844"/>
                  </a:cubicBezTo>
                  <a:cubicBezTo>
                    <a:pt x="14549" y="13844"/>
                    <a:pt x="14549" y="13844"/>
                    <a:pt x="14394" y="13999"/>
                  </a:cubicBezTo>
                  <a:cubicBezTo>
                    <a:pt x="14394" y="13999"/>
                    <a:pt x="14686" y="13810"/>
                    <a:pt x="14549" y="13999"/>
                  </a:cubicBezTo>
                  <a:lnTo>
                    <a:pt x="14549" y="13999"/>
                  </a:lnTo>
                  <a:cubicBezTo>
                    <a:pt x="14549" y="13999"/>
                    <a:pt x="14463" y="14102"/>
                    <a:pt x="14446" y="14153"/>
                  </a:cubicBezTo>
                  <a:cubicBezTo>
                    <a:pt x="14428" y="14205"/>
                    <a:pt x="14755" y="14153"/>
                    <a:pt x="14549" y="14153"/>
                  </a:cubicBezTo>
                  <a:cubicBezTo>
                    <a:pt x="14806" y="14342"/>
                    <a:pt x="14205" y="14239"/>
                    <a:pt x="14119" y="14360"/>
                  </a:cubicBezTo>
                  <a:cubicBezTo>
                    <a:pt x="14566" y="14360"/>
                    <a:pt x="13982" y="14360"/>
                    <a:pt x="13896" y="14497"/>
                  </a:cubicBezTo>
                  <a:cubicBezTo>
                    <a:pt x="13870" y="14437"/>
                    <a:pt x="13870" y="14368"/>
                    <a:pt x="13896" y="14308"/>
                  </a:cubicBezTo>
                  <a:cubicBezTo>
                    <a:pt x="13896" y="14445"/>
                    <a:pt x="13896" y="14531"/>
                    <a:pt x="13793" y="14634"/>
                  </a:cubicBezTo>
                  <a:cubicBezTo>
                    <a:pt x="13982" y="14634"/>
                    <a:pt x="14188" y="14342"/>
                    <a:pt x="14428" y="14411"/>
                  </a:cubicBezTo>
                  <a:cubicBezTo>
                    <a:pt x="14308" y="14257"/>
                    <a:pt x="14806" y="14411"/>
                    <a:pt x="14428" y="14617"/>
                  </a:cubicBezTo>
                  <a:cubicBezTo>
                    <a:pt x="14428" y="14617"/>
                    <a:pt x="14428" y="14617"/>
                    <a:pt x="14428" y="14617"/>
                  </a:cubicBezTo>
                  <a:cubicBezTo>
                    <a:pt x="14428" y="14617"/>
                    <a:pt x="14703" y="14463"/>
                    <a:pt x="14566" y="14617"/>
                  </a:cubicBezTo>
                  <a:cubicBezTo>
                    <a:pt x="14428" y="14772"/>
                    <a:pt x="14669" y="14617"/>
                    <a:pt x="14652" y="14617"/>
                  </a:cubicBezTo>
                  <a:cubicBezTo>
                    <a:pt x="14634" y="14617"/>
                    <a:pt x="14652" y="14789"/>
                    <a:pt x="14497" y="14772"/>
                  </a:cubicBezTo>
                  <a:cubicBezTo>
                    <a:pt x="14600" y="14772"/>
                    <a:pt x="14360" y="14995"/>
                    <a:pt x="14360" y="14875"/>
                  </a:cubicBezTo>
                  <a:cubicBezTo>
                    <a:pt x="14360" y="14755"/>
                    <a:pt x="14549" y="15047"/>
                    <a:pt x="14360" y="15012"/>
                  </a:cubicBezTo>
                  <a:cubicBezTo>
                    <a:pt x="14583" y="15115"/>
                    <a:pt x="13879" y="15407"/>
                    <a:pt x="13844" y="15287"/>
                  </a:cubicBezTo>
                  <a:cubicBezTo>
                    <a:pt x="13810" y="15167"/>
                    <a:pt x="13724" y="15287"/>
                    <a:pt x="13844" y="15287"/>
                  </a:cubicBezTo>
                  <a:cubicBezTo>
                    <a:pt x="13381" y="15682"/>
                    <a:pt x="13003" y="15734"/>
                    <a:pt x="12590" y="15407"/>
                  </a:cubicBezTo>
                  <a:cubicBezTo>
                    <a:pt x="12590" y="15407"/>
                    <a:pt x="12213" y="15407"/>
                    <a:pt x="12247" y="15253"/>
                  </a:cubicBezTo>
                  <a:cubicBezTo>
                    <a:pt x="11629" y="15631"/>
                    <a:pt x="11062" y="16026"/>
                    <a:pt x="10426" y="16369"/>
                  </a:cubicBezTo>
                  <a:cubicBezTo>
                    <a:pt x="10849" y="16193"/>
                    <a:pt x="11326" y="16193"/>
                    <a:pt x="11749" y="16369"/>
                  </a:cubicBezTo>
                  <a:cubicBezTo>
                    <a:pt x="11704" y="16429"/>
                    <a:pt x="11645" y="16477"/>
                    <a:pt x="11577" y="16507"/>
                  </a:cubicBezTo>
                  <a:cubicBezTo>
                    <a:pt x="11749" y="16507"/>
                    <a:pt x="11354" y="16885"/>
                    <a:pt x="11577" y="16936"/>
                  </a:cubicBezTo>
                  <a:cubicBezTo>
                    <a:pt x="11405" y="17022"/>
                    <a:pt x="11732" y="17262"/>
                    <a:pt x="11835" y="17125"/>
                  </a:cubicBezTo>
                  <a:cubicBezTo>
                    <a:pt x="11835" y="17125"/>
                    <a:pt x="11972" y="17262"/>
                    <a:pt x="11835" y="17245"/>
                  </a:cubicBezTo>
                  <a:cubicBezTo>
                    <a:pt x="12075" y="17245"/>
                    <a:pt x="11182" y="17520"/>
                    <a:pt x="11251" y="17365"/>
                  </a:cubicBezTo>
                  <a:cubicBezTo>
                    <a:pt x="11101" y="17505"/>
                    <a:pt x="10940" y="17631"/>
                    <a:pt x="10770" y="17743"/>
                  </a:cubicBezTo>
                  <a:lnTo>
                    <a:pt x="10770" y="17743"/>
                  </a:lnTo>
                  <a:cubicBezTo>
                    <a:pt x="10667" y="17743"/>
                    <a:pt x="10770" y="17589"/>
                    <a:pt x="10770" y="17640"/>
                  </a:cubicBezTo>
                  <a:cubicBezTo>
                    <a:pt x="10770" y="17417"/>
                    <a:pt x="11371" y="16988"/>
                    <a:pt x="11371" y="17280"/>
                  </a:cubicBezTo>
                  <a:cubicBezTo>
                    <a:pt x="11371" y="17177"/>
                    <a:pt x="11491" y="17280"/>
                    <a:pt x="11543" y="17194"/>
                  </a:cubicBezTo>
                  <a:cubicBezTo>
                    <a:pt x="11233" y="17073"/>
                    <a:pt x="11233" y="17194"/>
                    <a:pt x="11543" y="16970"/>
                  </a:cubicBezTo>
                  <a:lnTo>
                    <a:pt x="11543" y="16970"/>
                  </a:lnTo>
                  <a:lnTo>
                    <a:pt x="11543" y="16970"/>
                  </a:lnTo>
                  <a:cubicBezTo>
                    <a:pt x="11543" y="17073"/>
                    <a:pt x="11045" y="17245"/>
                    <a:pt x="11233" y="16970"/>
                  </a:cubicBezTo>
                  <a:cubicBezTo>
                    <a:pt x="11096" y="17125"/>
                    <a:pt x="11045" y="17073"/>
                    <a:pt x="10924" y="16970"/>
                  </a:cubicBezTo>
                  <a:cubicBezTo>
                    <a:pt x="10804" y="16867"/>
                    <a:pt x="10924" y="17091"/>
                    <a:pt x="10924" y="17159"/>
                  </a:cubicBezTo>
                  <a:cubicBezTo>
                    <a:pt x="10924" y="17228"/>
                    <a:pt x="10924" y="17331"/>
                    <a:pt x="10924" y="17159"/>
                  </a:cubicBezTo>
                  <a:cubicBezTo>
                    <a:pt x="10924" y="16988"/>
                    <a:pt x="10598" y="17314"/>
                    <a:pt x="10667" y="17159"/>
                  </a:cubicBezTo>
                  <a:cubicBezTo>
                    <a:pt x="10735" y="17005"/>
                    <a:pt x="10478" y="17245"/>
                    <a:pt x="10667" y="17159"/>
                  </a:cubicBezTo>
                  <a:cubicBezTo>
                    <a:pt x="10856" y="17073"/>
                    <a:pt x="10546" y="17297"/>
                    <a:pt x="10478" y="17331"/>
                  </a:cubicBezTo>
                  <a:lnTo>
                    <a:pt x="10478" y="17331"/>
                  </a:lnTo>
                  <a:cubicBezTo>
                    <a:pt x="10478" y="17331"/>
                    <a:pt x="10478" y="17417"/>
                    <a:pt x="10478" y="17331"/>
                  </a:cubicBezTo>
                  <a:cubicBezTo>
                    <a:pt x="10478" y="17245"/>
                    <a:pt x="10357" y="17469"/>
                    <a:pt x="10478" y="17331"/>
                  </a:cubicBezTo>
                  <a:cubicBezTo>
                    <a:pt x="10254" y="17331"/>
                    <a:pt x="9722" y="18345"/>
                    <a:pt x="10083" y="18001"/>
                  </a:cubicBezTo>
                  <a:cubicBezTo>
                    <a:pt x="10083" y="18138"/>
                    <a:pt x="9842" y="18327"/>
                    <a:pt x="9911" y="18087"/>
                  </a:cubicBezTo>
                  <a:cubicBezTo>
                    <a:pt x="9773" y="18259"/>
                    <a:pt x="9791" y="18241"/>
                    <a:pt x="9808" y="18087"/>
                  </a:cubicBezTo>
                  <a:cubicBezTo>
                    <a:pt x="9360" y="18252"/>
                    <a:pt x="8984" y="18568"/>
                    <a:pt x="8743" y="18980"/>
                  </a:cubicBezTo>
                  <a:lnTo>
                    <a:pt x="8743" y="18980"/>
                  </a:lnTo>
                  <a:lnTo>
                    <a:pt x="8743" y="18980"/>
                  </a:lnTo>
                  <a:cubicBezTo>
                    <a:pt x="8743" y="18980"/>
                    <a:pt x="8743" y="18825"/>
                    <a:pt x="8743" y="18740"/>
                  </a:cubicBezTo>
                  <a:cubicBezTo>
                    <a:pt x="8605" y="18980"/>
                    <a:pt x="8588" y="19289"/>
                    <a:pt x="8365" y="19495"/>
                  </a:cubicBezTo>
                  <a:lnTo>
                    <a:pt x="8365" y="19495"/>
                  </a:lnTo>
                  <a:lnTo>
                    <a:pt x="8262" y="19650"/>
                  </a:lnTo>
                  <a:cubicBezTo>
                    <a:pt x="8298" y="19536"/>
                    <a:pt x="8356" y="19431"/>
                    <a:pt x="8434" y="19341"/>
                  </a:cubicBezTo>
                  <a:cubicBezTo>
                    <a:pt x="8434" y="19341"/>
                    <a:pt x="8434" y="19255"/>
                    <a:pt x="8434" y="19221"/>
                  </a:cubicBezTo>
                  <a:lnTo>
                    <a:pt x="8434" y="19221"/>
                  </a:lnTo>
                  <a:cubicBezTo>
                    <a:pt x="8434" y="19014"/>
                    <a:pt x="8605" y="18860"/>
                    <a:pt x="8674" y="18671"/>
                  </a:cubicBezTo>
                  <a:cubicBezTo>
                    <a:pt x="8545" y="18838"/>
                    <a:pt x="8441" y="19023"/>
                    <a:pt x="8365" y="19221"/>
                  </a:cubicBezTo>
                  <a:cubicBezTo>
                    <a:pt x="8365" y="19117"/>
                    <a:pt x="8365" y="19032"/>
                    <a:pt x="8365" y="18929"/>
                  </a:cubicBezTo>
                  <a:cubicBezTo>
                    <a:pt x="8365" y="18825"/>
                    <a:pt x="8365" y="19581"/>
                    <a:pt x="8365" y="19324"/>
                  </a:cubicBezTo>
                  <a:cubicBezTo>
                    <a:pt x="8365" y="19324"/>
                    <a:pt x="8365" y="19598"/>
                    <a:pt x="8365" y="19530"/>
                  </a:cubicBezTo>
                  <a:cubicBezTo>
                    <a:pt x="8365" y="19461"/>
                    <a:pt x="8365" y="19616"/>
                    <a:pt x="8365" y="19650"/>
                  </a:cubicBezTo>
                  <a:cubicBezTo>
                    <a:pt x="8374" y="19605"/>
                    <a:pt x="8374" y="19558"/>
                    <a:pt x="8365" y="19513"/>
                  </a:cubicBezTo>
                  <a:cubicBezTo>
                    <a:pt x="8365" y="19650"/>
                    <a:pt x="8502" y="19719"/>
                    <a:pt x="8365" y="19856"/>
                  </a:cubicBezTo>
                  <a:lnTo>
                    <a:pt x="8365" y="19856"/>
                  </a:lnTo>
                  <a:cubicBezTo>
                    <a:pt x="8365" y="19993"/>
                    <a:pt x="8176" y="20148"/>
                    <a:pt x="8210" y="19976"/>
                  </a:cubicBezTo>
                  <a:cubicBezTo>
                    <a:pt x="8245" y="19805"/>
                    <a:pt x="8210" y="20079"/>
                    <a:pt x="8210" y="20097"/>
                  </a:cubicBezTo>
                  <a:cubicBezTo>
                    <a:pt x="8210" y="20114"/>
                    <a:pt x="8296" y="20097"/>
                    <a:pt x="8313" y="20234"/>
                  </a:cubicBezTo>
                  <a:cubicBezTo>
                    <a:pt x="8304" y="20200"/>
                    <a:pt x="8304" y="20165"/>
                    <a:pt x="8313" y="20131"/>
                  </a:cubicBezTo>
                  <a:cubicBezTo>
                    <a:pt x="8313" y="20234"/>
                    <a:pt x="8313" y="20285"/>
                    <a:pt x="8176" y="20354"/>
                  </a:cubicBezTo>
                  <a:cubicBezTo>
                    <a:pt x="8039" y="20423"/>
                    <a:pt x="8176" y="20354"/>
                    <a:pt x="8176" y="20251"/>
                  </a:cubicBezTo>
                  <a:cubicBezTo>
                    <a:pt x="8176" y="20148"/>
                    <a:pt x="8176" y="20251"/>
                    <a:pt x="8176" y="20251"/>
                  </a:cubicBezTo>
                  <a:cubicBezTo>
                    <a:pt x="8176" y="20251"/>
                    <a:pt x="8176" y="20474"/>
                    <a:pt x="8176" y="20389"/>
                  </a:cubicBezTo>
                  <a:lnTo>
                    <a:pt x="8176" y="20389"/>
                  </a:lnTo>
                  <a:lnTo>
                    <a:pt x="8176" y="20389"/>
                  </a:lnTo>
                  <a:lnTo>
                    <a:pt x="8176" y="20389"/>
                  </a:lnTo>
                  <a:cubicBezTo>
                    <a:pt x="6991" y="20389"/>
                    <a:pt x="6458" y="24992"/>
                    <a:pt x="6579" y="22982"/>
                  </a:cubicBezTo>
                  <a:cubicBezTo>
                    <a:pt x="6579" y="22982"/>
                    <a:pt x="6579" y="22982"/>
                    <a:pt x="6579" y="22982"/>
                  </a:cubicBezTo>
                  <a:cubicBezTo>
                    <a:pt x="6579" y="22982"/>
                    <a:pt x="6579" y="22982"/>
                    <a:pt x="6579" y="22982"/>
                  </a:cubicBezTo>
                  <a:lnTo>
                    <a:pt x="6579" y="22982"/>
                  </a:lnTo>
                  <a:cubicBezTo>
                    <a:pt x="6579" y="22879"/>
                    <a:pt x="6579" y="22707"/>
                    <a:pt x="6579" y="22604"/>
                  </a:cubicBezTo>
                  <a:cubicBezTo>
                    <a:pt x="6579" y="22501"/>
                    <a:pt x="6579" y="22604"/>
                    <a:pt x="6579" y="22707"/>
                  </a:cubicBezTo>
                  <a:cubicBezTo>
                    <a:pt x="6579" y="22810"/>
                    <a:pt x="6853" y="21780"/>
                    <a:pt x="6579" y="21745"/>
                  </a:cubicBezTo>
                  <a:cubicBezTo>
                    <a:pt x="6304" y="21711"/>
                    <a:pt x="6476" y="21849"/>
                    <a:pt x="6579" y="21745"/>
                  </a:cubicBezTo>
                  <a:lnTo>
                    <a:pt x="6579" y="21745"/>
                  </a:lnTo>
                  <a:lnTo>
                    <a:pt x="6579" y="21745"/>
                  </a:lnTo>
                  <a:cubicBezTo>
                    <a:pt x="6579" y="21745"/>
                    <a:pt x="6579" y="21574"/>
                    <a:pt x="6579" y="21642"/>
                  </a:cubicBezTo>
                  <a:cubicBezTo>
                    <a:pt x="6587" y="21603"/>
                    <a:pt x="6587" y="21562"/>
                    <a:pt x="6579" y="21522"/>
                  </a:cubicBezTo>
                  <a:lnTo>
                    <a:pt x="6579" y="21522"/>
                  </a:lnTo>
                  <a:cubicBezTo>
                    <a:pt x="6579" y="21522"/>
                    <a:pt x="6579" y="21436"/>
                    <a:pt x="6579" y="21385"/>
                  </a:cubicBezTo>
                  <a:lnTo>
                    <a:pt x="6579" y="21385"/>
                  </a:lnTo>
                  <a:cubicBezTo>
                    <a:pt x="6579" y="21385"/>
                    <a:pt x="6579" y="21385"/>
                    <a:pt x="6579" y="21385"/>
                  </a:cubicBezTo>
                  <a:cubicBezTo>
                    <a:pt x="6579" y="21385"/>
                    <a:pt x="6579" y="21385"/>
                    <a:pt x="6579" y="21385"/>
                  </a:cubicBezTo>
                  <a:cubicBezTo>
                    <a:pt x="6579" y="21385"/>
                    <a:pt x="6579" y="21282"/>
                    <a:pt x="6579" y="21230"/>
                  </a:cubicBezTo>
                  <a:lnTo>
                    <a:pt x="6579" y="21333"/>
                  </a:lnTo>
                  <a:cubicBezTo>
                    <a:pt x="6579" y="21230"/>
                    <a:pt x="6390" y="21333"/>
                    <a:pt x="6373" y="21453"/>
                  </a:cubicBezTo>
                  <a:lnTo>
                    <a:pt x="6373" y="21453"/>
                  </a:lnTo>
                  <a:cubicBezTo>
                    <a:pt x="6373" y="21642"/>
                    <a:pt x="6373" y="21763"/>
                    <a:pt x="6373" y="21849"/>
                  </a:cubicBezTo>
                  <a:cubicBezTo>
                    <a:pt x="6373" y="21934"/>
                    <a:pt x="6373" y="21471"/>
                    <a:pt x="6373" y="21763"/>
                  </a:cubicBezTo>
                  <a:lnTo>
                    <a:pt x="6373" y="21660"/>
                  </a:lnTo>
                  <a:cubicBezTo>
                    <a:pt x="6373" y="21539"/>
                    <a:pt x="6373" y="21471"/>
                    <a:pt x="6373" y="21350"/>
                  </a:cubicBezTo>
                  <a:cubicBezTo>
                    <a:pt x="6373" y="21230"/>
                    <a:pt x="6373" y="21350"/>
                    <a:pt x="6373" y="21350"/>
                  </a:cubicBezTo>
                  <a:cubicBezTo>
                    <a:pt x="6373" y="21591"/>
                    <a:pt x="6373" y="21076"/>
                    <a:pt x="6184" y="21350"/>
                  </a:cubicBezTo>
                  <a:cubicBezTo>
                    <a:pt x="6184" y="21350"/>
                    <a:pt x="6184" y="21196"/>
                    <a:pt x="6184" y="21127"/>
                  </a:cubicBezTo>
                  <a:cubicBezTo>
                    <a:pt x="6184" y="21058"/>
                    <a:pt x="6184" y="21247"/>
                    <a:pt x="6184" y="21127"/>
                  </a:cubicBezTo>
                  <a:cubicBezTo>
                    <a:pt x="6193" y="21213"/>
                    <a:pt x="6193" y="21299"/>
                    <a:pt x="6184" y="21385"/>
                  </a:cubicBezTo>
                  <a:lnTo>
                    <a:pt x="6184" y="21385"/>
                  </a:lnTo>
                  <a:lnTo>
                    <a:pt x="6184" y="21505"/>
                  </a:lnTo>
                  <a:lnTo>
                    <a:pt x="6184" y="21505"/>
                  </a:lnTo>
                  <a:cubicBezTo>
                    <a:pt x="6184" y="21591"/>
                    <a:pt x="6184" y="21505"/>
                    <a:pt x="6184" y="21505"/>
                  </a:cubicBezTo>
                  <a:lnTo>
                    <a:pt x="6184" y="21505"/>
                  </a:lnTo>
                  <a:cubicBezTo>
                    <a:pt x="6184" y="21505"/>
                    <a:pt x="6184" y="21505"/>
                    <a:pt x="6184" y="21505"/>
                  </a:cubicBezTo>
                  <a:lnTo>
                    <a:pt x="6184" y="21505"/>
                  </a:lnTo>
                  <a:cubicBezTo>
                    <a:pt x="6184" y="21505"/>
                    <a:pt x="6184" y="21608"/>
                    <a:pt x="6184" y="21608"/>
                  </a:cubicBezTo>
                  <a:lnTo>
                    <a:pt x="6184" y="21608"/>
                  </a:lnTo>
                  <a:cubicBezTo>
                    <a:pt x="6085" y="21918"/>
                    <a:pt x="6005" y="22233"/>
                    <a:pt x="5943" y="22553"/>
                  </a:cubicBezTo>
                  <a:cubicBezTo>
                    <a:pt x="5943" y="22553"/>
                    <a:pt x="5943" y="22433"/>
                    <a:pt x="5943" y="22398"/>
                  </a:cubicBezTo>
                  <a:cubicBezTo>
                    <a:pt x="5943" y="22364"/>
                    <a:pt x="5840" y="22862"/>
                    <a:pt x="5943" y="22621"/>
                  </a:cubicBezTo>
                  <a:cubicBezTo>
                    <a:pt x="5838" y="23115"/>
                    <a:pt x="5758" y="23614"/>
                    <a:pt x="5703" y="24116"/>
                  </a:cubicBezTo>
                  <a:cubicBezTo>
                    <a:pt x="5668" y="24579"/>
                    <a:pt x="5668" y="25044"/>
                    <a:pt x="5703" y="25507"/>
                  </a:cubicBezTo>
                  <a:cubicBezTo>
                    <a:pt x="5703" y="25507"/>
                    <a:pt x="5703" y="25507"/>
                    <a:pt x="5703" y="25507"/>
                  </a:cubicBezTo>
                  <a:cubicBezTo>
                    <a:pt x="5709" y="25479"/>
                    <a:pt x="5709" y="25449"/>
                    <a:pt x="5703" y="25421"/>
                  </a:cubicBezTo>
                  <a:lnTo>
                    <a:pt x="5703" y="25421"/>
                  </a:lnTo>
                  <a:cubicBezTo>
                    <a:pt x="5703" y="25421"/>
                    <a:pt x="5703" y="25421"/>
                    <a:pt x="5703" y="25421"/>
                  </a:cubicBezTo>
                  <a:lnTo>
                    <a:pt x="5703" y="25421"/>
                  </a:lnTo>
                  <a:cubicBezTo>
                    <a:pt x="5703" y="25421"/>
                    <a:pt x="5703" y="25559"/>
                    <a:pt x="5703" y="25627"/>
                  </a:cubicBezTo>
                  <a:lnTo>
                    <a:pt x="5703" y="25627"/>
                  </a:lnTo>
                  <a:lnTo>
                    <a:pt x="5703" y="25627"/>
                  </a:lnTo>
                  <a:cubicBezTo>
                    <a:pt x="5711" y="25553"/>
                    <a:pt x="5711" y="25478"/>
                    <a:pt x="5703" y="25404"/>
                  </a:cubicBezTo>
                  <a:lnTo>
                    <a:pt x="5703" y="25404"/>
                  </a:lnTo>
                  <a:cubicBezTo>
                    <a:pt x="5857" y="25249"/>
                    <a:pt x="5703" y="24511"/>
                    <a:pt x="5995" y="24665"/>
                  </a:cubicBezTo>
                  <a:cubicBezTo>
                    <a:pt x="5995" y="24665"/>
                    <a:pt x="5995" y="24562"/>
                    <a:pt x="5995" y="24665"/>
                  </a:cubicBezTo>
                  <a:cubicBezTo>
                    <a:pt x="5995" y="24769"/>
                    <a:pt x="5995" y="24665"/>
                    <a:pt x="5995" y="24665"/>
                  </a:cubicBezTo>
                  <a:cubicBezTo>
                    <a:pt x="5995" y="24665"/>
                    <a:pt x="5995" y="24820"/>
                    <a:pt x="5995" y="24665"/>
                  </a:cubicBezTo>
                  <a:cubicBezTo>
                    <a:pt x="6098" y="24957"/>
                    <a:pt x="5806" y="25284"/>
                    <a:pt x="5857" y="25593"/>
                  </a:cubicBezTo>
                  <a:cubicBezTo>
                    <a:pt x="5857" y="25593"/>
                    <a:pt x="5857" y="25868"/>
                    <a:pt x="5857" y="25919"/>
                  </a:cubicBezTo>
                  <a:cubicBezTo>
                    <a:pt x="5814" y="26294"/>
                    <a:pt x="5476" y="26563"/>
                    <a:pt x="5101" y="26521"/>
                  </a:cubicBezTo>
                  <a:cubicBezTo>
                    <a:pt x="4727" y="26478"/>
                    <a:pt x="4457" y="26140"/>
                    <a:pt x="4500" y="25765"/>
                  </a:cubicBezTo>
                  <a:cubicBezTo>
                    <a:pt x="4500" y="25954"/>
                    <a:pt x="4500" y="26349"/>
                    <a:pt x="4397" y="26658"/>
                  </a:cubicBezTo>
                  <a:lnTo>
                    <a:pt x="4397" y="26658"/>
                  </a:lnTo>
                  <a:cubicBezTo>
                    <a:pt x="4380" y="26726"/>
                    <a:pt x="4380" y="26796"/>
                    <a:pt x="4397" y="26864"/>
                  </a:cubicBezTo>
                  <a:lnTo>
                    <a:pt x="4397" y="26864"/>
                  </a:lnTo>
                  <a:cubicBezTo>
                    <a:pt x="4397" y="26864"/>
                    <a:pt x="4397" y="26864"/>
                    <a:pt x="4397" y="26950"/>
                  </a:cubicBezTo>
                  <a:cubicBezTo>
                    <a:pt x="4397" y="27036"/>
                    <a:pt x="4603" y="27139"/>
                    <a:pt x="4586" y="26950"/>
                  </a:cubicBezTo>
                  <a:cubicBezTo>
                    <a:pt x="4586" y="27053"/>
                    <a:pt x="4586" y="27105"/>
                    <a:pt x="4724" y="27190"/>
                  </a:cubicBezTo>
                  <a:lnTo>
                    <a:pt x="4724" y="27190"/>
                  </a:lnTo>
                  <a:cubicBezTo>
                    <a:pt x="4738" y="27241"/>
                    <a:pt x="4738" y="27295"/>
                    <a:pt x="4724" y="27345"/>
                  </a:cubicBezTo>
                  <a:cubicBezTo>
                    <a:pt x="4724" y="27208"/>
                    <a:pt x="4724" y="27345"/>
                    <a:pt x="4724" y="27448"/>
                  </a:cubicBezTo>
                  <a:lnTo>
                    <a:pt x="4724" y="27448"/>
                  </a:lnTo>
                  <a:cubicBezTo>
                    <a:pt x="4767" y="27681"/>
                    <a:pt x="4767" y="27920"/>
                    <a:pt x="4724" y="28152"/>
                  </a:cubicBezTo>
                  <a:lnTo>
                    <a:pt x="4724" y="28152"/>
                  </a:lnTo>
                  <a:cubicBezTo>
                    <a:pt x="4732" y="28307"/>
                    <a:pt x="4732" y="28462"/>
                    <a:pt x="4724" y="28616"/>
                  </a:cubicBezTo>
                  <a:cubicBezTo>
                    <a:pt x="4724" y="28616"/>
                    <a:pt x="4724" y="28513"/>
                    <a:pt x="4724" y="28444"/>
                  </a:cubicBezTo>
                  <a:cubicBezTo>
                    <a:pt x="4715" y="28564"/>
                    <a:pt x="4715" y="28685"/>
                    <a:pt x="4724" y="28805"/>
                  </a:cubicBezTo>
                  <a:cubicBezTo>
                    <a:pt x="4734" y="28777"/>
                    <a:pt x="4734" y="28747"/>
                    <a:pt x="4724" y="28719"/>
                  </a:cubicBezTo>
                  <a:cubicBezTo>
                    <a:pt x="4697" y="28861"/>
                    <a:pt x="4697" y="29007"/>
                    <a:pt x="4724" y="29149"/>
                  </a:cubicBezTo>
                  <a:cubicBezTo>
                    <a:pt x="4724" y="29063"/>
                    <a:pt x="4947" y="30042"/>
                    <a:pt x="4930" y="29733"/>
                  </a:cubicBezTo>
                  <a:cubicBezTo>
                    <a:pt x="5136" y="30265"/>
                    <a:pt x="5170" y="29131"/>
                    <a:pt x="5634" y="30471"/>
                  </a:cubicBezTo>
                  <a:cubicBezTo>
                    <a:pt x="5634" y="30368"/>
                    <a:pt x="5634" y="29337"/>
                    <a:pt x="5960" y="29595"/>
                  </a:cubicBezTo>
                  <a:cubicBezTo>
                    <a:pt x="5960" y="29818"/>
                    <a:pt x="5960" y="29595"/>
                    <a:pt x="5960" y="29475"/>
                  </a:cubicBezTo>
                  <a:cubicBezTo>
                    <a:pt x="5960" y="29355"/>
                    <a:pt x="6252" y="29303"/>
                    <a:pt x="6355" y="29234"/>
                  </a:cubicBezTo>
                  <a:cubicBezTo>
                    <a:pt x="6476" y="29458"/>
                    <a:pt x="6355" y="29836"/>
                    <a:pt x="6355" y="30145"/>
                  </a:cubicBezTo>
                  <a:cubicBezTo>
                    <a:pt x="6630" y="30901"/>
                    <a:pt x="6355" y="29681"/>
                    <a:pt x="6665" y="29664"/>
                  </a:cubicBezTo>
                  <a:cubicBezTo>
                    <a:pt x="6974" y="29647"/>
                    <a:pt x="6527" y="29544"/>
                    <a:pt x="6665" y="29441"/>
                  </a:cubicBezTo>
                  <a:cubicBezTo>
                    <a:pt x="6802" y="29337"/>
                    <a:pt x="6665" y="29664"/>
                    <a:pt x="6785" y="29733"/>
                  </a:cubicBezTo>
                  <a:cubicBezTo>
                    <a:pt x="6933" y="29741"/>
                    <a:pt x="7051" y="29859"/>
                    <a:pt x="7060" y="30007"/>
                  </a:cubicBezTo>
                  <a:cubicBezTo>
                    <a:pt x="6939" y="30213"/>
                    <a:pt x="7352" y="30145"/>
                    <a:pt x="7472" y="30196"/>
                  </a:cubicBezTo>
                  <a:cubicBezTo>
                    <a:pt x="7558" y="30660"/>
                    <a:pt x="8090" y="30042"/>
                    <a:pt x="8262" y="30402"/>
                  </a:cubicBezTo>
                  <a:cubicBezTo>
                    <a:pt x="8004" y="30402"/>
                    <a:pt x="8073" y="30402"/>
                    <a:pt x="8262" y="30643"/>
                  </a:cubicBezTo>
                  <a:cubicBezTo>
                    <a:pt x="8262" y="30471"/>
                    <a:pt x="8863" y="31107"/>
                    <a:pt x="8434" y="31107"/>
                  </a:cubicBezTo>
                  <a:cubicBezTo>
                    <a:pt x="8885" y="31152"/>
                    <a:pt x="9220" y="31547"/>
                    <a:pt x="9189" y="32000"/>
                  </a:cubicBezTo>
                  <a:cubicBezTo>
                    <a:pt x="9189" y="31673"/>
                    <a:pt x="9550" y="32154"/>
                    <a:pt x="9550" y="32309"/>
                  </a:cubicBezTo>
                  <a:cubicBezTo>
                    <a:pt x="9464" y="32103"/>
                    <a:pt x="10461" y="32309"/>
                    <a:pt x="10220" y="32532"/>
                  </a:cubicBezTo>
                  <a:cubicBezTo>
                    <a:pt x="10443" y="32361"/>
                    <a:pt x="10976" y="33030"/>
                    <a:pt x="10856" y="33151"/>
                  </a:cubicBezTo>
                  <a:cubicBezTo>
                    <a:pt x="11010" y="32893"/>
                    <a:pt x="11130" y="33735"/>
                    <a:pt x="11302" y="33924"/>
                  </a:cubicBezTo>
                  <a:cubicBezTo>
                    <a:pt x="11474" y="34113"/>
                    <a:pt x="10976" y="34559"/>
                    <a:pt x="11045" y="34868"/>
                  </a:cubicBezTo>
                  <a:cubicBezTo>
                    <a:pt x="11045" y="34611"/>
                    <a:pt x="11233" y="34628"/>
                    <a:pt x="11148" y="34868"/>
                  </a:cubicBezTo>
                  <a:cubicBezTo>
                    <a:pt x="11148" y="34868"/>
                    <a:pt x="11268" y="34559"/>
                    <a:pt x="11337" y="34731"/>
                  </a:cubicBezTo>
                  <a:cubicBezTo>
                    <a:pt x="11405" y="34903"/>
                    <a:pt x="11337" y="34731"/>
                    <a:pt x="11337" y="34731"/>
                  </a:cubicBezTo>
                  <a:cubicBezTo>
                    <a:pt x="11337" y="34216"/>
                    <a:pt x="12401" y="35143"/>
                    <a:pt x="11337" y="35092"/>
                  </a:cubicBezTo>
                  <a:cubicBezTo>
                    <a:pt x="11749" y="35092"/>
                    <a:pt x="11543" y="35315"/>
                    <a:pt x="11680" y="35624"/>
                  </a:cubicBezTo>
                  <a:cubicBezTo>
                    <a:pt x="11543" y="35074"/>
                    <a:pt x="12075" y="34576"/>
                    <a:pt x="12419" y="35074"/>
                  </a:cubicBezTo>
                  <a:cubicBezTo>
                    <a:pt x="12419" y="35074"/>
                    <a:pt x="12608" y="35177"/>
                    <a:pt x="12642" y="35263"/>
                  </a:cubicBezTo>
                  <a:cubicBezTo>
                    <a:pt x="12676" y="35349"/>
                    <a:pt x="12986" y="35366"/>
                    <a:pt x="12882" y="35469"/>
                  </a:cubicBezTo>
                  <a:cubicBezTo>
                    <a:pt x="12779" y="35573"/>
                    <a:pt x="12882" y="35727"/>
                    <a:pt x="12968" y="35830"/>
                  </a:cubicBezTo>
                  <a:cubicBezTo>
                    <a:pt x="13054" y="35933"/>
                    <a:pt x="12968" y="35487"/>
                    <a:pt x="12968" y="35710"/>
                  </a:cubicBezTo>
                  <a:cubicBezTo>
                    <a:pt x="12968" y="35555"/>
                    <a:pt x="13106" y="35607"/>
                    <a:pt x="12968" y="35504"/>
                  </a:cubicBezTo>
                  <a:cubicBezTo>
                    <a:pt x="12831" y="35401"/>
                    <a:pt x="13363" y="35761"/>
                    <a:pt x="13363" y="35641"/>
                  </a:cubicBezTo>
                  <a:cubicBezTo>
                    <a:pt x="13363" y="35521"/>
                    <a:pt x="13363" y="35641"/>
                    <a:pt x="13466" y="35744"/>
                  </a:cubicBezTo>
                  <a:cubicBezTo>
                    <a:pt x="13569" y="35847"/>
                    <a:pt x="13466" y="35744"/>
                    <a:pt x="13466" y="35744"/>
                  </a:cubicBezTo>
                  <a:lnTo>
                    <a:pt x="13466" y="35744"/>
                  </a:lnTo>
                  <a:lnTo>
                    <a:pt x="13466" y="35744"/>
                  </a:lnTo>
                  <a:cubicBezTo>
                    <a:pt x="14841" y="36157"/>
                    <a:pt x="16438" y="37462"/>
                    <a:pt x="14926" y="38922"/>
                  </a:cubicBezTo>
                  <a:cubicBezTo>
                    <a:pt x="14926" y="38836"/>
                    <a:pt x="14926" y="38682"/>
                    <a:pt x="14926" y="38819"/>
                  </a:cubicBezTo>
                  <a:cubicBezTo>
                    <a:pt x="14926" y="38956"/>
                    <a:pt x="14823" y="38819"/>
                    <a:pt x="14806" y="38819"/>
                  </a:cubicBezTo>
                  <a:lnTo>
                    <a:pt x="14806" y="38819"/>
                  </a:lnTo>
                  <a:cubicBezTo>
                    <a:pt x="15133" y="39386"/>
                    <a:pt x="15717" y="41619"/>
                    <a:pt x="14806" y="41447"/>
                  </a:cubicBezTo>
                  <a:cubicBezTo>
                    <a:pt x="14806" y="41447"/>
                    <a:pt x="14514" y="41447"/>
                    <a:pt x="14806" y="41447"/>
                  </a:cubicBezTo>
                  <a:cubicBezTo>
                    <a:pt x="15098" y="41447"/>
                    <a:pt x="14652" y="41447"/>
                    <a:pt x="14600" y="41447"/>
                  </a:cubicBezTo>
                  <a:cubicBezTo>
                    <a:pt x="14549" y="41447"/>
                    <a:pt x="14600" y="41533"/>
                    <a:pt x="14600" y="41687"/>
                  </a:cubicBezTo>
                  <a:cubicBezTo>
                    <a:pt x="14360" y="41498"/>
                    <a:pt x="14257" y="41997"/>
                    <a:pt x="14154" y="41962"/>
                  </a:cubicBezTo>
                  <a:cubicBezTo>
                    <a:pt x="14050" y="41928"/>
                    <a:pt x="14154" y="41962"/>
                    <a:pt x="14154" y="41962"/>
                  </a:cubicBezTo>
                  <a:cubicBezTo>
                    <a:pt x="14154" y="41962"/>
                    <a:pt x="14291" y="42048"/>
                    <a:pt x="14154" y="42048"/>
                  </a:cubicBezTo>
                  <a:cubicBezTo>
                    <a:pt x="14016" y="42048"/>
                    <a:pt x="14154" y="42048"/>
                    <a:pt x="14154" y="42048"/>
                  </a:cubicBezTo>
                  <a:cubicBezTo>
                    <a:pt x="14154" y="42048"/>
                    <a:pt x="14446" y="42426"/>
                    <a:pt x="14411" y="42529"/>
                  </a:cubicBezTo>
                  <a:cubicBezTo>
                    <a:pt x="14377" y="42632"/>
                    <a:pt x="14411" y="43697"/>
                    <a:pt x="14411" y="43336"/>
                  </a:cubicBezTo>
                  <a:cubicBezTo>
                    <a:pt x="14411" y="43336"/>
                    <a:pt x="14411" y="43336"/>
                    <a:pt x="14411" y="43250"/>
                  </a:cubicBezTo>
                  <a:cubicBezTo>
                    <a:pt x="14411" y="43165"/>
                    <a:pt x="14411" y="43113"/>
                    <a:pt x="14411" y="43113"/>
                  </a:cubicBezTo>
                  <a:cubicBezTo>
                    <a:pt x="14338" y="43042"/>
                    <a:pt x="14257" y="42979"/>
                    <a:pt x="14171" y="42924"/>
                  </a:cubicBezTo>
                  <a:cubicBezTo>
                    <a:pt x="14231" y="42979"/>
                    <a:pt x="14283" y="43043"/>
                    <a:pt x="14325" y="43113"/>
                  </a:cubicBezTo>
                  <a:cubicBezTo>
                    <a:pt x="14325" y="43113"/>
                    <a:pt x="14446" y="43354"/>
                    <a:pt x="14325" y="43250"/>
                  </a:cubicBezTo>
                  <a:cubicBezTo>
                    <a:pt x="14858" y="44041"/>
                    <a:pt x="14325" y="44264"/>
                    <a:pt x="13844" y="43817"/>
                  </a:cubicBezTo>
                  <a:lnTo>
                    <a:pt x="14549" y="44418"/>
                  </a:lnTo>
                  <a:lnTo>
                    <a:pt x="14549" y="44418"/>
                  </a:lnTo>
                  <a:cubicBezTo>
                    <a:pt x="14637" y="44494"/>
                    <a:pt x="14707" y="44587"/>
                    <a:pt x="14755" y="44693"/>
                  </a:cubicBezTo>
                  <a:lnTo>
                    <a:pt x="14755" y="44693"/>
                  </a:lnTo>
                  <a:cubicBezTo>
                    <a:pt x="14755" y="44693"/>
                    <a:pt x="14944" y="44951"/>
                    <a:pt x="14755" y="44882"/>
                  </a:cubicBezTo>
                  <a:cubicBezTo>
                    <a:pt x="14566" y="44814"/>
                    <a:pt x="14394" y="44882"/>
                    <a:pt x="14291" y="44882"/>
                  </a:cubicBezTo>
                  <a:cubicBezTo>
                    <a:pt x="14188" y="44882"/>
                    <a:pt x="14480" y="45037"/>
                    <a:pt x="14566" y="45123"/>
                  </a:cubicBezTo>
                  <a:lnTo>
                    <a:pt x="14566" y="45123"/>
                  </a:lnTo>
                  <a:cubicBezTo>
                    <a:pt x="14909" y="45466"/>
                    <a:pt x="14995" y="45569"/>
                    <a:pt x="14463" y="45294"/>
                  </a:cubicBezTo>
                  <a:cubicBezTo>
                    <a:pt x="14621" y="45462"/>
                    <a:pt x="14807" y="45602"/>
                    <a:pt x="15012" y="45707"/>
                  </a:cubicBezTo>
                  <a:cubicBezTo>
                    <a:pt x="15012" y="45707"/>
                    <a:pt x="15012" y="45707"/>
                    <a:pt x="15012" y="45707"/>
                  </a:cubicBezTo>
                  <a:lnTo>
                    <a:pt x="15012" y="45707"/>
                  </a:lnTo>
                  <a:cubicBezTo>
                    <a:pt x="15304" y="45930"/>
                    <a:pt x="15133" y="45947"/>
                    <a:pt x="15717" y="46359"/>
                  </a:cubicBezTo>
                  <a:lnTo>
                    <a:pt x="15717" y="46359"/>
                  </a:lnTo>
                  <a:lnTo>
                    <a:pt x="15717" y="46359"/>
                  </a:lnTo>
                  <a:lnTo>
                    <a:pt x="15717" y="46359"/>
                  </a:lnTo>
                  <a:cubicBezTo>
                    <a:pt x="15991" y="46669"/>
                    <a:pt x="16438" y="46737"/>
                    <a:pt x="16730" y="47012"/>
                  </a:cubicBezTo>
                  <a:lnTo>
                    <a:pt x="16730" y="47012"/>
                  </a:lnTo>
                  <a:lnTo>
                    <a:pt x="16730" y="47012"/>
                  </a:lnTo>
                  <a:lnTo>
                    <a:pt x="16730" y="47012"/>
                  </a:lnTo>
                  <a:lnTo>
                    <a:pt x="16885" y="47132"/>
                  </a:lnTo>
                  <a:lnTo>
                    <a:pt x="16885" y="47132"/>
                  </a:lnTo>
                  <a:lnTo>
                    <a:pt x="17091" y="47270"/>
                  </a:lnTo>
                  <a:cubicBezTo>
                    <a:pt x="17091" y="47270"/>
                    <a:pt x="17091" y="47270"/>
                    <a:pt x="16988" y="47270"/>
                  </a:cubicBezTo>
                  <a:cubicBezTo>
                    <a:pt x="17278" y="47454"/>
                    <a:pt x="17582" y="47614"/>
                    <a:pt x="17898" y="47751"/>
                  </a:cubicBezTo>
                  <a:lnTo>
                    <a:pt x="17898" y="47751"/>
                  </a:lnTo>
                  <a:cubicBezTo>
                    <a:pt x="17795" y="47751"/>
                    <a:pt x="17898" y="47751"/>
                    <a:pt x="17898" y="47751"/>
                  </a:cubicBezTo>
                  <a:lnTo>
                    <a:pt x="17898" y="47751"/>
                  </a:lnTo>
                  <a:cubicBezTo>
                    <a:pt x="18059" y="47847"/>
                    <a:pt x="18225" y="47933"/>
                    <a:pt x="18396" y="48008"/>
                  </a:cubicBezTo>
                  <a:lnTo>
                    <a:pt x="18173" y="48008"/>
                  </a:lnTo>
                  <a:close/>
                  <a:moveTo>
                    <a:pt x="20560" y="10117"/>
                  </a:moveTo>
                  <a:cubicBezTo>
                    <a:pt x="20286" y="10409"/>
                    <a:pt x="20560" y="10014"/>
                    <a:pt x="20560" y="9980"/>
                  </a:cubicBezTo>
                  <a:cubicBezTo>
                    <a:pt x="20560" y="9945"/>
                    <a:pt x="20423" y="10134"/>
                    <a:pt x="20286" y="10323"/>
                  </a:cubicBezTo>
                  <a:cubicBezTo>
                    <a:pt x="19822" y="10083"/>
                    <a:pt x="19581" y="10976"/>
                    <a:pt x="19289" y="10907"/>
                  </a:cubicBezTo>
                  <a:cubicBezTo>
                    <a:pt x="19530" y="11165"/>
                    <a:pt x="19100" y="10907"/>
                    <a:pt x="19152" y="11165"/>
                  </a:cubicBezTo>
                  <a:cubicBezTo>
                    <a:pt x="19014" y="10959"/>
                    <a:pt x="19152" y="11165"/>
                    <a:pt x="19152" y="11165"/>
                  </a:cubicBezTo>
                  <a:cubicBezTo>
                    <a:pt x="19152" y="10907"/>
                    <a:pt x="19152" y="11457"/>
                    <a:pt x="18997" y="11165"/>
                  </a:cubicBezTo>
                  <a:cubicBezTo>
                    <a:pt x="18688" y="11165"/>
                    <a:pt x="18997" y="11577"/>
                    <a:pt x="18585" y="11577"/>
                  </a:cubicBezTo>
                  <a:cubicBezTo>
                    <a:pt x="18585" y="11577"/>
                    <a:pt x="18327" y="12024"/>
                    <a:pt x="18259" y="11903"/>
                  </a:cubicBezTo>
                  <a:cubicBezTo>
                    <a:pt x="18190" y="11783"/>
                    <a:pt x="17846" y="12453"/>
                    <a:pt x="18001" y="12109"/>
                  </a:cubicBezTo>
                  <a:cubicBezTo>
                    <a:pt x="17537" y="12401"/>
                    <a:pt x="18104" y="11938"/>
                    <a:pt x="17743" y="12006"/>
                  </a:cubicBezTo>
                  <a:cubicBezTo>
                    <a:pt x="18173" y="11680"/>
                    <a:pt x="18070" y="11749"/>
                    <a:pt x="17503" y="11783"/>
                  </a:cubicBezTo>
                  <a:cubicBezTo>
                    <a:pt x="17588" y="11313"/>
                    <a:pt x="17763" y="10864"/>
                    <a:pt x="18018" y="10461"/>
                  </a:cubicBezTo>
                  <a:cubicBezTo>
                    <a:pt x="18018" y="10220"/>
                    <a:pt x="18224" y="10461"/>
                    <a:pt x="18448" y="10134"/>
                  </a:cubicBezTo>
                  <a:cubicBezTo>
                    <a:pt x="17984" y="10306"/>
                    <a:pt x="17984" y="10134"/>
                    <a:pt x="18448" y="9739"/>
                  </a:cubicBezTo>
                  <a:cubicBezTo>
                    <a:pt x="18345" y="9739"/>
                    <a:pt x="18207" y="9739"/>
                    <a:pt x="18345" y="9739"/>
                  </a:cubicBezTo>
                  <a:cubicBezTo>
                    <a:pt x="18482" y="9739"/>
                    <a:pt x="18345" y="9636"/>
                    <a:pt x="18963" y="9344"/>
                  </a:cubicBezTo>
                  <a:cubicBezTo>
                    <a:pt x="17709" y="9808"/>
                    <a:pt x="19392" y="8966"/>
                    <a:pt x="18774" y="9104"/>
                  </a:cubicBezTo>
                  <a:cubicBezTo>
                    <a:pt x="19272" y="8657"/>
                    <a:pt x="19152" y="9293"/>
                    <a:pt x="19324" y="9104"/>
                  </a:cubicBezTo>
                  <a:cubicBezTo>
                    <a:pt x="18997" y="9104"/>
                    <a:pt x="19667" y="8863"/>
                    <a:pt x="19324" y="8966"/>
                  </a:cubicBezTo>
                  <a:cubicBezTo>
                    <a:pt x="19444" y="8846"/>
                    <a:pt x="19169" y="8966"/>
                    <a:pt x="18946" y="8966"/>
                  </a:cubicBezTo>
                  <a:cubicBezTo>
                    <a:pt x="19427" y="8537"/>
                    <a:pt x="19238" y="9086"/>
                    <a:pt x="19598" y="8674"/>
                  </a:cubicBezTo>
                  <a:cubicBezTo>
                    <a:pt x="19289" y="8846"/>
                    <a:pt x="19341" y="8554"/>
                    <a:pt x="19598" y="8674"/>
                  </a:cubicBezTo>
                  <a:cubicBezTo>
                    <a:pt x="19808" y="8533"/>
                    <a:pt x="20004" y="8372"/>
                    <a:pt x="20182" y="8193"/>
                  </a:cubicBezTo>
                  <a:cubicBezTo>
                    <a:pt x="19994" y="8193"/>
                    <a:pt x="20182" y="7266"/>
                    <a:pt x="20354" y="7953"/>
                  </a:cubicBezTo>
                  <a:cubicBezTo>
                    <a:pt x="20354" y="7953"/>
                    <a:pt x="20509" y="7712"/>
                    <a:pt x="20560" y="7764"/>
                  </a:cubicBezTo>
                  <a:cubicBezTo>
                    <a:pt x="20612" y="7815"/>
                    <a:pt x="21144" y="6991"/>
                    <a:pt x="20681" y="7386"/>
                  </a:cubicBezTo>
                  <a:cubicBezTo>
                    <a:pt x="20217" y="7781"/>
                    <a:pt x="21162" y="6922"/>
                    <a:pt x="21746" y="6338"/>
                  </a:cubicBezTo>
                  <a:cubicBezTo>
                    <a:pt x="23154" y="5256"/>
                    <a:pt x="21746" y="5497"/>
                    <a:pt x="22914" y="4981"/>
                  </a:cubicBezTo>
                  <a:cubicBezTo>
                    <a:pt x="23085" y="4981"/>
                    <a:pt x="23206" y="5067"/>
                    <a:pt x="23326" y="4844"/>
                  </a:cubicBezTo>
                  <a:cubicBezTo>
                    <a:pt x="26332" y="3556"/>
                    <a:pt x="25576" y="4260"/>
                    <a:pt x="26761" y="3693"/>
                  </a:cubicBezTo>
                  <a:cubicBezTo>
                    <a:pt x="26418" y="3882"/>
                    <a:pt x="26761" y="3693"/>
                    <a:pt x="26881" y="3693"/>
                  </a:cubicBezTo>
                  <a:cubicBezTo>
                    <a:pt x="26503" y="3951"/>
                    <a:pt x="26710" y="3693"/>
                    <a:pt x="26607" y="3951"/>
                  </a:cubicBezTo>
                  <a:cubicBezTo>
                    <a:pt x="26761" y="4140"/>
                    <a:pt x="25765" y="4243"/>
                    <a:pt x="26211" y="4208"/>
                  </a:cubicBezTo>
                  <a:cubicBezTo>
                    <a:pt x="26658" y="4174"/>
                    <a:pt x="26057" y="4346"/>
                    <a:pt x="26211" y="4329"/>
                  </a:cubicBezTo>
                  <a:cubicBezTo>
                    <a:pt x="26555" y="4054"/>
                    <a:pt x="26211" y="4483"/>
                    <a:pt x="26074" y="4500"/>
                  </a:cubicBezTo>
                  <a:cubicBezTo>
                    <a:pt x="25284" y="5119"/>
                    <a:pt x="27036" y="3744"/>
                    <a:pt x="26383" y="4621"/>
                  </a:cubicBezTo>
                  <a:cubicBezTo>
                    <a:pt x="26108" y="4844"/>
                    <a:pt x="25816" y="4861"/>
                    <a:pt x="26057" y="4947"/>
                  </a:cubicBezTo>
                  <a:cubicBezTo>
                    <a:pt x="25672" y="5283"/>
                    <a:pt x="25406" y="5735"/>
                    <a:pt x="25301" y="6235"/>
                  </a:cubicBezTo>
                  <a:cubicBezTo>
                    <a:pt x="25198" y="5874"/>
                    <a:pt x="24751" y="6424"/>
                    <a:pt x="25112" y="6373"/>
                  </a:cubicBezTo>
                  <a:cubicBezTo>
                    <a:pt x="24837" y="6596"/>
                    <a:pt x="25112" y="6373"/>
                    <a:pt x="25009" y="6596"/>
                  </a:cubicBezTo>
                  <a:cubicBezTo>
                    <a:pt x="24906" y="6819"/>
                    <a:pt x="24837" y="6596"/>
                    <a:pt x="24751" y="6596"/>
                  </a:cubicBezTo>
                  <a:cubicBezTo>
                    <a:pt x="24666" y="6596"/>
                    <a:pt x="24751" y="6957"/>
                    <a:pt x="24751" y="6768"/>
                  </a:cubicBezTo>
                  <a:cubicBezTo>
                    <a:pt x="24751" y="6871"/>
                    <a:pt x="25061" y="7128"/>
                    <a:pt x="24751" y="7180"/>
                  </a:cubicBezTo>
                  <a:cubicBezTo>
                    <a:pt x="24271" y="6750"/>
                    <a:pt x="24751" y="7575"/>
                    <a:pt x="24442" y="7489"/>
                  </a:cubicBezTo>
                  <a:cubicBezTo>
                    <a:pt x="23961" y="7729"/>
                    <a:pt x="24442" y="7060"/>
                    <a:pt x="24133" y="7489"/>
                  </a:cubicBezTo>
                  <a:cubicBezTo>
                    <a:pt x="24133" y="7283"/>
                    <a:pt x="23807" y="7609"/>
                    <a:pt x="23738" y="7626"/>
                  </a:cubicBezTo>
                  <a:cubicBezTo>
                    <a:pt x="24150" y="7626"/>
                    <a:pt x="23738" y="7764"/>
                    <a:pt x="23738" y="7781"/>
                  </a:cubicBezTo>
                  <a:cubicBezTo>
                    <a:pt x="24236" y="7781"/>
                    <a:pt x="23738" y="7918"/>
                    <a:pt x="23824" y="7987"/>
                  </a:cubicBezTo>
                  <a:cubicBezTo>
                    <a:pt x="24442" y="8090"/>
                    <a:pt x="23515" y="9705"/>
                    <a:pt x="23583" y="8262"/>
                  </a:cubicBezTo>
                  <a:cubicBezTo>
                    <a:pt x="23034" y="7901"/>
                    <a:pt x="23978" y="8657"/>
                    <a:pt x="23137" y="8520"/>
                  </a:cubicBezTo>
                  <a:cubicBezTo>
                    <a:pt x="23291" y="8640"/>
                    <a:pt x="22673" y="8777"/>
                    <a:pt x="22931" y="8726"/>
                  </a:cubicBezTo>
                  <a:cubicBezTo>
                    <a:pt x="23188" y="8674"/>
                    <a:pt x="23326" y="8915"/>
                    <a:pt x="22931" y="8846"/>
                  </a:cubicBezTo>
                  <a:cubicBezTo>
                    <a:pt x="22536" y="8777"/>
                    <a:pt x="24082" y="8846"/>
                    <a:pt x="23446" y="9121"/>
                  </a:cubicBezTo>
                  <a:cubicBezTo>
                    <a:pt x="23446" y="9121"/>
                    <a:pt x="23171" y="9327"/>
                    <a:pt x="23137" y="9275"/>
                  </a:cubicBezTo>
                  <a:cubicBezTo>
                    <a:pt x="23103" y="9224"/>
                    <a:pt x="21866" y="9859"/>
                    <a:pt x="21952" y="9396"/>
                  </a:cubicBezTo>
                  <a:cubicBezTo>
                    <a:pt x="22038" y="8932"/>
                    <a:pt x="21952" y="9636"/>
                    <a:pt x="21831" y="9653"/>
                  </a:cubicBezTo>
                  <a:cubicBezTo>
                    <a:pt x="21385" y="9688"/>
                    <a:pt x="20612" y="10529"/>
                    <a:pt x="20560" y="10117"/>
                  </a:cubicBezTo>
                  <a:close/>
                  <a:moveTo>
                    <a:pt x="23669" y="11440"/>
                  </a:moveTo>
                  <a:cubicBezTo>
                    <a:pt x="23669" y="11577"/>
                    <a:pt x="23463" y="11543"/>
                    <a:pt x="23412" y="11440"/>
                  </a:cubicBezTo>
                  <a:cubicBezTo>
                    <a:pt x="23360" y="11337"/>
                    <a:pt x="23223" y="11440"/>
                    <a:pt x="23274" y="11319"/>
                  </a:cubicBezTo>
                  <a:cubicBezTo>
                    <a:pt x="23326" y="11199"/>
                    <a:pt x="23188" y="11319"/>
                    <a:pt x="23274" y="11319"/>
                  </a:cubicBezTo>
                  <a:cubicBezTo>
                    <a:pt x="23173" y="11345"/>
                    <a:pt x="23067" y="11345"/>
                    <a:pt x="22965" y="11319"/>
                  </a:cubicBezTo>
                  <a:cubicBezTo>
                    <a:pt x="22965" y="11319"/>
                    <a:pt x="22965" y="11319"/>
                    <a:pt x="22965" y="11319"/>
                  </a:cubicBezTo>
                  <a:cubicBezTo>
                    <a:pt x="22965" y="11319"/>
                    <a:pt x="22965" y="11319"/>
                    <a:pt x="22965" y="11233"/>
                  </a:cubicBezTo>
                  <a:cubicBezTo>
                    <a:pt x="22965" y="11148"/>
                    <a:pt x="22965" y="11233"/>
                    <a:pt x="22965" y="11233"/>
                  </a:cubicBezTo>
                  <a:cubicBezTo>
                    <a:pt x="22965" y="11233"/>
                    <a:pt x="23120" y="11096"/>
                    <a:pt x="23206" y="11148"/>
                  </a:cubicBezTo>
                  <a:cubicBezTo>
                    <a:pt x="23291" y="11199"/>
                    <a:pt x="22948" y="11251"/>
                    <a:pt x="23206" y="11027"/>
                  </a:cubicBezTo>
                  <a:cubicBezTo>
                    <a:pt x="23206" y="11113"/>
                    <a:pt x="23051" y="11027"/>
                    <a:pt x="23206" y="10941"/>
                  </a:cubicBezTo>
                  <a:cubicBezTo>
                    <a:pt x="23360" y="10856"/>
                    <a:pt x="22948" y="10941"/>
                    <a:pt x="22948" y="10821"/>
                  </a:cubicBezTo>
                  <a:cubicBezTo>
                    <a:pt x="22948" y="10701"/>
                    <a:pt x="23206" y="10735"/>
                    <a:pt x="23223" y="10821"/>
                  </a:cubicBezTo>
                  <a:cubicBezTo>
                    <a:pt x="23240" y="10907"/>
                    <a:pt x="23395" y="10821"/>
                    <a:pt x="23412" y="10718"/>
                  </a:cubicBezTo>
                  <a:cubicBezTo>
                    <a:pt x="23429" y="10615"/>
                    <a:pt x="23291" y="10718"/>
                    <a:pt x="23412" y="10718"/>
                  </a:cubicBezTo>
                  <a:cubicBezTo>
                    <a:pt x="23532" y="10718"/>
                    <a:pt x="23291" y="10718"/>
                    <a:pt x="23412" y="10632"/>
                  </a:cubicBezTo>
                  <a:cubicBezTo>
                    <a:pt x="23532" y="10546"/>
                    <a:pt x="23412" y="10632"/>
                    <a:pt x="23412" y="10632"/>
                  </a:cubicBezTo>
                  <a:cubicBezTo>
                    <a:pt x="23412" y="10632"/>
                    <a:pt x="23412" y="10718"/>
                    <a:pt x="23412" y="10632"/>
                  </a:cubicBezTo>
                  <a:cubicBezTo>
                    <a:pt x="23412" y="10546"/>
                    <a:pt x="23412" y="10632"/>
                    <a:pt x="23412" y="10632"/>
                  </a:cubicBezTo>
                  <a:cubicBezTo>
                    <a:pt x="23223" y="10873"/>
                    <a:pt x="23120" y="10478"/>
                    <a:pt x="23291" y="10632"/>
                  </a:cubicBezTo>
                  <a:cubicBezTo>
                    <a:pt x="23463" y="10787"/>
                    <a:pt x="23291" y="10478"/>
                    <a:pt x="23291" y="10632"/>
                  </a:cubicBezTo>
                  <a:cubicBezTo>
                    <a:pt x="23291" y="10787"/>
                    <a:pt x="23291" y="10632"/>
                    <a:pt x="23291" y="10632"/>
                  </a:cubicBezTo>
                  <a:cubicBezTo>
                    <a:pt x="23291" y="10632"/>
                    <a:pt x="23291" y="10529"/>
                    <a:pt x="23291" y="10632"/>
                  </a:cubicBezTo>
                  <a:cubicBezTo>
                    <a:pt x="23291" y="10735"/>
                    <a:pt x="23291" y="10478"/>
                    <a:pt x="23291" y="10632"/>
                  </a:cubicBezTo>
                  <a:cubicBezTo>
                    <a:pt x="23291" y="10787"/>
                    <a:pt x="23412" y="10632"/>
                    <a:pt x="23291" y="10632"/>
                  </a:cubicBezTo>
                  <a:cubicBezTo>
                    <a:pt x="23171" y="10632"/>
                    <a:pt x="23395" y="10632"/>
                    <a:pt x="23291" y="10632"/>
                  </a:cubicBezTo>
                  <a:cubicBezTo>
                    <a:pt x="23188" y="10632"/>
                    <a:pt x="23120" y="10478"/>
                    <a:pt x="23291" y="10478"/>
                  </a:cubicBezTo>
                  <a:cubicBezTo>
                    <a:pt x="22999" y="10375"/>
                    <a:pt x="23395" y="10375"/>
                    <a:pt x="23291" y="10581"/>
                  </a:cubicBezTo>
                  <a:cubicBezTo>
                    <a:pt x="23291" y="10581"/>
                    <a:pt x="23291" y="10581"/>
                    <a:pt x="23291" y="10581"/>
                  </a:cubicBezTo>
                  <a:cubicBezTo>
                    <a:pt x="23291" y="10581"/>
                    <a:pt x="23291" y="10701"/>
                    <a:pt x="23291" y="10581"/>
                  </a:cubicBezTo>
                  <a:cubicBezTo>
                    <a:pt x="23302" y="10608"/>
                    <a:pt x="23302" y="10639"/>
                    <a:pt x="23291" y="10667"/>
                  </a:cubicBezTo>
                  <a:cubicBezTo>
                    <a:pt x="23291" y="10667"/>
                    <a:pt x="23291" y="10753"/>
                    <a:pt x="23291" y="10787"/>
                  </a:cubicBezTo>
                  <a:cubicBezTo>
                    <a:pt x="23291" y="10821"/>
                    <a:pt x="23291" y="10787"/>
                    <a:pt x="23291" y="10873"/>
                  </a:cubicBezTo>
                  <a:cubicBezTo>
                    <a:pt x="23311" y="10799"/>
                    <a:pt x="23361" y="10737"/>
                    <a:pt x="23429" y="10701"/>
                  </a:cubicBezTo>
                  <a:cubicBezTo>
                    <a:pt x="23429" y="10907"/>
                    <a:pt x="23429" y="10478"/>
                    <a:pt x="23601" y="10461"/>
                  </a:cubicBezTo>
                  <a:cubicBezTo>
                    <a:pt x="23772" y="10443"/>
                    <a:pt x="23601" y="10581"/>
                    <a:pt x="23601" y="10598"/>
                  </a:cubicBezTo>
                  <a:cubicBezTo>
                    <a:pt x="23601" y="10615"/>
                    <a:pt x="23687" y="10461"/>
                    <a:pt x="23790" y="10478"/>
                  </a:cubicBezTo>
                  <a:cubicBezTo>
                    <a:pt x="23832" y="10576"/>
                    <a:pt x="23832" y="10688"/>
                    <a:pt x="23790" y="10787"/>
                  </a:cubicBezTo>
                  <a:cubicBezTo>
                    <a:pt x="23893" y="10701"/>
                    <a:pt x="23790" y="10461"/>
                    <a:pt x="23961" y="10512"/>
                  </a:cubicBezTo>
                  <a:cubicBezTo>
                    <a:pt x="24133" y="10564"/>
                    <a:pt x="24116" y="10375"/>
                    <a:pt x="24099" y="10512"/>
                  </a:cubicBezTo>
                  <a:cubicBezTo>
                    <a:pt x="24082" y="10649"/>
                    <a:pt x="24356" y="10220"/>
                    <a:pt x="24322" y="10512"/>
                  </a:cubicBezTo>
                  <a:cubicBezTo>
                    <a:pt x="24288" y="10804"/>
                    <a:pt x="24442" y="10357"/>
                    <a:pt x="24528" y="10512"/>
                  </a:cubicBezTo>
                  <a:cubicBezTo>
                    <a:pt x="24614" y="10667"/>
                    <a:pt x="24356" y="10667"/>
                    <a:pt x="24528" y="10632"/>
                  </a:cubicBezTo>
                  <a:cubicBezTo>
                    <a:pt x="24700" y="10598"/>
                    <a:pt x="24425" y="10632"/>
                    <a:pt x="24528" y="10804"/>
                  </a:cubicBezTo>
                  <a:cubicBezTo>
                    <a:pt x="24631" y="10976"/>
                    <a:pt x="24528" y="10804"/>
                    <a:pt x="24528" y="10804"/>
                  </a:cubicBezTo>
                  <a:cubicBezTo>
                    <a:pt x="24751" y="10804"/>
                    <a:pt x="24614" y="10804"/>
                    <a:pt x="24528" y="10924"/>
                  </a:cubicBezTo>
                  <a:cubicBezTo>
                    <a:pt x="24442" y="11045"/>
                    <a:pt x="24528" y="11079"/>
                    <a:pt x="24528" y="11148"/>
                  </a:cubicBezTo>
                  <a:cubicBezTo>
                    <a:pt x="24374" y="10924"/>
                    <a:pt x="24528" y="11440"/>
                    <a:pt x="24288" y="11148"/>
                  </a:cubicBezTo>
                  <a:cubicBezTo>
                    <a:pt x="24288" y="11268"/>
                    <a:pt x="24064" y="11268"/>
                    <a:pt x="23978" y="11388"/>
                  </a:cubicBezTo>
                  <a:lnTo>
                    <a:pt x="23978" y="11388"/>
                  </a:lnTo>
                  <a:cubicBezTo>
                    <a:pt x="23978" y="11388"/>
                    <a:pt x="23841" y="11388"/>
                    <a:pt x="23790" y="11388"/>
                  </a:cubicBezTo>
                  <a:cubicBezTo>
                    <a:pt x="23738" y="11388"/>
                    <a:pt x="23790" y="11388"/>
                    <a:pt x="23790" y="11388"/>
                  </a:cubicBezTo>
                  <a:cubicBezTo>
                    <a:pt x="23790" y="11388"/>
                    <a:pt x="23738" y="11594"/>
                    <a:pt x="23669" y="11440"/>
                  </a:cubicBezTo>
                  <a:close/>
                  <a:moveTo>
                    <a:pt x="38184" y="41533"/>
                  </a:moveTo>
                  <a:cubicBezTo>
                    <a:pt x="38063" y="41224"/>
                    <a:pt x="38579" y="40880"/>
                    <a:pt x="38802" y="40640"/>
                  </a:cubicBezTo>
                  <a:cubicBezTo>
                    <a:pt x="39025" y="40399"/>
                    <a:pt x="39025" y="39729"/>
                    <a:pt x="39540" y="39523"/>
                  </a:cubicBezTo>
                  <a:lnTo>
                    <a:pt x="39540" y="39523"/>
                  </a:lnTo>
                  <a:cubicBezTo>
                    <a:pt x="39540" y="39523"/>
                    <a:pt x="39540" y="39523"/>
                    <a:pt x="39540" y="39523"/>
                  </a:cubicBezTo>
                  <a:cubicBezTo>
                    <a:pt x="39540" y="39523"/>
                    <a:pt x="39644" y="39523"/>
                    <a:pt x="39781" y="39386"/>
                  </a:cubicBezTo>
                  <a:cubicBezTo>
                    <a:pt x="39661" y="39678"/>
                    <a:pt x="40073" y="39077"/>
                    <a:pt x="39953" y="39386"/>
                  </a:cubicBezTo>
                  <a:cubicBezTo>
                    <a:pt x="39832" y="39695"/>
                    <a:pt x="39953" y="39386"/>
                    <a:pt x="39953" y="39386"/>
                  </a:cubicBezTo>
                  <a:cubicBezTo>
                    <a:pt x="39953" y="39386"/>
                    <a:pt x="39953" y="39386"/>
                    <a:pt x="39953" y="39248"/>
                  </a:cubicBezTo>
                  <a:cubicBezTo>
                    <a:pt x="39953" y="39111"/>
                    <a:pt x="40073" y="39248"/>
                    <a:pt x="39953" y="39248"/>
                  </a:cubicBezTo>
                  <a:lnTo>
                    <a:pt x="39953" y="39248"/>
                  </a:lnTo>
                  <a:cubicBezTo>
                    <a:pt x="39953" y="39248"/>
                    <a:pt x="39953" y="39248"/>
                    <a:pt x="39953" y="39369"/>
                  </a:cubicBezTo>
                  <a:cubicBezTo>
                    <a:pt x="39953" y="39489"/>
                    <a:pt x="40090" y="39197"/>
                    <a:pt x="40107" y="39266"/>
                  </a:cubicBezTo>
                  <a:cubicBezTo>
                    <a:pt x="40124" y="39334"/>
                    <a:pt x="40107" y="39266"/>
                    <a:pt x="40107" y="39145"/>
                  </a:cubicBezTo>
                  <a:cubicBezTo>
                    <a:pt x="40107" y="39025"/>
                    <a:pt x="40262" y="39145"/>
                    <a:pt x="40107" y="39042"/>
                  </a:cubicBezTo>
                  <a:cubicBezTo>
                    <a:pt x="39953" y="38939"/>
                    <a:pt x="40107" y="39145"/>
                    <a:pt x="40262" y="38939"/>
                  </a:cubicBezTo>
                  <a:cubicBezTo>
                    <a:pt x="40416" y="38733"/>
                    <a:pt x="40537" y="38733"/>
                    <a:pt x="40485" y="38561"/>
                  </a:cubicBezTo>
                  <a:cubicBezTo>
                    <a:pt x="40434" y="38389"/>
                    <a:pt x="40588" y="38561"/>
                    <a:pt x="40674" y="38441"/>
                  </a:cubicBezTo>
                  <a:cubicBezTo>
                    <a:pt x="40760" y="38321"/>
                    <a:pt x="40674" y="38664"/>
                    <a:pt x="40674" y="38664"/>
                  </a:cubicBezTo>
                  <a:cubicBezTo>
                    <a:pt x="41344" y="38922"/>
                    <a:pt x="37514" y="43560"/>
                    <a:pt x="38184" y="41533"/>
                  </a:cubicBezTo>
                  <a:close/>
                  <a:moveTo>
                    <a:pt x="49159" y="26589"/>
                  </a:moveTo>
                  <a:cubicBezTo>
                    <a:pt x="49159" y="26589"/>
                    <a:pt x="49159" y="26589"/>
                    <a:pt x="49159" y="26589"/>
                  </a:cubicBezTo>
                  <a:cubicBezTo>
                    <a:pt x="48810" y="27921"/>
                    <a:pt x="48552" y="29276"/>
                    <a:pt x="48386" y="30643"/>
                  </a:cubicBezTo>
                  <a:cubicBezTo>
                    <a:pt x="48386" y="30540"/>
                    <a:pt x="48215" y="30780"/>
                    <a:pt x="48215" y="30849"/>
                  </a:cubicBezTo>
                  <a:cubicBezTo>
                    <a:pt x="48026" y="31570"/>
                    <a:pt x="47579" y="26864"/>
                    <a:pt x="47613" y="26452"/>
                  </a:cubicBezTo>
                  <a:cubicBezTo>
                    <a:pt x="47459" y="26452"/>
                    <a:pt x="47613" y="26263"/>
                    <a:pt x="47613" y="26160"/>
                  </a:cubicBezTo>
                  <a:cubicBezTo>
                    <a:pt x="47613" y="26057"/>
                    <a:pt x="47528" y="26160"/>
                    <a:pt x="47528" y="26160"/>
                  </a:cubicBezTo>
                  <a:cubicBezTo>
                    <a:pt x="47528" y="26555"/>
                    <a:pt x="47373" y="27362"/>
                    <a:pt x="47098" y="26606"/>
                  </a:cubicBezTo>
                  <a:cubicBezTo>
                    <a:pt x="47098" y="26606"/>
                    <a:pt x="46909" y="26332"/>
                    <a:pt x="46995" y="26383"/>
                  </a:cubicBezTo>
                  <a:lnTo>
                    <a:pt x="46995" y="26383"/>
                  </a:lnTo>
                  <a:cubicBezTo>
                    <a:pt x="46995" y="26538"/>
                    <a:pt x="46995" y="26383"/>
                    <a:pt x="46995" y="26383"/>
                  </a:cubicBezTo>
                  <a:cubicBezTo>
                    <a:pt x="46995" y="26383"/>
                    <a:pt x="47201" y="26074"/>
                    <a:pt x="47081" y="26040"/>
                  </a:cubicBezTo>
                  <a:cubicBezTo>
                    <a:pt x="47081" y="26383"/>
                    <a:pt x="46583" y="26040"/>
                    <a:pt x="46806" y="25833"/>
                  </a:cubicBezTo>
                  <a:cubicBezTo>
                    <a:pt x="46806" y="25833"/>
                    <a:pt x="46806" y="25937"/>
                    <a:pt x="46686" y="25971"/>
                  </a:cubicBezTo>
                  <a:cubicBezTo>
                    <a:pt x="46566" y="26005"/>
                    <a:pt x="46686" y="25885"/>
                    <a:pt x="46549" y="25971"/>
                  </a:cubicBezTo>
                  <a:cubicBezTo>
                    <a:pt x="46411" y="26057"/>
                    <a:pt x="46549" y="25696"/>
                    <a:pt x="46428" y="25559"/>
                  </a:cubicBezTo>
                  <a:cubicBezTo>
                    <a:pt x="46239" y="25730"/>
                    <a:pt x="46428" y="25318"/>
                    <a:pt x="46119" y="25438"/>
                  </a:cubicBezTo>
                  <a:cubicBezTo>
                    <a:pt x="46119" y="25438"/>
                    <a:pt x="45965" y="25524"/>
                    <a:pt x="45913" y="25610"/>
                  </a:cubicBezTo>
                  <a:cubicBezTo>
                    <a:pt x="45861" y="25696"/>
                    <a:pt x="45810" y="25610"/>
                    <a:pt x="45741" y="25610"/>
                  </a:cubicBezTo>
                  <a:cubicBezTo>
                    <a:pt x="45673" y="25610"/>
                    <a:pt x="45604" y="25610"/>
                    <a:pt x="45552" y="25765"/>
                  </a:cubicBezTo>
                  <a:cubicBezTo>
                    <a:pt x="45501" y="25919"/>
                    <a:pt x="45552" y="25765"/>
                    <a:pt x="45432" y="25765"/>
                  </a:cubicBezTo>
                  <a:cubicBezTo>
                    <a:pt x="45312" y="25765"/>
                    <a:pt x="45260" y="25885"/>
                    <a:pt x="45209" y="25679"/>
                  </a:cubicBezTo>
                  <a:cubicBezTo>
                    <a:pt x="45209" y="25782"/>
                    <a:pt x="44814" y="25679"/>
                    <a:pt x="44728" y="25679"/>
                  </a:cubicBezTo>
                  <a:cubicBezTo>
                    <a:pt x="44642" y="25679"/>
                    <a:pt x="44573" y="25679"/>
                    <a:pt x="44453" y="25679"/>
                  </a:cubicBezTo>
                  <a:cubicBezTo>
                    <a:pt x="44178" y="24683"/>
                    <a:pt x="44144" y="25541"/>
                    <a:pt x="43663" y="25404"/>
                  </a:cubicBezTo>
                  <a:cubicBezTo>
                    <a:pt x="43560" y="25404"/>
                    <a:pt x="43251" y="25284"/>
                    <a:pt x="43285" y="25146"/>
                  </a:cubicBezTo>
                  <a:cubicBezTo>
                    <a:pt x="43319" y="25009"/>
                    <a:pt x="42838" y="25146"/>
                    <a:pt x="42804" y="24803"/>
                  </a:cubicBezTo>
                  <a:cubicBezTo>
                    <a:pt x="42804" y="24803"/>
                    <a:pt x="42684" y="24803"/>
                    <a:pt x="42804" y="24803"/>
                  </a:cubicBezTo>
                  <a:cubicBezTo>
                    <a:pt x="42632" y="24803"/>
                    <a:pt x="42564" y="24185"/>
                    <a:pt x="42375" y="24425"/>
                  </a:cubicBezTo>
                  <a:cubicBezTo>
                    <a:pt x="42375" y="24339"/>
                    <a:pt x="42220" y="24425"/>
                    <a:pt x="42272" y="24270"/>
                  </a:cubicBezTo>
                  <a:cubicBezTo>
                    <a:pt x="42323" y="24116"/>
                    <a:pt x="42272" y="24270"/>
                    <a:pt x="42272" y="24270"/>
                  </a:cubicBezTo>
                  <a:cubicBezTo>
                    <a:pt x="42272" y="24270"/>
                    <a:pt x="42272" y="24494"/>
                    <a:pt x="42272" y="24270"/>
                  </a:cubicBezTo>
                  <a:cubicBezTo>
                    <a:pt x="42272" y="24047"/>
                    <a:pt x="42272" y="24580"/>
                    <a:pt x="42100" y="24597"/>
                  </a:cubicBezTo>
                  <a:lnTo>
                    <a:pt x="42220" y="24597"/>
                  </a:lnTo>
                  <a:lnTo>
                    <a:pt x="42220" y="24597"/>
                  </a:lnTo>
                  <a:cubicBezTo>
                    <a:pt x="42220" y="24597"/>
                    <a:pt x="42220" y="24700"/>
                    <a:pt x="42220" y="24734"/>
                  </a:cubicBezTo>
                  <a:cubicBezTo>
                    <a:pt x="42220" y="24769"/>
                    <a:pt x="42220" y="24837"/>
                    <a:pt x="42220" y="24734"/>
                  </a:cubicBezTo>
                  <a:cubicBezTo>
                    <a:pt x="42259" y="24896"/>
                    <a:pt x="42365" y="25033"/>
                    <a:pt x="42512" y="25112"/>
                  </a:cubicBezTo>
                  <a:cubicBezTo>
                    <a:pt x="42512" y="25112"/>
                    <a:pt x="42821" y="25438"/>
                    <a:pt x="42770" y="25610"/>
                  </a:cubicBezTo>
                  <a:lnTo>
                    <a:pt x="42770" y="25610"/>
                  </a:lnTo>
                  <a:cubicBezTo>
                    <a:pt x="42993" y="25851"/>
                    <a:pt x="43027" y="26314"/>
                    <a:pt x="43045" y="25782"/>
                  </a:cubicBezTo>
                  <a:cubicBezTo>
                    <a:pt x="43045" y="25645"/>
                    <a:pt x="43045" y="25438"/>
                    <a:pt x="43165" y="25627"/>
                  </a:cubicBezTo>
                  <a:cubicBezTo>
                    <a:pt x="43133" y="25786"/>
                    <a:pt x="43133" y="25950"/>
                    <a:pt x="43165" y="26108"/>
                  </a:cubicBezTo>
                  <a:cubicBezTo>
                    <a:pt x="43165" y="26108"/>
                    <a:pt x="43165" y="26297"/>
                    <a:pt x="43165" y="26211"/>
                  </a:cubicBezTo>
                  <a:lnTo>
                    <a:pt x="43165" y="26366"/>
                  </a:lnTo>
                  <a:cubicBezTo>
                    <a:pt x="43371" y="26177"/>
                    <a:pt x="43646" y="26366"/>
                    <a:pt x="43766" y="26091"/>
                  </a:cubicBezTo>
                  <a:lnTo>
                    <a:pt x="43766" y="26091"/>
                  </a:lnTo>
                  <a:cubicBezTo>
                    <a:pt x="43766" y="25833"/>
                    <a:pt x="44024" y="25593"/>
                    <a:pt x="44058" y="25318"/>
                  </a:cubicBezTo>
                  <a:lnTo>
                    <a:pt x="44058" y="25318"/>
                  </a:lnTo>
                  <a:cubicBezTo>
                    <a:pt x="44058" y="25318"/>
                    <a:pt x="44058" y="25146"/>
                    <a:pt x="44058" y="25215"/>
                  </a:cubicBezTo>
                  <a:cubicBezTo>
                    <a:pt x="44058" y="25284"/>
                    <a:pt x="44058" y="25559"/>
                    <a:pt x="44058" y="25507"/>
                  </a:cubicBezTo>
                  <a:cubicBezTo>
                    <a:pt x="44058" y="25851"/>
                    <a:pt x="44247" y="26280"/>
                    <a:pt x="44642" y="26091"/>
                  </a:cubicBezTo>
                  <a:cubicBezTo>
                    <a:pt x="44947" y="26440"/>
                    <a:pt x="44947" y="26961"/>
                    <a:pt x="44642" y="27311"/>
                  </a:cubicBezTo>
                  <a:cubicBezTo>
                    <a:pt x="44642" y="27105"/>
                    <a:pt x="44487" y="27757"/>
                    <a:pt x="44642" y="27877"/>
                  </a:cubicBezTo>
                  <a:cubicBezTo>
                    <a:pt x="44230" y="27877"/>
                    <a:pt x="44505" y="28290"/>
                    <a:pt x="44109" y="28376"/>
                  </a:cubicBezTo>
                  <a:cubicBezTo>
                    <a:pt x="44109" y="28496"/>
                    <a:pt x="44109" y="28599"/>
                    <a:pt x="44109" y="28719"/>
                  </a:cubicBezTo>
                  <a:cubicBezTo>
                    <a:pt x="43847" y="28757"/>
                    <a:pt x="43612" y="28900"/>
                    <a:pt x="43457" y="29114"/>
                  </a:cubicBezTo>
                  <a:cubicBezTo>
                    <a:pt x="43457" y="29475"/>
                    <a:pt x="42924" y="29595"/>
                    <a:pt x="42684" y="29767"/>
                  </a:cubicBezTo>
                  <a:cubicBezTo>
                    <a:pt x="42443" y="29939"/>
                    <a:pt x="42495" y="30042"/>
                    <a:pt x="42357" y="29990"/>
                  </a:cubicBezTo>
                  <a:cubicBezTo>
                    <a:pt x="42248" y="30193"/>
                    <a:pt x="42016" y="30299"/>
                    <a:pt x="41791" y="30248"/>
                  </a:cubicBezTo>
                  <a:cubicBezTo>
                    <a:pt x="41649" y="30457"/>
                    <a:pt x="41423" y="30595"/>
                    <a:pt x="41172" y="30626"/>
                  </a:cubicBezTo>
                  <a:cubicBezTo>
                    <a:pt x="41035" y="30317"/>
                    <a:pt x="41172" y="29904"/>
                    <a:pt x="40897" y="29629"/>
                  </a:cubicBezTo>
                  <a:cubicBezTo>
                    <a:pt x="41155" y="29011"/>
                    <a:pt x="40262" y="28204"/>
                    <a:pt x="39850" y="27706"/>
                  </a:cubicBezTo>
                  <a:cubicBezTo>
                    <a:pt x="39850" y="27293"/>
                    <a:pt x="39747" y="26589"/>
                    <a:pt x="39283" y="26606"/>
                  </a:cubicBezTo>
                  <a:cubicBezTo>
                    <a:pt x="39111" y="25799"/>
                    <a:pt x="38166" y="25370"/>
                    <a:pt x="38338" y="24751"/>
                  </a:cubicBezTo>
                  <a:cubicBezTo>
                    <a:pt x="38218" y="24975"/>
                    <a:pt x="38338" y="25249"/>
                    <a:pt x="38201" y="25438"/>
                  </a:cubicBezTo>
                  <a:cubicBezTo>
                    <a:pt x="37948" y="25233"/>
                    <a:pt x="37727" y="24989"/>
                    <a:pt x="37548" y="24717"/>
                  </a:cubicBezTo>
                  <a:cubicBezTo>
                    <a:pt x="37840" y="25370"/>
                    <a:pt x="38304" y="26022"/>
                    <a:pt x="38682" y="26692"/>
                  </a:cubicBezTo>
                  <a:lnTo>
                    <a:pt x="38682" y="26692"/>
                  </a:lnTo>
                  <a:cubicBezTo>
                    <a:pt x="38718" y="26746"/>
                    <a:pt x="38765" y="26793"/>
                    <a:pt x="38819" y="26830"/>
                  </a:cubicBezTo>
                  <a:cubicBezTo>
                    <a:pt x="38819" y="26830"/>
                    <a:pt x="38716" y="26830"/>
                    <a:pt x="38699" y="26830"/>
                  </a:cubicBezTo>
                  <a:cubicBezTo>
                    <a:pt x="38699" y="27328"/>
                    <a:pt x="39231" y="27311"/>
                    <a:pt x="39317" y="27826"/>
                  </a:cubicBezTo>
                  <a:cubicBezTo>
                    <a:pt x="39180" y="27826"/>
                    <a:pt x="39420" y="28187"/>
                    <a:pt x="39317" y="28376"/>
                  </a:cubicBezTo>
                  <a:cubicBezTo>
                    <a:pt x="39214" y="28565"/>
                    <a:pt x="39644" y="28719"/>
                    <a:pt x="39712" y="28891"/>
                  </a:cubicBezTo>
                  <a:cubicBezTo>
                    <a:pt x="39781" y="29063"/>
                    <a:pt x="39884" y="29561"/>
                    <a:pt x="40021" y="29715"/>
                  </a:cubicBezTo>
                  <a:cubicBezTo>
                    <a:pt x="40159" y="29870"/>
                    <a:pt x="40142" y="30007"/>
                    <a:pt x="40021" y="29801"/>
                  </a:cubicBezTo>
                  <a:cubicBezTo>
                    <a:pt x="39901" y="29595"/>
                    <a:pt x="40021" y="30042"/>
                    <a:pt x="40193" y="29939"/>
                  </a:cubicBezTo>
                  <a:cubicBezTo>
                    <a:pt x="40571" y="29939"/>
                    <a:pt x="40708" y="30591"/>
                    <a:pt x="40932" y="30626"/>
                  </a:cubicBezTo>
                  <a:cubicBezTo>
                    <a:pt x="41155" y="30660"/>
                    <a:pt x="40932" y="30746"/>
                    <a:pt x="41035" y="30746"/>
                  </a:cubicBezTo>
                  <a:cubicBezTo>
                    <a:pt x="41037" y="30889"/>
                    <a:pt x="40935" y="31013"/>
                    <a:pt x="40794" y="31038"/>
                  </a:cubicBezTo>
                  <a:cubicBezTo>
                    <a:pt x="41035" y="31038"/>
                    <a:pt x="41086" y="31364"/>
                    <a:pt x="41327" y="31450"/>
                  </a:cubicBezTo>
                  <a:cubicBezTo>
                    <a:pt x="41782" y="31205"/>
                    <a:pt x="42267" y="31020"/>
                    <a:pt x="42770" y="30901"/>
                  </a:cubicBezTo>
                  <a:cubicBezTo>
                    <a:pt x="42857" y="30834"/>
                    <a:pt x="42933" y="30752"/>
                    <a:pt x="42993" y="30660"/>
                  </a:cubicBezTo>
                  <a:cubicBezTo>
                    <a:pt x="43165" y="30660"/>
                    <a:pt x="42993" y="31021"/>
                    <a:pt x="42993" y="31210"/>
                  </a:cubicBezTo>
                  <a:cubicBezTo>
                    <a:pt x="42993" y="31399"/>
                    <a:pt x="42993" y="31210"/>
                    <a:pt x="42993" y="31210"/>
                  </a:cubicBezTo>
                  <a:cubicBezTo>
                    <a:pt x="42684" y="33580"/>
                    <a:pt x="39163" y="34989"/>
                    <a:pt x="38922" y="37033"/>
                  </a:cubicBezTo>
                  <a:cubicBezTo>
                    <a:pt x="38922" y="37033"/>
                    <a:pt x="38716" y="37204"/>
                    <a:pt x="38802" y="37307"/>
                  </a:cubicBezTo>
                  <a:cubicBezTo>
                    <a:pt x="38888" y="37410"/>
                    <a:pt x="38596" y="37874"/>
                    <a:pt x="38802" y="38012"/>
                  </a:cubicBezTo>
                  <a:cubicBezTo>
                    <a:pt x="38630" y="38407"/>
                    <a:pt x="38493" y="38991"/>
                    <a:pt x="38355" y="39248"/>
                  </a:cubicBezTo>
                  <a:cubicBezTo>
                    <a:pt x="38218" y="39506"/>
                    <a:pt x="38149" y="39369"/>
                    <a:pt x="38355" y="39351"/>
                  </a:cubicBezTo>
                  <a:cubicBezTo>
                    <a:pt x="38063" y="39781"/>
                    <a:pt x="37514" y="39901"/>
                    <a:pt x="37119" y="40193"/>
                  </a:cubicBezTo>
                  <a:lnTo>
                    <a:pt x="37119" y="40193"/>
                  </a:lnTo>
                  <a:cubicBezTo>
                    <a:pt x="36902" y="40432"/>
                    <a:pt x="36622" y="40604"/>
                    <a:pt x="36311" y="40691"/>
                  </a:cubicBezTo>
                  <a:cubicBezTo>
                    <a:pt x="36339" y="40751"/>
                    <a:pt x="36339" y="40820"/>
                    <a:pt x="36311" y="40880"/>
                  </a:cubicBezTo>
                  <a:cubicBezTo>
                    <a:pt x="36311" y="40880"/>
                    <a:pt x="36311" y="41000"/>
                    <a:pt x="36311" y="41035"/>
                  </a:cubicBezTo>
                  <a:cubicBezTo>
                    <a:pt x="36311" y="41069"/>
                    <a:pt x="36311" y="41292"/>
                    <a:pt x="36311" y="41395"/>
                  </a:cubicBezTo>
                  <a:cubicBezTo>
                    <a:pt x="36311" y="41498"/>
                    <a:pt x="36311" y="41310"/>
                    <a:pt x="36311" y="41292"/>
                  </a:cubicBezTo>
                  <a:lnTo>
                    <a:pt x="36311" y="41292"/>
                  </a:lnTo>
                  <a:lnTo>
                    <a:pt x="36311" y="41292"/>
                  </a:lnTo>
                  <a:cubicBezTo>
                    <a:pt x="36311" y="41447"/>
                    <a:pt x="36122" y="41567"/>
                    <a:pt x="36054" y="41705"/>
                  </a:cubicBezTo>
                  <a:lnTo>
                    <a:pt x="36054" y="41705"/>
                  </a:lnTo>
                  <a:cubicBezTo>
                    <a:pt x="35865" y="42117"/>
                    <a:pt x="35126" y="41997"/>
                    <a:pt x="35006" y="42392"/>
                  </a:cubicBezTo>
                  <a:lnTo>
                    <a:pt x="35126" y="42392"/>
                  </a:lnTo>
                  <a:cubicBezTo>
                    <a:pt x="35084" y="42471"/>
                    <a:pt x="35025" y="42542"/>
                    <a:pt x="34954" y="42598"/>
                  </a:cubicBezTo>
                  <a:lnTo>
                    <a:pt x="34954" y="42598"/>
                  </a:lnTo>
                  <a:cubicBezTo>
                    <a:pt x="34162" y="43425"/>
                    <a:pt x="33158" y="44019"/>
                    <a:pt x="32051" y="44315"/>
                  </a:cubicBezTo>
                  <a:cubicBezTo>
                    <a:pt x="31588" y="44161"/>
                    <a:pt x="31124" y="44453"/>
                    <a:pt x="30660" y="44418"/>
                  </a:cubicBezTo>
                  <a:cubicBezTo>
                    <a:pt x="30660" y="44333"/>
                    <a:pt x="30660" y="44418"/>
                    <a:pt x="30660" y="44418"/>
                  </a:cubicBezTo>
                  <a:cubicBezTo>
                    <a:pt x="30660" y="44418"/>
                    <a:pt x="30557" y="44333"/>
                    <a:pt x="30660" y="44418"/>
                  </a:cubicBezTo>
                  <a:cubicBezTo>
                    <a:pt x="30763" y="44504"/>
                    <a:pt x="30798" y="44230"/>
                    <a:pt x="30660" y="44092"/>
                  </a:cubicBezTo>
                  <a:cubicBezTo>
                    <a:pt x="30987" y="43938"/>
                    <a:pt x="30660" y="43508"/>
                    <a:pt x="30660" y="43199"/>
                  </a:cubicBezTo>
                  <a:cubicBezTo>
                    <a:pt x="30128" y="42392"/>
                    <a:pt x="30437" y="41189"/>
                    <a:pt x="29836" y="40296"/>
                  </a:cubicBezTo>
                  <a:cubicBezTo>
                    <a:pt x="29836" y="39369"/>
                    <a:pt x="31210" y="38956"/>
                    <a:pt x="30591" y="38046"/>
                  </a:cubicBezTo>
                  <a:cubicBezTo>
                    <a:pt x="30866" y="37840"/>
                    <a:pt x="30591" y="37428"/>
                    <a:pt x="30471" y="37204"/>
                  </a:cubicBezTo>
                  <a:lnTo>
                    <a:pt x="30574" y="37204"/>
                  </a:lnTo>
                  <a:cubicBezTo>
                    <a:pt x="30574" y="37204"/>
                    <a:pt x="30334" y="37204"/>
                    <a:pt x="30454" y="37050"/>
                  </a:cubicBezTo>
                  <a:cubicBezTo>
                    <a:pt x="30248" y="36449"/>
                    <a:pt x="29561" y="36242"/>
                    <a:pt x="29423" y="35607"/>
                  </a:cubicBezTo>
                  <a:cubicBezTo>
                    <a:pt x="29578" y="35607"/>
                    <a:pt x="29612" y="35487"/>
                    <a:pt x="29630" y="35298"/>
                  </a:cubicBezTo>
                  <a:cubicBezTo>
                    <a:pt x="29647" y="35109"/>
                    <a:pt x="29767" y="35298"/>
                    <a:pt x="29819" y="35298"/>
                  </a:cubicBezTo>
                  <a:cubicBezTo>
                    <a:pt x="29741" y="35301"/>
                    <a:pt x="29670" y="35252"/>
                    <a:pt x="29647" y="35177"/>
                  </a:cubicBezTo>
                  <a:cubicBezTo>
                    <a:pt x="29767" y="35177"/>
                    <a:pt x="29750" y="35057"/>
                    <a:pt x="29647" y="35040"/>
                  </a:cubicBezTo>
                  <a:cubicBezTo>
                    <a:pt x="29897" y="34793"/>
                    <a:pt x="29972" y="34419"/>
                    <a:pt x="29836" y="34095"/>
                  </a:cubicBezTo>
                  <a:cubicBezTo>
                    <a:pt x="29681" y="34198"/>
                    <a:pt x="29612" y="34095"/>
                    <a:pt x="29612" y="33906"/>
                  </a:cubicBezTo>
                  <a:cubicBezTo>
                    <a:pt x="29559" y="33957"/>
                    <a:pt x="29477" y="33957"/>
                    <a:pt x="29423" y="33906"/>
                  </a:cubicBezTo>
                  <a:cubicBezTo>
                    <a:pt x="29269" y="34095"/>
                    <a:pt x="28771" y="34078"/>
                    <a:pt x="28496" y="34044"/>
                  </a:cubicBezTo>
                  <a:cubicBezTo>
                    <a:pt x="28118" y="32807"/>
                    <a:pt x="26778" y="33529"/>
                    <a:pt x="25937" y="33821"/>
                  </a:cubicBezTo>
                  <a:cubicBezTo>
                    <a:pt x="24219" y="33305"/>
                    <a:pt x="23961" y="34490"/>
                    <a:pt x="22501" y="32687"/>
                  </a:cubicBezTo>
                  <a:cubicBezTo>
                    <a:pt x="22330" y="32687"/>
                    <a:pt x="22364" y="32429"/>
                    <a:pt x="22226" y="32361"/>
                  </a:cubicBezTo>
                  <a:cubicBezTo>
                    <a:pt x="22089" y="32292"/>
                    <a:pt x="22226" y="32240"/>
                    <a:pt x="22226" y="32137"/>
                  </a:cubicBezTo>
                  <a:cubicBezTo>
                    <a:pt x="22226" y="32034"/>
                    <a:pt x="21883" y="31897"/>
                    <a:pt x="21986" y="31828"/>
                  </a:cubicBezTo>
                  <a:cubicBezTo>
                    <a:pt x="21608" y="31828"/>
                    <a:pt x="21814" y="31485"/>
                    <a:pt x="21591" y="31536"/>
                  </a:cubicBezTo>
                  <a:cubicBezTo>
                    <a:pt x="21368" y="31588"/>
                    <a:pt x="21591" y="31450"/>
                    <a:pt x="21436" y="31450"/>
                  </a:cubicBezTo>
                  <a:lnTo>
                    <a:pt x="21436" y="31450"/>
                  </a:lnTo>
                  <a:lnTo>
                    <a:pt x="21436" y="31450"/>
                  </a:lnTo>
                  <a:cubicBezTo>
                    <a:pt x="21436" y="31450"/>
                    <a:pt x="21436" y="31450"/>
                    <a:pt x="21436" y="31347"/>
                  </a:cubicBezTo>
                  <a:cubicBezTo>
                    <a:pt x="21436" y="31244"/>
                    <a:pt x="21625" y="31347"/>
                    <a:pt x="21642" y="31347"/>
                  </a:cubicBezTo>
                  <a:cubicBezTo>
                    <a:pt x="21660" y="31347"/>
                    <a:pt x="21076" y="31347"/>
                    <a:pt x="21247" y="31158"/>
                  </a:cubicBezTo>
                  <a:cubicBezTo>
                    <a:pt x="21110" y="31158"/>
                    <a:pt x="21076" y="31158"/>
                    <a:pt x="21041" y="30986"/>
                  </a:cubicBezTo>
                  <a:cubicBezTo>
                    <a:pt x="21007" y="30815"/>
                    <a:pt x="21162" y="30986"/>
                    <a:pt x="21213" y="30986"/>
                  </a:cubicBezTo>
                  <a:cubicBezTo>
                    <a:pt x="21265" y="30986"/>
                    <a:pt x="21076" y="30986"/>
                    <a:pt x="21024" y="30986"/>
                  </a:cubicBezTo>
                  <a:cubicBezTo>
                    <a:pt x="20973" y="30986"/>
                    <a:pt x="21024" y="30849"/>
                    <a:pt x="21024" y="30780"/>
                  </a:cubicBezTo>
                  <a:cubicBezTo>
                    <a:pt x="21024" y="30712"/>
                    <a:pt x="21179" y="30935"/>
                    <a:pt x="21299" y="30780"/>
                  </a:cubicBezTo>
                  <a:cubicBezTo>
                    <a:pt x="21419" y="30626"/>
                    <a:pt x="21024" y="30694"/>
                    <a:pt x="21144" y="30626"/>
                  </a:cubicBezTo>
                  <a:lnTo>
                    <a:pt x="21144" y="30626"/>
                  </a:lnTo>
                  <a:cubicBezTo>
                    <a:pt x="21144" y="30626"/>
                    <a:pt x="20990" y="30368"/>
                    <a:pt x="20921" y="30299"/>
                  </a:cubicBezTo>
                  <a:cubicBezTo>
                    <a:pt x="21365" y="29847"/>
                    <a:pt x="21523" y="29187"/>
                    <a:pt x="21333" y="28582"/>
                  </a:cubicBezTo>
                  <a:cubicBezTo>
                    <a:pt x="21471" y="28582"/>
                    <a:pt x="21333" y="28393"/>
                    <a:pt x="21436" y="28358"/>
                  </a:cubicBezTo>
                  <a:cubicBezTo>
                    <a:pt x="21539" y="28324"/>
                    <a:pt x="21265" y="28255"/>
                    <a:pt x="21247" y="28135"/>
                  </a:cubicBezTo>
                  <a:lnTo>
                    <a:pt x="21247" y="28221"/>
                  </a:lnTo>
                  <a:cubicBezTo>
                    <a:pt x="21228" y="27927"/>
                    <a:pt x="21357" y="27644"/>
                    <a:pt x="21591" y="27465"/>
                  </a:cubicBezTo>
                  <a:cubicBezTo>
                    <a:pt x="21952" y="26297"/>
                    <a:pt x="23103" y="25833"/>
                    <a:pt x="23927" y="25043"/>
                  </a:cubicBezTo>
                  <a:cubicBezTo>
                    <a:pt x="23935" y="24883"/>
                    <a:pt x="23935" y="24723"/>
                    <a:pt x="23927" y="24562"/>
                  </a:cubicBezTo>
                  <a:cubicBezTo>
                    <a:pt x="23927" y="24373"/>
                    <a:pt x="24288" y="24288"/>
                    <a:pt x="24133" y="24081"/>
                  </a:cubicBezTo>
                  <a:cubicBezTo>
                    <a:pt x="24677" y="23812"/>
                    <a:pt x="25139" y="23403"/>
                    <a:pt x="25473" y="22896"/>
                  </a:cubicBezTo>
                  <a:cubicBezTo>
                    <a:pt x="25473" y="23240"/>
                    <a:pt x="26005" y="23223"/>
                    <a:pt x="26194" y="23102"/>
                  </a:cubicBezTo>
                  <a:cubicBezTo>
                    <a:pt x="26521" y="23497"/>
                    <a:pt x="27225" y="22828"/>
                    <a:pt x="27586" y="22725"/>
                  </a:cubicBezTo>
                  <a:cubicBezTo>
                    <a:pt x="27946" y="22621"/>
                    <a:pt x="28771" y="22725"/>
                    <a:pt x="29063" y="22587"/>
                  </a:cubicBezTo>
                  <a:cubicBezTo>
                    <a:pt x="29355" y="22450"/>
                    <a:pt x="29286" y="22828"/>
                    <a:pt x="29372" y="22587"/>
                  </a:cubicBezTo>
                  <a:cubicBezTo>
                    <a:pt x="29647" y="22828"/>
                    <a:pt x="29939" y="22450"/>
                    <a:pt x="30162" y="22587"/>
                  </a:cubicBezTo>
                  <a:cubicBezTo>
                    <a:pt x="30162" y="22398"/>
                    <a:pt x="30299" y="22725"/>
                    <a:pt x="30385" y="22776"/>
                  </a:cubicBezTo>
                  <a:cubicBezTo>
                    <a:pt x="30746" y="22415"/>
                    <a:pt x="30488" y="22862"/>
                    <a:pt x="30385" y="23017"/>
                  </a:cubicBezTo>
                  <a:cubicBezTo>
                    <a:pt x="31021" y="23446"/>
                    <a:pt x="29956" y="23618"/>
                    <a:pt x="30385" y="23910"/>
                  </a:cubicBezTo>
                  <a:cubicBezTo>
                    <a:pt x="30385" y="23910"/>
                    <a:pt x="30385" y="23910"/>
                    <a:pt x="30506" y="23910"/>
                  </a:cubicBezTo>
                  <a:cubicBezTo>
                    <a:pt x="30626" y="23910"/>
                    <a:pt x="30506" y="23824"/>
                    <a:pt x="30506" y="23910"/>
                  </a:cubicBezTo>
                  <a:cubicBezTo>
                    <a:pt x="30677" y="24322"/>
                    <a:pt x="31313" y="24013"/>
                    <a:pt x="31622" y="24236"/>
                  </a:cubicBezTo>
                  <a:cubicBezTo>
                    <a:pt x="34851" y="26469"/>
                    <a:pt x="32343" y="23566"/>
                    <a:pt x="34473" y="24236"/>
                  </a:cubicBezTo>
                  <a:cubicBezTo>
                    <a:pt x="34834" y="24580"/>
                    <a:pt x="35641" y="24477"/>
                    <a:pt x="36191" y="24700"/>
                  </a:cubicBezTo>
                  <a:cubicBezTo>
                    <a:pt x="36741" y="24923"/>
                    <a:pt x="36724" y="24597"/>
                    <a:pt x="37084" y="24494"/>
                  </a:cubicBezTo>
                  <a:cubicBezTo>
                    <a:pt x="36844" y="24580"/>
                    <a:pt x="37084" y="24494"/>
                    <a:pt x="37187" y="24494"/>
                  </a:cubicBezTo>
                  <a:cubicBezTo>
                    <a:pt x="37290" y="24494"/>
                    <a:pt x="37187" y="24494"/>
                    <a:pt x="37187" y="24494"/>
                  </a:cubicBezTo>
                  <a:cubicBezTo>
                    <a:pt x="37187" y="24494"/>
                    <a:pt x="37411" y="24494"/>
                    <a:pt x="37462" y="24494"/>
                  </a:cubicBezTo>
                  <a:cubicBezTo>
                    <a:pt x="37514" y="24494"/>
                    <a:pt x="37565" y="24614"/>
                    <a:pt x="37565" y="24665"/>
                  </a:cubicBezTo>
                  <a:cubicBezTo>
                    <a:pt x="37565" y="24717"/>
                    <a:pt x="37565" y="24562"/>
                    <a:pt x="37565" y="24494"/>
                  </a:cubicBezTo>
                  <a:cubicBezTo>
                    <a:pt x="38733" y="24889"/>
                    <a:pt x="38338" y="22776"/>
                    <a:pt x="38407" y="22381"/>
                  </a:cubicBezTo>
                  <a:cubicBezTo>
                    <a:pt x="38218" y="22536"/>
                    <a:pt x="37892" y="22381"/>
                    <a:pt x="37840" y="22656"/>
                  </a:cubicBezTo>
                  <a:cubicBezTo>
                    <a:pt x="37496" y="23051"/>
                    <a:pt x="36775" y="22106"/>
                    <a:pt x="36775" y="22656"/>
                  </a:cubicBezTo>
                  <a:cubicBezTo>
                    <a:pt x="36620" y="22656"/>
                    <a:pt x="36225" y="22828"/>
                    <a:pt x="36277" y="22536"/>
                  </a:cubicBezTo>
                  <a:cubicBezTo>
                    <a:pt x="36277" y="22536"/>
                    <a:pt x="36277" y="22536"/>
                    <a:pt x="36140" y="22536"/>
                  </a:cubicBezTo>
                  <a:cubicBezTo>
                    <a:pt x="36002" y="22536"/>
                    <a:pt x="35951" y="22690"/>
                    <a:pt x="35933" y="22536"/>
                  </a:cubicBezTo>
                  <a:lnTo>
                    <a:pt x="35727" y="22536"/>
                  </a:lnTo>
                  <a:cubicBezTo>
                    <a:pt x="35727" y="22450"/>
                    <a:pt x="35951" y="22536"/>
                    <a:pt x="35951" y="22398"/>
                  </a:cubicBezTo>
                  <a:cubicBezTo>
                    <a:pt x="35951" y="22261"/>
                    <a:pt x="35556" y="22501"/>
                    <a:pt x="35762" y="22398"/>
                  </a:cubicBezTo>
                  <a:cubicBezTo>
                    <a:pt x="35521" y="22244"/>
                    <a:pt x="35762" y="22106"/>
                    <a:pt x="35401" y="22020"/>
                  </a:cubicBezTo>
                  <a:cubicBezTo>
                    <a:pt x="35040" y="21934"/>
                    <a:pt x="35401" y="21883"/>
                    <a:pt x="35401" y="21831"/>
                  </a:cubicBezTo>
                  <a:cubicBezTo>
                    <a:pt x="35401" y="21780"/>
                    <a:pt x="35401" y="21952"/>
                    <a:pt x="35573" y="21831"/>
                  </a:cubicBezTo>
                  <a:lnTo>
                    <a:pt x="35573" y="21831"/>
                  </a:lnTo>
                  <a:cubicBezTo>
                    <a:pt x="35573" y="21831"/>
                    <a:pt x="35710" y="21831"/>
                    <a:pt x="35676" y="21694"/>
                  </a:cubicBezTo>
                  <a:cubicBezTo>
                    <a:pt x="35641" y="21557"/>
                    <a:pt x="35504" y="21522"/>
                    <a:pt x="35676" y="21488"/>
                  </a:cubicBezTo>
                  <a:cubicBezTo>
                    <a:pt x="35195" y="21660"/>
                    <a:pt x="35435" y="20938"/>
                    <a:pt x="35779" y="21179"/>
                  </a:cubicBezTo>
                  <a:cubicBezTo>
                    <a:pt x="35779" y="21041"/>
                    <a:pt x="36071" y="21179"/>
                    <a:pt x="36225" y="21179"/>
                  </a:cubicBezTo>
                  <a:cubicBezTo>
                    <a:pt x="35916" y="21058"/>
                    <a:pt x="36363" y="21076"/>
                    <a:pt x="36397" y="20990"/>
                  </a:cubicBezTo>
                  <a:cubicBezTo>
                    <a:pt x="35676" y="20766"/>
                    <a:pt x="36775" y="20869"/>
                    <a:pt x="36827" y="20784"/>
                  </a:cubicBezTo>
                  <a:cubicBezTo>
                    <a:pt x="36964" y="20406"/>
                    <a:pt x="37479" y="20457"/>
                    <a:pt x="37788" y="20371"/>
                  </a:cubicBezTo>
                  <a:cubicBezTo>
                    <a:pt x="37788" y="20543"/>
                    <a:pt x="37960" y="20560"/>
                    <a:pt x="38063" y="20371"/>
                  </a:cubicBezTo>
                  <a:cubicBezTo>
                    <a:pt x="38166" y="20182"/>
                    <a:pt x="38201" y="20663"/>
                    <a:pt x="38287" y="20526"/>
                  </a:cubicBezTo>
                  <a:cubicBezTo>
                    <a:pt x="40760" y="21024"/>
                    <a:pt x="38991" y="19324"/>
                    <a:pt x="37857" y="19049"/>
                  </a:cubicBezTo>
                  <a:cubicBezTo>
                    <a:pt x="37857" y="19049"/>
                    <a:pt x="37857" y="19049"/>
                    <a:pt x="37857" y="18911"/>
                  </a:cubicBezTo>
                  <a:cubicBezTo>
                    <a:pt x="37857" y="18774"/>
                    <a:pt x="38063" y="18911"/>
                    <a:pt x="37977" y="18791"/>
                  </a:cubicBezTo>
                  <a:cubicBezTo>
                    <a:pt x="37892" y="18671"/>
                    <a:pt x="38201" y="18637"/>
                    <a:pt x="37977" y="18551"/>
                  </a:cubicBezTo>
                  <a:cubicBezTo>
                    <a:pt x="37754" y="18465"/>
                    <a:pt x="37874" y="18551"/>
                    <a:pt x="37857" y="18448"/>
                  </a:cubicBezTo>
                  <a:cubicBezTo>
                    <a:pt x="37840" y="18345"/>
                    <a:pt x="38029" y="18448"/>
                    <a:pt x="38029" y="18448"/>
                  </a:cubicBezTo>
                  <a:cubicBezTo>
                    <a:pt x="38029" y="18448"/>
                    <a:pt x="38166" y="18310"/>
                    <a:pt x="38132" y="18224"/>
                  </a:cubicBezTo>
                  <a:cubicBezTo>
                    <a:pt x="38098" y="18138"/>
                    <a:pt x="37651" y="18224"/>
                    <a:pt x="37548" y="18499"/>
                  </a:cubicBezTo>
                  <a:cubicBezTo>
                    <a:pt x="37548" y="18499"/>
                    <a:pt x="37445" y="18585"/>
                    <a:pt x="37359" y="18499"/>
                  </a:cubicBezTo>
                  <a:cubicBezTo>
                    <a:pt x="37273" y="18413"/>
                    <a:pt x="37256" y="18499"/>
                    <a:pt x="37204" y="18499"/>
                  </a:cubicBezTo>
                  <a:cubicBezTo>
                    <a:pt x="37153" y="18499"/>
                    <a:pt x="37204" y="18774"/>
                    <a:pt x="37204" y="18705"/>
                  </a:cubicBezTo>
                  <a:cubicBezTo>
                    <a:pt x="37204" y="18637"/>
                    <a:pt x="37204" y="18585"/>
                    <a:pt x="37204" y="18568"/>
                  </a:cubicBezTo>
                  <a:cubicBezTo>
                    <a:pt x="37204" y="18551"/>
                    <a:pt x="36964" y="18722"/>
                    <a:pt x="36878" y="18791"/>
                  </a:cubicBezTo>
                  <a:cubicBezTo>
                    <a:pt x="36792" y="18860"/>
                    <a:pt x="37170" y="18791"/>
                    <a:pt x="37136" y="18946"/>
                  </a:cubicBezTo>
                  <a:cubicBezTo>
                    <a:pt x="37101" y="19100"/>
                    <a:pt x="37136" y="18946"/>
                    <a:pt x="37136" y="18946"/>
                  </a:cubicBezTo>
                  <a:cubicBezTo>
                    <a:pt x="37136" y="18946"/>
                    <a:pt x="37136" y="19066"/>
                    <a:pt x="37325" y="19049"/>
                  </a:cubicBezTo>
                  <a:cubicBezTo>
                    <a:pt x="37514" y="19032"/>
                    <a:pt x="37016" y="18825"/>
                    <a:pt x="37084" y="18705"/>
                  </a:cubicBezTo>
                  <a:cubicBezTo>
                    <a:pt x="37153" y="18585"/>
                    <a:pt x="37273" y="18980"/>
                    <a:pt x="37393" y="19014"/>
                  </a:cubicBezTo>
                  <a:cubicBezTo>
                    <a:pt x="37514" y="19049"/>
                    <a:pt x="37393" y="19014"/>
                    <a:pt x="37514" y="19014"/>
                  </a:cubicBezTo>
                  <a:cubicBezTo>
                    <a:pt x="37634" y="19014"/>
                    <a:pt x="37617" y="18929"/>
                    <a:pt x="37685" y="18929"/>
                  </a:cubicBezTo>
                  <a:cubicBezTo>
                    <a:pt x="37754" y="18929"/>
                    <a:pt x="37685" y="19152"/>
                    <a:pt x="37462" y="19100"/>
                  </a:cubicBezTo>
                  <a:cubicBezTo>
                    <a:pt x="37239" y="19049"/>
                    <a:pt x="36861" y="19650"/>
                    <a:pt x="36912" y="19100"/>
                  </a:cubicBezTo>
                  <a:cubicBezTo>
                    <a:pt x="36775" y="18980"/>
                    <a:pt x="36466" y="19100"/>
                    <a:pt x="36758" y="18860"/>
                  </a:cubicBezTo>
                  <a:cubicBezTo>
                    <a:pt x="37050" y="18619"/>
                    <a:pt x="36620" y="18602"/>
                    <a:pt x="36500" y="18740"/>
                  </a:cubicBezTo>
                  <a:cubicBezTo>
                    <a:pt x="36380" y="18877"/>
                    <a:pt x="36311" y="18740"/>
                    <a:pt x="36380" y="18619"/>
                  </a:cubicBezTo>
                  <a:cubicBezTo>
                    <a:pt x="36449" y="18499"/>
                    <a:pt x="36191" y="18619"/>
                    <a:pt x="36157" y="18619"/>
                  </a:cubicBezTo>
                  <a:cubicBezTo>
                    <a:pt x="36122" y="18619"/>
                    <a:pt x="36380" y="18619"/>
                    <a:pt x="36449" y="18619"/>
                  </a:cubicBezTo>
                  <a:cubicBezTo>
                    <a:pt x="36396" y="18670"/>
                    <a:pt x="36313" y="18670"/>
                    <a:pt x="36260" y="18619"/>
                  </a:cubicBezTo>
                  <a:cubicBezTo>
                    <a:pt x="36260" y="18791"/>
                    <a:pt x="36122" y="18619"/>
                    <a:pt x="36088" y="18740"/>
                  </a:cubicBezTo>
                  <a:cubicBezTo>
                    <a:pt x="36054" y="18860"/>
                    <a:pt x="36088" y="18929"/>
                    <a:pt x="35916" y="18946"/>
                  </a:cubicBezTo>
                  <a:cubicBezTo>
                    <a:pt x="35744" y="18963"/>
                    <a:pt x="35916" y="19221"/>
                    <a:pt x="35796" y="19083"/>
                  </a:cubicBezTo>
                  <a:cubicBezTo>
                    <a:pt x="35916" y="19392"/>
                    <a:pt x="35796" y="19409"/>
                    <a:pt x="35607" y="19598"/>
                  </a:cubicBezTo>
                  <a:cubicBezTo>
                    <a:pt x="35418" y="19787"/>
                    <a:pt x="35607" y="19856"/>
                    <a:pt x="35607" y="19993"/>
                  </a:cubicBezTo>
                  <a:cubicBezTo>
                    <a:pt x="35607" y="20131"/>
                    <a:pt x="35401" y="20097"/>
                    <a:pt x="35470" y="20251"/>
                  </a:cubicBezTo>
                  <a:cubicBezTo>
                    <a:pt x="35538" y="20406"/>
                    <a:pt x="35607" y="20440"/>
                    <a:pt x="35607" y="20698"/>
                  </a:cubicBezTo>
                  <a:cubicBezTo>
                    <a:pt x="35607" y="20955"/>
                    <a:pt x="36054" y="20835"/>
                    <a:pt x="35899" y="20990"/>
                  </a:cubicBezTo>
                  <a:cubicBezTo>
                    <a:pt x="35744" y="21144"/>
                    <a:pt x="35435" y="21144"/>
                    <a:pt x="35212" y="21333"/>
                  </a:cubicBezTo>
                  <a:cubicBezTo>
                    <a:pt x="35212" y="21230"/>
                    <a:pt x="35212" y="21179"/>
                    <a:pt x="35315" y="21144"/>
                  </a:cubicBezTo>
                  <a:cubicBezTo>
                    <a:pt x="35109" y="21144"/>
                    <a:pt x="34851" y="20887"/>
                    <a:pt x="34731" y="21144"/>
                  </a:cubicBezTo>
                  <a:cubicBezTo>
                    <a:pt x="34559" y="21144"/>
                    <a:pt x="34611" y="21144"/>
                    <a:pt x="34491" y="21230"/>
                  </a:cubicBezTo>
                  <a:cubicBezTo>
                    <a:pt x="34370" y="21316"/>
                    <a:pt x="34491" y="21333"/>
                    <a:pt x="34611" y="21385"/>
                  </a:cubicBezTo>
                  <a:cubicBezTo>
                    <a:pt x="34731" y="21436"/>
                    <a:pt x="34422" y="21299"/>
                    <a:pt x="34439" y="21385"/>
                  </a:cubicBezTo>
                  <a:cubicBezTo>
                    <a:pt x="34456" y="21471"/>
                    <a:pt x="34559" y="21385"/>
                    <a:pt x="34439" y="21471"/>
                  </a:cubicBezTo>
                  <a:cubicBezTo>
                    <a:pt x="34319" y="21557"/>
                    <a:pt x="34164" y="21350"/>
                    <a:pt x="34439" y="21471"/>
                  </a:cubicBezTo>
                  <a:cubicBezTo>
                    <a:pt x="34302" y="21471"/>
                    <a:pt x="34250" y="21333"/>
                    <a:pt x="34164" y="21282"/>
                  </a:cubicBezTo>
                  <a:cubicBezTo>
                    <a:pt x="34078" y="21230"/>
                    <a:pt x="33924" y="21402"/>
                    <a:pt x="34164" y="21522"/>
                  </a:cubicBezTo>
                  <a:cubicBezTo>
                    <a:pt x="34405" y="21642"/>
                    <a:pt x="34542" y="21986"/>
                    <a:pt x="34164" y="21728"/>
                  </a:cubicBezTo>
                  <a:cubicBezTo>
                    <a:pt x="34164" y="21728"/>
                    <a:pt x="34164" y="21728"/>
                    <a:pt x="34164" y="21728"/>
                  </a:cubicBezTo>
                  <a:cubicBezTo>
                    <a:pt x="34164" y="21728"/>
                    <a:pt x="34164" y="21849"/>
                    <a:pt x="34164" y="21831"/>
                  </a:cubicBezTo>
                  <a:cubicBezTo>
                    <a:pt x="34353" y="21969"/>
                    <a:pt x="34680" y="22020"/>
                    <a:pt x="34662" y="22295"/>
                  </a:cubicBezTo>
                  <a:cubicBezTo>
                    <a:pt x="34542" y="22295"/>
                    <a:pt x="34473" y="22175"/>
                    <a:pt x="34336" y="22295"/>
                  </a:cubicBezTo>
                  <a:cubicBezTo>
                    <a:pt x="34199" y="22415"/>
                    <a:pt x="34645" y="22536"/>
                    <a:pt x="34456" y="22467"/>
                  </a:cubicBezTo>
                  <a:cubicBezTo>
                    <a:pt x="34267" y="22398"/>
                    <a:pt x="34456" y="22467"/>
                    <a:pt x="34456" y="22467"/>
                  </a:cubicBezTo>
                  <a:cubicBezTo>
                    <a:pt x="34456" y="22467"/>
                    <a:pt x="34456" y="22707"/>
                    <a:pt x="34456" y="22776"/>
                  </a:cubicBezTo>
                  <a:cubicBezTo>
                    <a:pt x="34456" y="22845"/>
                    <a:pt x="34216" y="22587"/>
                    <a:pt x="34250" y="22776"/>
                  </a:cubicBezTo>
                  <a:cubicBezTo>
                    <a:pt x="34250" y="22621"/>
                    <a:pt x="34147" y="22639"/>
                    <a:pt x="34078" y="22518"/>
                  </a:cubicBezTo>
                  <a:cubicBezTo>
                    <a:pt x="34010" y="22398"/>
                    <a:pt x="34078" y="22604"/>
                    <a:pt x="34078" y="22656"/>
                  </a:cubicBezTo>
                  <a:cubicBezTo>
                    <a:pt x="33988" y="22604"/>
                    <a:pt x="33946" y="22498"/>
                    <a:pt x="33975" y="22398"/>
                  </a:cubicBezTo>
                  <a:cubicBezTo>
                    <a:pt x="33855" y="22295"/>
                    <a:pt x="33666" y="22226"/>
                    <a:pt x="33855" y="22089"/>
                  </a:cubicBezTo>
                  <a:cubicBezTo>
                    <a:pt x="34044" y="21952"/>
                    <a:pt x="34199" y="22261"/>
                    <a:pt x="34353" y="22089"/>
                  </a:cubicBezTo>
                  <a:cubicBezTo>
                    <a:pt x="34216" y="22089"/>
                    <a:pt x="34061" y="21917"/>
                    <a:pt x="33958" y="22089"/>
                  </a:cubicBezTo>
                  <a:cubicBezTo>
                    <a:pt x="33855" y="22261"/>
                    <a:pt x="33838" y="21969"/>
                    <a:pt x="33786" y="22089"/>
                  </a:cubicBezTo>
                  <a:cubicBezTo>
                    <a:pt x="33546" y="21849"/>
                    <a:pt x="33374" y="21471"/>
                    <a:pt x="33065" y="21316"/>
                  </a:cubicBezTo>
                  <a:cubicBezTo>
                    <a:pt x="33065" y="21127"/>
                    <a:pt x="33065" y="20921"/>
                    <a:pt x="33065" y="20732"/>
                  </a:cubicBezTo>
                  <a:cubicBezTo>
                    <a:pt x="32859" y="20732"/>
                    <a:pt x="32739" y="20457"/>
                    <a:pt x="32584" y="20320"/>
                  </a:cubicBezTo>
                  <a:cubicBezTo>
                    <a:pt x="32429" y="20182"/>
                    <a:pt x="32326" y="20320"/>
                    <a:pt x="32275" y="20320"/>
                  </a:cubicBezTo>
                  <a:cubicBezTo>
                    <a:pt x="32223" y="20320"/>
                    <a:pt x="32275" y="20320"/>
                    <a:pt x="32395" y="20320"/>
                  </a:cubicBezTo>
                  <a:cubicBezTo>
                    <a:pt x="32515" y="20320"/>
                    <a:pt x="32103" y="20062"/>
                    <a:pt x="31931" y="20131"/>
                  </a:cubicBezTo>
                  <a:cubicBezTo>
                    <a:pt x="31759" y="20200"/>
                    <a:pt x="31416" y="19839"/>
                    <a:pt x="31742" y="19856"/>
                  </a:cubicBezTo>
                  <a:cubicBezTo>
                    <a:pt x="31347" y="19616"/>
                    <a:pt x="31536" y="19135"/>
                    <a:pt x="31175" y="19633"/>
                  </a:cubicBezTo>
                  <a:cubicBezTo>
                    <a:pt x="31175" y="19530"/>
                    <a:pt x="31038" y="19409"/>
                    <a:pt x="31175" y="19306"/>
                  </a:cubicBezTo>
                  <a:cubicBezTo>
                    <a:pt x="31313" y="19203"/>
                    <a:pt x="30832" y="19306"/>
                    <a:pt x="30746" y="19427"/>
                  </a:cubicBezTo>
                  <a:cubicBezTo>
                    <a:pt x="30746" y="19942"/>
                    <a:pt x="31347" y="20268"/>
                    <a:pt x="31656" y="20681"/>
                  </a:cubicBezTo>
                  <a:cubicBezTo>
                    <a:pt x="31811" y="20681"/>
                    <a:pt x="32223" y="20681"/>
                    <a:pt x="31983" y="20887"/>
                  </a:cubicBezTo>
                  <a:cubicBezTo>
                    <a:pt x="32223" y="21024"/>
                    <a:pt x="32979" y="21161"/>
                    <a:pt x="32807" y="21539"/>
                  </a:cubicBezTo>
                  <a:cubicBezTo>
                    <a:pt x="32653" y="21539"/>
                    <a:pt x="32807" y="21282"/>
                    <a:pt x="32532" y="21333"/>
                  </a:cubicBezTo>
                  <a:cubicBezTo>
                    <a:pt x="32258" y="21385"/>
                    <a:pt x="32258" y="21539"/>
                    <a:pt x="32309" y="21625"/>
                  </a:cubicBezTo>
                  <a:cubicBezTo>
                    <a:pt x="32670" y="21728"/>
                    <a:pt x="32309" y="21934"/>
                    <a:pt x="32309" y="22141"/>
                  </a:cubicBezTo>
                  <a:cubicBezTo>
                    <a:pt x="32309" y="22347"/>
                    <a:pt x="31845" y="22415"/>
                    <a:pt x="32086" y="22141"/>
                  </a:cubicBezTo>
                  <a:cubicBezTo>
                    <a:pt x="32197" y="21856"/>
                    <a:pt x="32069" y="21534"/>
                    <a:pt x="31794" y="21402"/>
                  </a:cubicBezTo>
                  <a:cubicBezTo>
                    <a:pt x="31639" y="21402"/>
                    <a:pt x="31794" y="21282"/>
                    <a:pt x="31656" y="21230"/>
                  </a:cubicBezTo>
                  <a:cubicBezTo>
                    <a:pt x="31518" y="21226"/>
                    <a:pt x="31393" y="21147"/>
                    <a:pt x="31330" y="21024"/>
                  </a:cubicBezTo>
                  <a:cubicBezTo>
                    <a:pt x="30317" y="21024"/>
                    <a:pt x="30145" y="18980"/>
                    <a:pt x="29080" y="20217"/>
                  </a:cubicBezTo>
                  <a:cubicBezTo>
                    <a:pt x="29080" y="20423"/>
                    <a:pt x="28736" y="20217"/>
                    <a:pt x="28633" y="20114"/>
                  </a:cubicBezTo>
                  <a:cubicBezTo>
                    <a:pt x="27568" y="19993"/>
                    <a:pt x="28633" y="20921"/>
                    <a:pt x="27448" y="21093"/>
                  </a:cubicBezTo>
                  <a:cubicBezTo>
                    <a:pt x="27534" y="21093"/>
                    <a:pt x="27448" y="21265"/>
                    <a:pt x="27448" y="21213"/>
                  </a:cubicBezTo>
                  <a:cubicBezTo>
                    <a:pt x="26744" y="21763"/>
                    <a:pt x="27448" y="21728"/>
                    <a:pt x="27191" y="22003"/>
                  </a:cubicBezTo>
                  <a:cubicBezTo>
                    <a:pt x="26950" y="22003"/>
                    <a:pt x="27070" y="22450"/>
                    <a:pt x="26847" y="22398"/>
                  </a:cubicBezTo>
                  <a:cubicBezTo>
                    <a:pt x="26418" y="22862"/>
                    <a:pt x="25919" y="22398"/>
                    <a:pt x="25421" y="22896"/>
                  </a:cubicBezTo>
                  <a:cubicBezTo>
                    <a:pt x="25095" y="22896"/>
                    <a:pt x="25147" y="22192"/>
                    <a:pt x="24700" y="22501"/>
                  </a:cubicBezTo>
                  <a:cubicBezTo>
                    <a:pt x="24700" y="22501"/>
                    <a:pt x="24494" y="22364"/>
                    <a:pt x="24408" y="22501"/>
                  </a:cubicBezTo>
                  <a:cubicBezTo>
                    <a:pt x="24426" y="22310"/>
                    <a:pt x="24460" y="22120"/>
                    <a:pt x="24511" y="21934"/>
                  </a:cubicBezTo>
                  <a:cubicBezTo>
                    <a:pt x="24185" y="21934"/>
                    <a:pt x="24511" y="21934"/>
                    <a:pt x="24511" y="21763"/>
                  </a:cubicBezTo>
                  <a:cubicBezTo>
                    <a:pt x="24099" y="22020"/>
                    <a:pt x="24614" y="21299"/>
                    <a:pt x="24631" y="21144"/>
                  </a:cubicBezTo>
                  <a:cubicBezTo>
                    <a:pt x="24648" y="20990"/>
                    <a:pt x="24631" y="20595"/>
                    <a:pt x="24734" y="20457"/>
                  </a:cubicBezTo>
                  <a:lnTo>
                    <a:pt x="24734" y="20457"/>
                  </a:lnTo>
                  <a:cubicBezTo>
                    <a:pt x="24734" y="20457"/>
                    <a:pt x="24734" y="20457"/>
                    <a:pt x="24734" y="20337"/>
                  </a:cubicBezTo>
                  <a:cubicBezTo>
                    <a:pt x="24734" y="20217"/>
                    <a:pt x="24734" y="20337"/>
                    <a:pt x="24734" y="20234"/>
                  </a:cubicBezTo>
                  <a:cubicBezTo>
                    <a:pt x="24734" y="20131"/>
                    <a:pt x="24940" y="20097"/>
                    <a:pt x="25026" y="20045"/>
                  </a:cubicBezTo>
                  <a:cubicBezTo>
                    <a:pt x="25112" y="19993"/>
                    <a:pt x="25404" y="20045"/>
                    <a:pt x="25490" y="20045"/>
                  </a:cubicBezTo>
                  <a:cubicBezTo>
                    <a:pt x="25851" y="20045"/>
                    <a:pt x="26246" y="20217"/>
                    <a:pt x="26607" y="20131"/>
                  </a:cubicBezTo>
                  <a:cubicBezTo>
                    <a:pt x="27242" y="20629"/>
                    <a:pt x="26847" y="18911"/>
                    <a:pt x="27276" y="19564"/>
                  </a:cubicBezTo>
                  <a:cubicBezTo>
                    <a:pt x="27276" y="19461"/>
                    <a:pt x="27173" y="19306"/>
                    <a:pt x="27053" y="19289"/>
                  </a:cubicBezTo>
                  <a:cubicBezTo>
                    <a:pt x="27225" y="19066"/>
                    <a:pt x="26899" y="19014"/>
                    <a:pt x="26813" y="18860"/>
                  </a:cubicBezTo>
                  <a:cubicBezTo>
                    <a:pt x="26727" y="18705"/>
                    <a:pt x="26813" y="18619"/>
                    <a:pt x="26950" y="18722"/>
                  </a:cubicBezTo>
                  <a:cubicBezTo>
                    <a:pt x="26847" y="18568"/>
                    <a:pt x="26727" y="18825"/>
                    <a:pt x="26727" y="18551"/>
                  </a:cubicBezTo>
                  <a:cubicBezTo>
                    <a:pt x="26607" y="18551"/>
                    <a:pt x="26400" y="18345"/>
                    <a:pt x="26229" y="18465"/>
                  </a:cubicBezTo>
                  <a:cubicBezTo>
                    <a:pt x="26057" y="18585"/>
                    <a:pt x="26229" y="18465"/>
                    <a:pt x="26229" y="18345"/>
                  </a:cubicBezTo>
                  <a:cubicBezTo>
                    <a:pt x="26229" y="18224"/>
                    <a:pt x="26332" y="18190"/>
                    <a:pt x="26229" y="18345"/>
                  </a:cubicBezTo>
                  <a:cubicBezTo>
                    <a:pt x="26126" y="18499"/>
                    <a:pt x="26229" y="18345"/>
                    <a:pt x="26229" y="18345"/>
                  </a:cubicBezTo>
                  <a:cubicBezTo>
                    <a:pt x="25851" y="18224"/>
                    <a:pt x="26435" y="18207"/>
                    <a:pt x="26555" y="18121"/>
                  </a:cubicBezTo>
                  <a:cubicBezTo>
                    <a:pt x="26692" y="18293"/>
                    <a:pt x="26795" y="18121"/>
                    <a:pt x="27019" y="18241"/>
                  </a:cubicBezTo>
                  <a:cubicBezTo>
                    <a:pt x="26989" y="18096"/>
                    <a:pt x="26949" y="17952"/>
                    <a:pt x="26899" y="17812"/>
                  </a:cubicBezTo>
                  <a:cubicBezTo>
                    <a:pt x="26899" y="17812"/>
                    <a:pt x="27053" y="17812"/>
                    <a:pt x="27105" y="17812"/>
                  </a:cubicBezTo>
                  <a:cubicBezTo>
                    <a:pt x="27156" y="17812"/>
                    <a:pt x="27397" y="18001"/>
                    <a:pt x="27500" y="17812"/>
                  </a:cubicBezTo>
                  <a:cubicBezTo>
                    <a:pt x="27259" y="17623"/>
                    <a:pt x="27775" y="17709"/>
                    <a:pt x="27775" y="17606"/>
                  </a:cubicBezTo>
                  <a:cubicBezTo>
                    <a:pt x="27775" y="17503"/>
                    <a:pt x="27860" y="17383"/>
                    <a:pt x="27895" y="17280"/>
                  </a:cubicBezTo>
                  <a:cubicBezTo>
                    <a:pt x="27929" y="17177"/>
                    <a:pt x="28204" y="16988"/>
                    <a:pt x="28444" y="17125"/>
                  </a:cubicBezTo>
                  <a:cubicBezTo>
                    <a:pt x="28273" y="17125"/>
                    <a:pt x="28221" y="16919"/>
                    <a:pt x="28444" y="17125"/>
                  </a:cubicBezTo>
                  <a:cubicBezTo>
                    <a:pt x="28668" y="17331"/>
                    <a:pt x="28324" y="17005"/>
                    <a:pt x="28547" y="17022"/>
                  </a:cubicBezTo>
                  <a:cubicBezTo>
                    <a:pt x="28187" y="16764"/>
                    <a:pt x="28925" y="16112"/>
                    <a:pt x="29286" y="16438"/>
                  </a:cubicBezTo>
                  <a:cubicBezTo>
                    <a:pt x="29028" y="16249"/>
                    <a:pt x="29389" y="16112"/>
                    <a:pt x="29458" y="16438"/>
                  </a:cubicBezTo>
                  <a:cubicBezTo>
                    <a:pt x="29458" y="16197"/>
                    <a:pt x="29458" y="16438"/>
                    <a:pt x="29595" y="16438"/>
                  </a:cubicBezTo>
                  <a:cubicBezTo>
                    <a:pt x="29441" y="16026"/>
                    <a:pt x="29750" y="16232"/>
                    <a:pt x="29956" y="16301"/>
                  </a:cubicBezTo>
                  <a:cubicBezTo>
                    <a:pt x="29389" y="16043"/>
                    <a:pt x="29544" y="15493"/>
                    <a:pt x="29389" y="15115"/>
                  </a:cubicBezTo>
                  <a:cubicBezTo>
                    <a:pt x="29630" y="15115"/>
                    <a:pt x="29527" y="14961"/>
                    <a:pt x="29664" y="15115"/>
                  </a:cubicBezTo>
                  <a:cubicBezTo>
                    <a:pt x="29664" y="14634"/>
                    <a:pt x="29836" y="15115"/>
                    <a:pt x="30025" y="15115"/>
                  </a:cubicBezTo>
                  <a:cubicBezTo>
                    <a:pt x="30025" y="15373"/>
                    <a:pt x="29527" y="15528"/>
                    <a:pt x="29922" y="16009"/>
                  </a:cubicBezTo>
                  <a:cubicBezTo>
                    <a:pt x="29922" y="15888"/>
                    <a:pt x="30334" y="16009"/>
                    <a:pt x="30059" y="16094"/>
                  </a:cubicBezTo>
                  <a:cubicBezTo>
                    <a:pt x="30591" y="16094"/>
                    <a:pt x="30385" y="15768"/>
                    <a:pt x="30883" y="16094"/>
                  </a:cubicBezTo>
                  <a:cubicBezTo>
                    <a:pt x="31124" y="16472"/>
                    <a:pt x="31656" y="15356"/>
                    <a:pt x="32103" y="15768"/>
                  </a:cubicBezTo>
                  <a:cubicBezTo>
                    <a:pt x="31828" y="15768"/>
                    <a:pt x="32103" y="16043"/>
                    <a:pt x="32326" y="15768"/>
                  </a:cubicBezTo>
                  <a:cubicBezTo>
                    <a:pt x="32299" y="15829"/>
                    <a:pt x="32250" y="15878"/>
                    <a:pt x="32189" y="15905"/>
                  </a:cubicBezTo>
                  <a:cubicBezTo>
                    <a:pt x="34078" y="15820"/>
                    <a:pt x="31656" y="15270"/>
                    <a:pt x="32704" y="14497"/>
                  </a:cubicBezTo>
                  <a:cubicBezTo>
                    <a:pt x="33082" y="15081"/>
                    <a:pt x="33202" y="14686"/>
                    <a:pt x="33031" y="14222"/>
                  </a:cubicBezTo>
                  <a:cubicBezTo>
                    <a:pt x="33031" y="14428"/>
                    <a:pt x="32739" y="14222"/>
                    <a:pt x="32842" y="14068"/>
                  </a:cubicBezTo>
                  <a:cubicBezTo>
                    <a:pt x="32532" y="14068"/>
                    <a:pt x="32842" y="13758"/>
                    <a:pt x="32842" y="13690"/>
                  </a:cubicBezTo>
                  <a:cubicBezTo>
                    <a:pt x="32842" y="13621"/>
                    <a:pt x="33082" y="13690"/>
                    <a:pt x="32979" y="13690"/>
                  </a:cubicBezTo>
                  <a:lnTo>
                    <a:pt x="33615" y="13793"/>
                  </a:lnTo>
                  <a:cubicBezTo>
                    <a:pt x="33426" y="13501"/>
                    <a:pt x="33615" y="13690"/>
                    <a:pt x="33752" y="13466"/>
                  </a:cubicBezTo>
                  <a:cubicBezTo>
                    <a:pt x="33889" y="13243"/>
                    <a:pt x="33305" y="13363"/>
                    <a:pt x="33546" y="13192"/>
                  </a:cubicBezTo>
                  <a:cubicBezTo>
                    <a:pt x="33546" y="13192"/>
                    <a:pt x="33426" y="13295"/>
                    <a:pt x="33408" y="13192"/>
                  </a:cubicBezTo>
                  <a:cubicBezTo>
                    <a:pt x="33408" y="13346"/>
                    <a:pt x="33099" y="13363"/>
                    <a:pt x="33031" y="13312"/>
                  </a:cubicBezTo>
                  <a:cubicBezTo>
                    <a:pt x="32962" y="13260"/>
                    <a:pt x="33031" y="13312"/>
                    <a:pt x="33031" y="13312"/>
                  </a:cubicBezTo>
                  <a:cubicBezTo>
                    <a:pt x="33031" y="13312"/>
                    <a:pt x="33031" y="13552"/>
                    <a:pt x="33031" y="13312"/>
                  </a:cubicBezTo>
                  <a:cubicBezTo>
                    <a:pt x="33031" y="13449"/>
                    <a:pt x="32601" y="13466"/>
                    <a:pt x="32567" y="13621"/>
                  </a:cubicBezTo>
                  <a:cubicBezTo>
                    <a:pt x="32567" y="13312"/>
                    <a:pt x="32412" y="13415"/>
                    <a:pt x="32172" y="13260"/>
                  </a:cubicBezTo>
                  <a:cubicBezTo>
                    <a:pt x="31931" y="13106"/>
                    <a:pt x="31691" y="12144"/>
                    <a:pt x="31914" y="12058"/>
                  </a:cubicBezTo>
                  <a:cubicBezTo>
                    <a:pt x="32137" y="11972"/>
                    <a:pt x="31914" y="11972"/>
                    <a:pt x="32017" y="12058"/>
                  </a:cubicBezTo>
                  <a:cubicBezTo>
                    <a:pt x="32120" y="12144"/>
                    <a:pt x="32017" y="11921"/>
                    <a:pt x="32017" y="11817"/>
                  </a:cubicBezTo>
                  <a:cubicBezTo>
                    <a:pt x="32017" y="11714"/>
                    <a:pt x="32240" y="11354"/>
                    <a:pt x="32309" y="11457"/>
                  </a:cubicBezTo>
                  <a:cubicBezTo>
                    <a:pt x="32103" y="11010"/>
                    <a:pt x="31708" y="11148"/>
                    <a:pt x="31502" y="11182"/>
                  </a:cubicBezTo>
                  <a:cubicBezTo>
                    <a:pt x="31622" y="11354"/>
                    <a:pt x="31502" y="11577"/>
                    <a:pt x="31656" y="11714"/>
                  </a:cubicBezTo>
                  <a:cubicBezTo>
                    <a:pt x="31532" y="12056"/>
                    <a:pt x="31318" y="12359"/>
                    <a:pt x="31038" y="12590"/>
                  </a:cubicBezTo>
                  <a:cubicBezTo>
                    <a:pt x="31158" y="12676"/>
                    <a:pt x="31038" y="12848"/>
                    <a:pt x="31175" y="12968"/>
                  </a:cubicBezTo>
                  <a:cubicBezTo>
                    <a:pt x="30883" y="13123"/>
                    <a:pt x="32189" y="13999"/>
                    <a:pt x="31382" y="13793"/>
                  </a:cubicBezTo>
                  <a:cubicBezTo>
                    <a:pt x="31382" y="13793"/>
                    <a:pt x="30901" y="13793"/>
                    <a:pt x="31210" y="13913"/>
                  </a:cubicBezTo>
                  <a:cubicBezTo>
                    <a:pt x="31519" y="14033"/>
                    <a:pt x="31811" y="14119"/>
                    <a:pt x="31485" y="14050"/>
                  </a:cubicBezTo>
                  <a:cubicBezTo>
                    <a:pt x="31485" y="14050"/>
                    <a:pt x="31485" y="14257"/>
                    <a:pt x="31364" y="14188"/>
                  </a:cubicBezTo>
                  <a:cubicBezTo>
                    <a:pt x="31244" y="14119"/>
                    <a:pt x="31467" y="14325"/>
                    <a:pt x="31364" y="14342"/>
                  </a:cubicBezTo>
                  <a:cubicBezTo>
                    <a:pt x="31485" y="14342"/>
                    <a:pt x="31519" y="14600"/>
                    <a:pt x="31364" y="14514"/>
                  </a:cubicBezTo>
                  <a:cubicBezTo>
                    <a:pt x="31502" y="14789"/>
                    <a:pt x="31519" y="15510"/>
                    <a:pt x="31090" y="15236"/>
                  </a:cubicBezTo>
                  <a:cubicBezTo>
                    <a:pt x="30815" y="16301"/>
                    <a:pt x="30059" y="14153"/>
                    <a:pt x="30162" y="14050"/>
                  </a:cubicBezTo>
                  <a:cubicBezTo>
                    <a:pt x="29990" y="13947"/>
                    <a:pt x="29939" y="13844"/>
                    <a:pt x="29939" y="13810"/>
                  </a:cubicBezTo>
                  <a:cubicBezTo>
                    <a:pt x="29958" y="13906"/>
                    <a:pt x="29958" y="14006"/>
                    <a:pt x="29939" y="14102"/>
                  </a:cubicBezTo>
                  <a:cubicBezTo>
                    <a:pt x="29939" y="14102"/>
                    <a:pt x="29939" y="14102"/>
                    <a:pt x="29733" y="13965"/>
                  </a:cubicBezTo>
                  <a:cubicBezTo>
                    <a:pt x="29733" y="14119"/>
                    <a:pt x="29733" y="14360"/>
                    <a:pt x="29595" y="14291"/>
                  </a:cubicBezTo>
                  <a:cubicBezTo>
                    <a:pt x="29733" y="14463"/>
                    <a:pt x="29286" y="14583"/>
                    <a:pt x="29183" y="14428"/>
                  </a:cubicBezTo>
                  <a:cubicBezTo>
                    <a:pt x="29080" y="14549"/>
                    <a:pt x="28651" y="14050"/>
                    <a:pt x="29183" y="14102"/>
                  </a:cubicBezTo>
                  <a:cubicBezTo>
                    <a:pt x="28960" y="14102"/>
                    <a:pt x="29183" y="13999"/>
                    <a:pt x="29011" y="13879"/>
                  </a:cubicBezTo>
                  <a:cubicBezTo>
                    <a:pt x="29011" y="14188"/>
                    <a:pt x="28771" y="13690"/>
                    <a:pt x="29011" y="13879"/>
                  </a:cubicBezTo>
                  <a:cubicBezTo>
                    <a:pt x="29252" y="14068"/>
                    <a:pt x="29011" y="13879"/>
                    <a:pt x="29166" y="13776"/>
                  </a:cubicBezTo>
                  <a:cubicBezTo>
                    <a:pt x="28960" y="13776"/>
                    <a:pt x="29166" y="13449"/>
                    <a:pt x="29166" y="13655"/>
                  </a:cubicBezTo>
                  <a:cubicBezTo>
                    <a:pt x="29118" y="13609"/>
                    <a:pt x="29118" y="13533"/>
                    <a:pt x="29164" y="13485"/>
                  </a:cubicBezTo>
                  <a:cubicBezTo>
                    <a:pt x="29165" y="13485"/>
                    <a:pt x="29165" y="13484"/>
                    <a:pt x="29166" y="13484"/>
                  </a:cubicBezTo>
                  <a:cubicBezTo>
                    <a:pt x="28943" y="13569"/>
                    <a:pt x="28822" y="13724"/>
                    <a:pt x="28943" y="13484"/>
                  </a:cubicBezTo>
                  <a:cubicBezTo>
                    <a:pt x="28788" y="13484"/>
                    <a:pt x="28736" y="13569"/>
                    <a:pt x="28943" y="13381"/>
                  </a:cubicBezTo>
                  <a:cubicBezTo>
                    <a:pt x="28599" y="13243"/>
                    <a:pt x="29544" y="13484"/>
                    <a:pt x="29355" y="13157"/>
                  </a:cubicBezTo>
                  <a:cubicBezTo>
                    <a:pt x="29355" y="13329"/>
                    <a:pt x="28582" y="13295"/>
                    <a:pt x="28994" y="13157"/>
                  </a:cubicBezTo>
                  <a:cubicBezTo>
                    <a:pt x="28651" y="13157"/>
                    <a:pt x="28994" y="13037"/>
                    <a:pt x="29183" y="13020"/>
                  </a:cubicBezTo>
                  <a:cubicBezTo>
                    <a:pt x="28822" y="13020"/>
                    <a:pt x="28754" y="12831"/>
                    <a:pt x="29046" y="12917"/>
                  </a:cubicBezTo>
                  <a:cubicBezTo>
                    <a:pt x="28960" y="12917"/>
                    <a:pt x="29046" y="12779"/>
                    <a:pt x="29183" y="12917"/>
                  </a:cubicBezTo>
                  <a:lnTo>
                    <a:pt x="29183" y="12797"/>
                  </a:lnTo>
                  <a:cubicBezTo>
                    <a:pt x="29183" y="12797"/>
                    <a:pt x="29183" y="12797"/>
                    <a:pt x="29441" y="12797"/>
                  </a:cubicBezTo>
                  <a:cubicBezTo>
                    <a:pt x="29114" y="12797"/>
                    <a:pt x="29303" y="12590"/>
                    <a:pt x="29578" y="12797"/>
                  </a:cubicBezTo>
                  <a:cubicBezTo>
                    <a:pt x="29217" y="12505"/>
                    <a:pt x="29578" y="12797"/>
                    <a:pt x="29578" y="12676"/>
                  </a:cubicBezTo>
                  <a:cubicBezTo>
                    <a:pt x="29578" y="12556"/>
                    <a:pt x="29922" y="12213"/>
                    <a:pt x="29767" y="12676"/>
                  </a:cubicBezTo>
                  <a:cubicBezTo>
                    <a:pt x="30007" y="12539"/>
                    <a:pt x="29973" y="12539"/>
                    <a:pt x="30059" y="12298"/>
                  </a:cubicBezTo>
                  <a:cubicBezTo>
                    <a:pt x="30145" y="12058"/>
                    <a:pt x="29784" y="12814"/>
                    <a:pt x="29801" y="12419"/>
                  </a:cubicBezTo>
                  <a:cubicBezTo>
                    <a:pt x="29664" y="12522"/>
                    <a:pt x="29801" y="12161"/>
                    <a:pt x="29801" y="12195"/>
                  </a:cubicBezTo>
                  <a:cubicBezTo>
                    <a:pt x="29801" y="12230"/>
                    <a:pt x="29990" y="12006"/>
                    <a:pt x="30145" y="11766"/>
                  </a:cubicBezTo>
                  <a:cubicBezTo>
                    <a:pt x="29990" y="11886"/>
                    <a:pt x="30059" y="11525"/>
                    <a:pt x="30145" y="11611"/>
                  </a:cubicBezTo>
                  <a:cubicBezTo>
                    <a:pt x="30231" y="11697"/>
                    <a:pt x="30145" y="11440"/>
                    <a:pt x="30145" y="11525"/>
                  </a:cubicBezTo>
                  <a:cubicBezTo>
                    <a:pt x="30042" y="11319"/>
                    <a:pt x="30145" y="11440"/>
                    <a:pt x="30145" y="11337"/>
                  </a:cubicBezTo>
                  <a:cubicBezTo>
                    <a:pt x="29939" y="11337"/>
                    <a:pt x="30145" y="11233"/>
                    <a:pt x="30025" y="11148"/>
                  </a:cubicBezTo>
                  <a:cubicBezTo>
                    <a:pt x="29904" y="11062"/>
                    <a:pt x="30025" y="10821"/>
                    <a:pt x="30334" y="10976"/>
                  </a:cubicBezTo>
                  <a:cubicBezTo>
                    <a:pt x="30179" y="10890"/>
                    <a:pt x="30111" y="10735"/>
                    <a:pt x="30334" y="10838"/>
                  </a:cubicBezTo>
                  <a:cubicBezTo>
                    <a:pt x="30557" y="10941"/>
                    <a:pt x="30162" y="10701"/>
                    <a:pt x="30334" y="10684"/>
                  </a:cubicBezTo>
                  <a:cubicBezTo>
                    <a:pt x="30042" y="10684"/>
                    <a:pt x="30334" y="10684"/>
                    <a:pt x="30334" y="10478"/>
                  </a:cubicBezTo>
                  <a:cubicBezTo>
                    <a:pt x="30523" y="10478"/>
                    <a:pt x="30488" y="10478"/>
                    <a:pt x="30506" y="10478"/>
                  </a:cubicBezTo>
                  <a:cubicBezTo>
                    <a:pt x="30918" y="10564"/>
                    <a:pt x="30214" y="10323"/>
                    <a:pt x="30506" y="10323"/>
                  </a:cubicBezTo>
                  <a:cubicBezTo>
                    <a:pt x="30506" y="10323"/>
                    <a:pt x="30506" y="10220"/>
                    <a:pt x="30506" y="10220"/>
                  </a:cubicBezTo>
                  <a:cubicBezTo>
                    <a:pt x="30506" y="10220"/>
                    <a:pt x="30506" y="9911"/>
                    <a:pt x="30609" y="10117"/>
                  </a:cubicBezTo>
                  <a:cubicBezTo>
                    <a:pt x="30712" y="10323"/>
                    <a:pt x="30609" y="10117"/>
                    <a:pt x="30609" y="10117"/>
                  </a:cubicBezTo>
                  <a:cubicBezTo>
                    <a:pt x="30385" y="9980"/>
                    <a:pt x="30609" y="10014"/>
                    <a:pt x="30609" y="10117"/>
                  </a:cubicBezTo>
                  <a:cubicBezTo>
                    <a:pt x="30609" y="10220"/>
                    <a:pt x="30609" y="9773"/>
                    <a:pt x="30609" y="10117"/>
                  </a:cubicBezTo>
                  <a:cubicBezTo>
                    <a:pt x="30609" y="9670"/>
                    <a:pt x="30609" y="10237"/>
                    <a:pt x="30798" y="10117"/>
                  </a:cubicBezTo>
                  <a:cubicBezTo>
                    <a:pt x="30609" y="9773"/>
                    <a:pt x="31021" y="10117"/>
                    <a:pt x="30798" y="9739"/>
                  </a:cubicBezTo>
                  <a:cubicBezTo>
                    <a:pt x="30901" y="9739"/>
                    <a:pt x="31038" y="9911"/>
                    <a:pt x="31124" y="9894"/>
                  </a:cubicBezTo>
                  <a:cubicBezTo>
                    <a:pt x="31210" y="9877"/>
                    <a:pt x="31124" y="9602"/>
                    <a:pt x="31124" y="9619"/>
                  </a:cubicBezTo>
                  <a:cubicBezTo>
                    <a:pt x="31124" y="9636"/>
                    <a:pt x="30969" y="9464"/>
                    <a:pt x="31124" y="9619"/>
                  </a:cubicBezTo>
                  <a:cubicBezTo>
                    <a:pt x="31279" y="9773"/>
                    <a:pt x="31124" y="9499"/>
                    <a:pt x="31124" y="9619"/>
                  </a:cubicBezTo>
                  <a:cubicBezTo>
                    <a:pt x="31244" y="9447"/>
                    <a:pt x="31279" y="10426"/>
                    <a:pt x="31261" y="9619"/>
                  </a:cubicBezTo>
                  <a:cubicBezTo>
                    <a:pt x="31536" y="10134"/>
                    <a:pt x="31261" y="9516"/>
                    <a:pt x="31450" y="9499"/>
                  </a:cubicBezTo>
                  <a:cubicBezTo>
                    <a:pt x="31639" y="9481"/>
                    <a:pt x="31450" y="9653"/>
                    <a:pt x="31553" y="9842"/>
                  </a:cubicBezTo>
                  <a:cubicBezTo>
                    <a:pt x="31656" y="10031"/>
                    <a:pt x="31639" y="9842"/>
                    <a:pt x="31674" y="9842"/>
                  </a:cubicBezTo>
                  <a:cubicBezTo>
                    <a:pt x="31502" y="9499"/>
                    <a:pt x="31863" y="9688"/>
                    <a:pt x="31845" y="9842"/>
                  </a:cubicBezTo>
                  <a:cubicBezTo>
                    <a:pt x="32172" y="9842"/>
                    <a:pt x="32051" y="10134"/>
                    <a:pt x="31742" y="10031"/>
                  </a:cubicBezTo>
                  <a:cubicBezTo>
                    <a:pt x="31845" y="10031"/>
                    <a:pt x="31948" y="10031"/>
                    <a:pt x="32000" y="10220"/>
                  </a:cubicBezTo>
                  <a:cubicBezTo>
                    <a:pt x="32051" y="10409"/>
                    <a:pt x="32120" y="10083"/>
                    <a:pt x="32275" y="10220"/>
                  </a:cubicBezTo>
                  <a:cubicBezTo>
                    <a:pt x="32275" y="10100"/>
                    <a:pt x="32275" y="10117"/>
                    <a:pt x="32275" y="10048"/>
                  </a:cubicBezTo>
                  <a:cubicBezTo>
                    <a:pt x="32275" y="9980"/>
                    <a:pt x="32653" y="10306"/>
                    <a:pt x="32378" y="10048"/>
                  </a:cubicBezTo>
                  <a:cubicBezTo>
                    <a:pt x="32378" y="10237"/>
                    <a:pt x="32567" y="10048"/>
                    <a:pt x="32584" y="10220"/>
                  </a:cubicBezTo>
                  <a:cubicBezTo>
                    <a:pt x="32601" y="10392"/>
                    <a:pt x="33220" y="10220"/>
                    <a:pt x="33683" y="10529"/>
                  </a:cubicBezTo>
                  <a:cubicBezTo>
                    <a:pt x="33563" y="10392"/>
                    <a:pt x="34044" y="10735"/>
                    <a:pt x="33804" y="10529"/>
                  </a:cubicBezTo>
                  <a:cubicBezTo>
                    <a:pt x="34697" y="10838"/>
                    <a:pt x="34611" y="11852"/>
                    <a:pt x="33597" y="11354"/>
                  </a:cubicBezTo>
                  <a:cubicBezTo>
                    <a:pt x="33477" y="11354"/>
                    <a:pt x="33477" y="11354"/>
                    <a:pt x="33426" y="11354"/>
                  </a:cubicBezTo>
                  <a:cubicBezTo>
                    <a:pt x="33374" y="11354"/>
                    <a:pt x="32910" y="11096"/>
                    <a:pt x="33065" y="11354"/>
                  </a:cubicBezTo>
                  <a:cubicBezTo>
                    <a:pt x="33220" y="11611"/>
                    <a:pt x="33460" y="11491"/>
                    <a:pt x="33357" y="11663"/>
                  </a:cubicBezTo>
                  <a:cubicBezTo>
                    <a:pt x="33632" y="11663"/>
                    <a:pt x="34834" y="13277"/>
                    <a:pt x="34576" y="12333"/>
                  </a:cubicBezTo>
                  <a:cubicBezTo>
                    <a:pt x="34388" y="12505"/>
                    <a:pt x="34113" y="12058"/>
                    <a:pt x="34250" y="12006"/>
                  </a:cubicBezTo>
                  <a:cubicBezTo>
                    <a:pt x="35693" y="12917"/>
                    <a:pt x="33975" y="11148"/>
                    <a:pt x="34972" y="11474"/>
                  </a:cubicBezTo>
                  <a:cubicBezTo>
                    <a:pt x="34972" y="11337"/>
                    <a:pt x="35092" y="11474"/>
                    <a:pt x="35143" y="11474"/>
                  </a:cubicBezTo>
                  <a:cubicBezTo>
                    <a:pt x="34895" y="11040"/>
                    <a:pt x="34569" y="10656"/>
                    <a:pt x="34181" y="10340"/>
                  </a:cubicBezTo>
                  <a:cubicBezTo>
                    <a:pt x="34491" y="10340"/>
                    <a:pt x="34972" y="10443"/>
                    <a:pt x="34800" y="10753"/>
                  </a:cubicBezTo>
                  <a:cubicBezTo>
                    <a:pt x="35195" y="11354"/>
                    <a:pt x="35349" y="10753"/>
                    <a:pt x="35143" y="10529"/>
                  </a:cubicBezTo>
                  <a:cubicBezTo>
                    <a:pt x="35315" y="10529"/>
                    <a:pt x="35143" y="9945"/>
                    <a:pt x="35401" y="10289"/>
                  </a:cubicBezTo>
                  <a:cubicBezTo>
                    <a:pt x="35401" y="10186"/>
                    <a:pt x="35178" y="9980"/>
                    <a:pt x="35401" y="10151"/>
                  </a:cubicBezTo>
                  <a:cubicBezTo>
                    <a:pt x="35229" y="9705"/>
                    <a:pt x="35521" y="10151"/>
                    <a:pt x="35727" y="10306"/>
                  </a:cubicBezTo>
                  <a:cubicBezTo>
                    <a:pt x="35727" y="10203"/>
                    <a:pt x="35727" y="10169"/>
                    <a:pt x="35727" y="10306"/>
                  </a:cubicBezTo>
                  <a:cubicBezTo>
                    <a:pt x="35504" y="10048"/>
                    <a:pt x="35882" y="10134"/>
                    <a:pt x="35830" y="9842"/>
                  </a:cubicBezTo>
                  <a:cubicBezTo>
                    <a:pt x="35951" y="9997"/>
                    <a:pt x="36311" y="10272"/>
                    <a:pt x="36019" y="9945"/>
                  </a:cubicBezTo>
                  <a:cubicBezTo>
                    <a:pt x="36191" y="9945"/>
                    <a:pt x="35916" y="9791"/>
                    <a:pt x="36122" y="9945"/>
                  </a:cubicBezTo>
                  <a:cubicBezTo>
                    <a:pt x="36035" y="9882"/>
                    <a:pt x="35943" y="9824"/>
                    <a:pt x="35848" y="9773"/>
                  </a:cubicBezTo>
                  <a:lnTo>
                    <a:pt x="35848" y="9773"/>
                  </a:lnTo>
                  <a:cubicBezTo>
                    <a:pt x="35057" y="9155"/>
                    <a:pt x="36586" y="9619"/>
                    <a:pt x="36981" y="9894"/>
                  </a:cubicBezTo>
                  <a:cubicBezTo>
                    <a:pt x="36792" y="9619"/>
                    <a:pt x="36517" y="9567"/>
                    <a:pt x="36260" y="9361"/>
                  </a:cubicBezTo>
                  <a:lnTo>
                    <a:pt x="36260" y="9361"/>
                  </a:lnTo>
                  <a:cubicBezTo>
                    <a:pt x="36260" y="9361"/>
                    <a:pt x="36260" y="9361"/>
                    <a:pt x="36140" y="9361"/>
                  </a:cubicBezTo>
                  <a:lnTo>
                    <a:pt x="36140" y="9361"/>
                  </a:lnTo>
                  <a:lnTo>
                    <a:pt x="35882" y="9155"/>
                  </a:lnTo>
                  <a:cubicBezTo>
                    <a:pt x="36019" y="9155"/>
                    <a:pt x="35624" y="8983"/>
                    <a:pt x="35727" y="8983"/>
                  </a:cubicBezTo>
                  <a:cubicBezTo>
                    <a:pt x="35504" y="8880"/>
                    <a:pt x="34353" y="7918"/>
                    <a:pt x="34594" y="7884"/>
                  </a:cubicBezTo>
                  <a:cubicBezTo>
                    <a:pt x="35435" y="8193"/>
                    <a:pt x="36311" y="9086"/>
                    <a:pt x="37136" y="9602"/>
                  </a:cubicBezTo>
                  <a:lnTo>
                    <a:pt x="37136" y="9602"/>
                  </a:lnTo>
                  <a:cubicBezTo>
                    <a:pt x="37389" y="9800"/>
                    <a:pt x="37614" y="10031"/>
                    <a:pt x="37806" y="10289"/>
                  </a:cubicBezTo>
                  <a:lnTo>
                    <a:pt x="37806" y="10289"/>
                  </a:lnTo>
                  <a:cubicBezTo>
                    <a:pt x="37995" y="10409"/>
                    <a:pt x="37977" y="10581"/>
                    <a:pt x="37806" y="10289"/>
                  </a:cubicBezTo>
                  <a:cubicBezTo>
                    <a:pt x="37806" y="10289"/>
                    <a:pt x="37479" y="10289"/>
                    <a:pt x="37703" y="10426"/>
                  </a:cubicBezTo>
                  <a:cubicBezTo>
                    <a:pt x="38939" y="10701"/>
                    <a:pt x="37256" y="9619"/>
                    <a:pt x="37101" y="9275"/>
                  </a:cubicBezTo>
                  <a:cubicBezTo>
                    <a:pt x="37101" y="9275"/>
                    <a:pt x="37101" y="9275"/>
                    <a:pt x="37101" y="9275"/>
                  </a:cubicBezTo>
                  <a:cubicBezTo>
                    <a:pt x="36284" y="8916"/>
                    <a:pt x="35525" y="8435"/>
                    <a:pt x="34851" y="7850"/>
                  </a:cubicBezTo>
                  <a:cubicBezTo>
                    <a:pt x="35229" y="8021"/>
                    <a:pt x="35573" y="8399"/>
                    <a:pt x="35933" y="8451"/>
                  </a:cubicBezTo>
                  <a:cubicBezTo>
                    <a:pt x="35796" y="8262"/>
                    <a:pt x="36208" y="8571"/>
                    <a:pt x="36105" y="8451"/>
                  </a:cubicBezTo>
                  <a:cubicBezTo>
                    <a:pt x="35827" y="8436"/>
                    <a:pt x="35564" y="8320"/>
                    <a:pt x="35367" y="8125"/>
                  </a:cubicBezTo>
                  <a:cubicBezTo>
                    <a:pt x="35727" y="8279"/>
                    <a:pt x="35367" y="8125"/>
                    <a:pt x="35367" y="8039"/>
                  </a:cubicBezTo>
                  <a:lnTo>
                    <a:pt x="35367" y="8039"/>
                  </a:lnTo>
                  <a:cubicBezTo>
                    <a:pt x="34886" y="7455"/>
                    <a:pt x="37084" y="8880"/>
                    <a:pt x="36363" y="8331"/>
                  </a:cubicBezTo>
                  <a:cubicBezTo>
                    <a:pt x="36637" y="8531"/>
                    <a:pt x="36938" y="8693"/>
                    <a:pt x="37256" y="8812"/>
                  </a:cubicBezTo>
                  <a:cubicBezTo>
                    <a:pt x="36947" y="8605"/>
                    <a:pt x="37256" y="8691"/>
                    <a:pt x="37428" y="8812"/>
                  </a:cubicBezTo>
                  <a:cubicBezTo>
                    <a:pt x="37325" y="8709"/>
                    <a:pt x="37033" y="8588"/>
                    <a:pt x="37101" y="8709"/>
                  </a:cubicBezTo>
                  <a:cubicBezTo>
                    <a:pt x="36569" y="8468"/>
                    <a:pt x="36019" y="8056"/>
                    <a:pt x="35384" y="7798"/>
                  </a:cubicBezTo>
                  <a:cubicBezTo>
                    <a:pt x="35212" y="7798"/>
                    <a:pt x="34405" y="7403"/>
                    <a:pt x="34525" y="7231"/>
                  </a:cubicBezTo>
                  <a:cubicBezTo>
                    <a:pt x="34284" y="6922"/>
                    <a:pt x="34697" y="7334"/>
                    <a:pt x="34851" y="7317"/>
                  </a:cubicBezTo>
                  <a:cubicBezTo>
                    <a:pt x="34628" y="7317"/>
                    <a:pt x="34491" y="7042"/>
                    <a:pt x="34267" y="7008"/>
                  </a:cubicBezTo>
                  <a:cubicBezTo>
                    <a:pt x="34044" y="6974"/>
                    <a:pt x="34061" y="7008"/>
                    <a:pt x="34027" y="6922"/>
                  </a:cubicBezTo>
                  <a:cubicBezTo>
                    <a:pt x="33992" y="6836"/>
                    <a:pt x="34130" y="6922"/>
                    <a:pt x="34027" y="6922"/>
                  </a:cubicBezTo>
                  <a:cubicBezTo>
                    <a:pt x="33924" y="6922"/>
                    <a:pt x="33838" y="6836"/>
                    <a:pt x="33872" y="6922"/>
                  </a:cubicBezTo>
                  <a:cubicBezTo>
                    <a:pt x="33907" y="7008"/>
                    <a:pt x="33683" y="6802"/>
                    <a:pt x="33872" y="6922"/>
                  </a:cubicBezTo>
                  <a:lnTo>
                    <a:pt x="33615" y="6768"/>
                  </a:lnTo>
                  <a:cubicBezTo>
                    <a:pt x="33615" y="6768"/>
                    <a:pt x="33615" y="6768"/>
                    <a:pt x="33615" y="6768"/>
                  </a:cubicBezTo>
                  <a:lnTo>
                    <a:pt x="33168" y="6458"/>
                  </a:lnTo>
                  <a:lnTo>
                    <a:pt x="33168" y="6458"/>
                  </a:lnTo>
                  <a:cubicBezTo>
                    <a:pt x="33086" y="6395"/>
                    <a:pt x="33000" y="6338"/>
                    <a:pt x="32910" y="6287"/>
                  </a:cubicBezTo>
                  <a:lnTo>
                    <a:pt x="32910" y="6287"/>
                  </a:lnTo>
                  <a:lnTo>
                    <a:pt x="32910" y="6287"/>
                  </a:lnTo>
                  <a:lnTo>
                    <a:pt x="32910" y="6287"/>
                  </a:lnTo>
                  <a:lnTo>
                    <a:pt x="32687" y="6184"/>
                  </a:lnTo>
                  <a:lnTo>
                    <a:pt x="32687" y="6184"/>
                  </a:lnTo>
                  <a:cubicBezTo>
                    <a:pt x="32687" y="6184"/>
                    <a:pt x="32515" y="6184"/>
                    <a:pt x="32687" y="6184"/>
                  </a:cubicBezTo>
                  <a:lnTo>
                    <a:pt x="32687" y="6184"/>
                  </a:lnTo>
                  <a:lnTo>
                    <a:pt x="32687" y="6184"/>
                  </a:lnTo>
                  <a:lnTo>
                    <a:pt x="32962" y="6287"/>
                  </a:lnTo>
                  <a:lnTo>
                    <a:pt x="32739" y="6184"/>
                  </a:lnTo>
                  <a:lnTo>
                    <a:pt x="32893" y="6184"/>
                  </a:lnTo>
                  <a:lnTo>
                    <a:pt x="32807" y="6184"/>
                  </a:lnTo>
                  <a:cubicBezTo>
                    <a:pt x="32762" y="6174"/>
                    <a:pt x="32715" y="6174"/>
                    <a:pt x="32670" y="6184"/>
                  </a:cubicBezTo>
                  <a:lnTo>
                    <a:pt x="32670" y="6184"/>
                  </a:lnTo>
                  <a:cubicBezTo>
                    <a:pt x="32625" y="6193"/>
                    <a:pt x="32578" y="6193"/>
                    <a:pt x="32532" y="6184"/>
                  </a:cubicBezTo>
                  <a:lnTo>
                    <a:pt x="32876" y="6304"/>
                  </a:lnTo>
                  <a:cubicBezTo>
                    <a:pt x="32750" y="6242"/>
                    <a:pt x="32618" y="6196"/>
                    <a:pt x="32481" y="6166"/>
                  </a:cubicBezTo>
                  <a:lnTo>
                    <a:pt x="32481" y="6166"/>
                  </a:lnTo>
                  <a:cubicBezTo>
                    <a:pt x="32481" y="6166"/>
                    <a:pt x="32292" y="6166"/>
                    <a:pt x="32343" y="6166"/>
                  </a:cubicBezTo>
                  <a:cubicBezTo>
                    <a:pt x="32395" y="6166"/>
                    <a:pt x="32343" y="6166"/>
                    <a:pt x="32343" y="6166"/>
                  </a:cubicBezTo>
                  <a:lnTo>
                    <a:pt x="32343" y="6166"/>
                  </a:lnTo>
                  <a:lnTo>
                    <a:pt x="32206" y="6166"/>
                  </a:lnTo>
                  <a:lnTo>
                    <a:pt x="32206" y="6166"/>
                  </a:lnTo>
                  <a:lnTo>
                    <a:pt x="31742" y="6029"/>
                  </a:lnTo>
                  <a:lnTo>
                    <a:pt x="31742" y="6029"/>
                  </a:lnTo>
                  <a:cubicBezTo>
                    <a:pt x="31571" y="6029"/>
                    <a:pt x="30763" y="5720"/>
                    <a:pt x="30952" y="5754"/>
                  </a:cubicBezTo>
                  <a:lnTo>
                    <a:pt x="30952" y="5754"/>
                  </a:lnTo>
                  <a:lnTo>
                    <a:pt x="31055" y="5754"/>
                  </a:lnTo>
                  <a:lnTo>
                    <a:pt x="31055" y="5754"/>
                  </a:lnTo>
                  <a:cubicBezTo>
                    <a:pt x="31244" y="5754"/>
                    <a:pt x="31416" y="5857"/>
                    <a:pt x="31605" y="5909"/>
                  </a:cubicBezTo>
                  <a:lnTo>
                    <a:pt x="31416" y="5909"/>
                  </a:lnTo>
                  <a:lnTo>
                    <a:pt x="31588" y="5909"/>
                  </a:lnTo>
                  <a:lnTo>
                    <a:pt x="31485" y="5909"/>
                  </a:lnTo>
                  <a:cubicBezTo>
                    <a:pt x="31588" y="5909"/>
                    <a:pt x="31364" y="5909"/>
                    <a:pt x="31485" y="5909"/>
                  </a:cubicBezTo>
                  <a:lnTo>
                    <a:pt x="31485" y="5909"/>
                  </a:lnTo>
                  <a:cubicBezTo>
                    <a:pt x="31794" y="5995"/>
                    <a:pt x="32481" y="6201"/>
                    <a:pt x="31811" y="5909"/>
                  </a:cubicBezTo>
                  <a:lnTo>
                    <a:pt x="31811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2292" y="6046"/>
                  </a:lnTo>
                  <a:lnTo>
                    <a:pt x="32051" y="6046"/>
                  </a:lnTo>
                  <a:lnTo>
                    <a:pt x="32378" y="6046"/>
                  </a:lnTo>
                  <a:lnTo>
                    <a:pt x="32635" y="6046"/>
                  </a:lnTo>
                  <a:lnTo>
                    <a:pt x="32635" y="6046"/>
                  </a:lnTo>
                  <a:cubicBezTo>
                    <a:pt x="32412" y="6046"/>
                    <a:pt x="32635" y="6046"/>
                    <a:pt x="32773" y="6046"/>
                  </a:cubicBezTo>
                  <a:lnTo>
                    <a:pt x="32773" y="6046"/>
                  </a:lnTo>
                  <a:lnTo>
                    <a:pt x="32773" y="6046"/>
                  </a:lnTo>
                  <a:cubicBezTo>
                    <a:pt x="33198" y="6156"/>
                    <a:pt x="33612" y="6306"/>
                    <a:pt x="34010" y="6493"/>
                  </a:cubicBezTo>
                  <a:cubicBezTo>
                    <a:pt x="34010" y="6493"/>
                    <a:pt x="34010" y="6493"/>
                    <a:pt x="34010" y="6493"/>
                  </a:cubicBezTo>
                  <a:cubicBezTo>
                    <a:pt x="34010" y="6493"/>
                    <a:pt x="34456" y="6665"/>
                    <a:pt x="34645" y="6768"/>
                  </a:cubicBezTo>
                  <a:lnTo>
                    <a:pt x="34645" y="6768"/>
                  </a:lnTo>
                  <a:lnTo>
                    <a:pt x="35470" y="7163"/>
                  </a:lnTo>
                  <a:cubicBezTo>
                    <a:pt x="35212" y="7025"/>
                    <a:pt x="34954" y="6871"/>
                    <a:pt x="34662" y="6733"/>
                  </a:cubicBezTo>
                  <a:lnTo>
                    <a:pt x="34662" y="6733"/>
                  </a:lnTo>
                  <a:lnTo>
                    <a:pt x="34353" y="6596"/>
                  </a:lnTo>
                  <a:lnTo>
                    <a:pt x="34491" y="6596"/>
                  </a:lnTo>
                  <a:cubicBezTo>
                    <a:pt x="34491" y="6596"/>
                    <a:pt x="34044" y="6441"/>
                    <a:pt x="34250" y="6493"/>
                  </a:cubicBezTo>
                  <a:lnTo>
                    <a:pt x="34113" y="6493"/>
                  </a:lnTo>
                  <a:lnTo>
                    <a:pt x="34422" y="6596"/>
                  </a:lnTo>
                  <a:cubicBezTo>
                    <a:pt x="34327" y="6538"/>
                    <a:pt x="34222" y="6497"/>
                    <a:pt x="34113" y="6476"/>
                  </a:cubicBezTo>
                  <a:cubicBezTo>
                    <a:pt x="34287" y="6517"/>
                    <a:pt x="34459" y="6568"/>
                    <a:pt x="34628" y="6630"/>
                  </a:cubicBezTo>
                  <a:lnTo>
                    <a:pt x="34473" y="6630"/>
                  </a:lnTo>
                  <a:lnTo>
                    <a:pt x="34473" y="6630"/>
                  </a:lnTo>
                  <a:lnTo>
                    <a:pt x="33700" y="4827"/>
                  </a:lnTo>
                  <a:cubicBezTo>
                    <a:pt x="42679" y="7791"/>
                    <a:pt x="48892" y="15993"/>
                    <a:pt x="49314" y="25438"/>
                  </a:cubicBezTo>
                  <a:cubicBezTo>
                    <a:pt x="49301" y="25780"/>
                    <a:pt x="49255" y="26119"/>
                    <a:pt x="49177" y="26452"/>
                  </a:cubicBezTo>
                  <a:cubicBezTo>
                    <a:pt x="49245" y="26349"/>
                    <a:pt x="49159" y="26538"/>
                    <a:pt x="49159" y="26589"/>
                  </a:cubicBezTo>
                  <a:close/>
                </a:path>
              </a:pathLst>
            </a:custGeom>
            <a:solidFill>
              <a:srgbClr val="00B0F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B4B4B4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" name="Google Shape;16;p45"/>
            <p:cNvSpPr/>
            <p:nvPr/>
          </p:nvSpPr>
          <p:spPr>
            <a:xfrm rot="-5400000">
              <a:off x="12026199" y="6563439"/>
              <a:ext cx="13277" cy="68070"/>
            </a:xfrm>
            <a:custGeom>
              <a:avLst/>
              <a:gdLst/>
              <a:ahLst/>
              <a:cxnLst/>
              <a:rect l="l" t="t" r="r" b="b"/>
              <a:pathLst>
                <a:path w="13277" h="68070" extrusionOk="0">
                  <a:moveTo>
                    <a:pt x="13277" y="12024"/>
                  </a:moveTo>
                  <a:lnTo>
                    <a:pt x="0" y="12024"/>
                  </a:lnTo>
                  <a:lnTo>
                    <a:pt x="0" y="0"/>
                  </a:lnTo>
                  <a:lnTo>
                    <a:pt x="13277" y="0"/>
                  </a:lnTo>
                  <a:close/>
                  <a:moveTo>
                    <a:pt x="0" y="17984"/>
                  </a:moveTo>
                  <a:lnTo>
                    <a:pt x="13277" y="17984"/>
                  </a:lnTo>
                  <a:lnTo>
                    <a:pt x="13277" y="68070"/>
                  </a:lnTo>
                  <a:lnTo>
                    <a:pt x="0" y="68070"/>
                  </a:lnTo>
                  <a:close/>
                </a:path>
              </a:pathLst>
            </a:custGeom>
            <a:solidFill>
              <a:srgbClr val="00B0F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B4B4B4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" name="Google Shape;17;p45"/>
            <p:cNvSpPr/>
            <p:nvPr/>
          </p:nvSpPr>
          <p:spPr>
            <a:xfrm rot="-5400000">
              <a:off x="12018640" y="6529825"/>
              <a:ext cx="45208" cy="51256"/>
            </a:xfrm>
            <a:custGeom>
              <a:avLst/>
              <a:gdLst/>
              <a:ahLst/>
              <a:cxnLst/>
              <a:rect l="l" t="t" r="r" b="b"/>
              <a:pathLst>
                <a:path w="45208" h="51256" extrusionOk="0">
                  <a:moveTo>
                    <a:pt x="40279" y="4038"/>
                  </a:moveTo>
                  <a:cubicBezTo>
                    <a:pt x="43565" y="6752"/>
                    <a:pt x="45209" y="11246"/>
                    <a:pt x="45209" y="17521"/>
                  </a:cubicBezTo>
                  <a:lnTo>
                    <a:pt x="45209" y="51256"/>
                  </a:lnTo>
                  <a:lnTo>
                    <a:pt x="31794" y="51256"/>
                  </a:lnTo>
                  <a:lnTo>
                    <a:pt x="31794" y="20785"/>
                  </a:lnTo>
                  <a:cubicBezTo>
                    <a:pt x="31892" y="18712"/>
                    <a:pt x="31535" y="16642"/>
                    <a:pt x="30746" y="14722"/>
                  </a:cubicBezTo>
                  <a:cubicBezTo>
                    <a:pt x="29458" y="12162"/>
                    <a:pt x="27036" y="10874"/>
                    <a:pt x="23446" y="10874"/>
                  </a:cubicBezTo>
                  <a:cubicBezTo>
                    <a:pt x="19509" y="10574"/>
                    <a:pt x="15832" y="12861"/>
                    <a:pt x="14360" y="16525"/>
                  </a:cubicBezTo>
                  <a:cubicBezTo>
                    <a:pt x="13437" y="18959"/>
                    <a:pt x="13005" y="21550"/>
                    <a:pt x="13089" y="24152"/>
                  </a:cubicBezTo>
                  <a:lnTo>
                    <a:pt x="13089" y="51256"/>
                  </a:lnTo>
                  <a:lnTo>
                    <a:pt x="0" y="51256"/>
                  </a:lnTo>
                  <a:lnTo>
                    <a:pt x="0" y="1272"/>
                  </a:lnTo>
                  <a:lnTo>
                    <a:pt x="12676" y="1272"/>
                  </a:lnTo>
                  <a:lnTo>
                    <a:pt x="12676" y="8607"/>
                  </a:lnTo>
                  <a:cubicBezTo>
                    <a:pt x="13939" y="6498"/>
                    <a:pt x="15548" y="4617"/>
                    <a:pt x="17434" y="3042"/>
                  </a:cubicBezTo>
                  <a:cubicBezTo>
                    <a:pt x="20409" y="938"/>
                    <a:pt x="23996" y="-125"/>
                    <a:pt x="27637" y="19"/>
                  </a:cubicBezTo>
                  <a:cubicBezTo>
                    <a:pt x="32194" y="-181"/>
                    <a:pt x="36674" y="1243"/>
                    <a:pt x="40279" y="4038"/>
                  </a:cubicBezTo>
                  <a:close/>
                </a:path>
              </a:pathLst>
            </a:custGeom>
            <a:solidFill>
              <a:srgbClr val="00B0F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B4B4B4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" name="Google Shape;18;p45"/>
            <p:cNvSpPr/>
            <p:nvPr/>
          </p:nvSpPr>
          <p:spPr>
            <a:xfrm rot="-5400000">
              <a:off x="12018195" y="6477145"/>
              <a:ext cx="28942" cy="68414"/>
            </a:xfrm>
            <a:custGeom>
              <a:avLst/>
              <a:gdLst/>
              <a:ahLst/>
              <a:cxnLst/>
              <a:rect l="l" t="t" r="r" b="b"/>
              <a:pathLst>
                <a:path w="28942" h="68414" extrusionOk="0">
                  <a:moveTo>
                    <a:pt x="25868" y="0"/>
                  </a:moveTo>
                  <a:lnTo>
                    <a:pt x="28616" y="206"/>
                  </a:lnTo>
                  <a:lnTo>
                    <a:pt x="28616" y="10941"/>
                  </a:lnTo>
                  <a:cubicBezTo>
                    <a:pt x="27390" y="10808"/>
                    <a:pt x="26157" y="10739"/>
                    <a:pt x="24923" y="10735"/>
                  </a:cubicBezTo>
                  <a:cubicBezTo>
                    <a:pt x="23616" y="10538"/>
                    <a:pt x="22290" y="10956"/>
                    <a:pt x="21333" y="11869"/>
                  </a:cubicBezTo>
                  <a:cubicBezTo>
                    <a:pt x="20704" y="12627"/>
                    <a:pt x="20358" y="13580"/>
                    <a:pt x="20354" y="14566"/>
                  </a:cubicBezTo>
                  <a:lnTo>
                    <a:pt x="20354" y="18791"/>
                  </a:lnTo>
                  <a:lnTo>
                    <a:pt x="28943" y="18791"/>
                  </a:lnTo>
                  <a:lnTo>
                    <a:pt x="28943" y="28032"/>
                  </a:lnTo>
                  <a:lnTo>
                    <a:pt x="20354" y="28032"/>
                  </a:lnTo>
                  <a:lnTo>
                    <a:pt x="20354" y="68414"/>
                  </a:lnTo>
                  <a:lnTo>
                    <a:pt x="7352" y="68414"/>
                  </a:lnTo>
                  <a:lnTo>
                    <a:pt x="7352" y="28032"/>
                  </a:lnTo>
                  <a:lnTo>
                    <a:pt x="0" y="28032"/>
                  </a:lnTo>
                  <a:lnTo>
                    <a:pt x="0" y="18791"/>
                  </a:lnTo>
                  <a:lnTo>
                    <a:pt x="7163" y="18791"/>
                  </a:lnTo>
                  <a:lnTo>
                    <a:pt x="7163" y="15579"/>
                  </a:lnTo>
                  <a:cubicBezTo>
                    <a:pt x="7163" y="10220"/>
                    <a:pt x="8067" y="6527"/>
                    <a:pt x="9877" y="4500"/>
                  </a:cubicBezTo>
                  <a:cubicBezTo>
                    <a:pt x="11783" y="1494"/>
                    <a:pt x="16352" y="0"/>
                    <a:pt x="23618" y="0"/>
                  </a:cubicBezTo>
                  <a:cubicBezTo>
                    <a:pt x="24442" y="0"/>
                    <a:pt x="25198" y="0"/>
                    <a:pt x="25868" y="0"/>
                  </a:cubicBezTo>
                  <a:close/>
                </a:path>
              </a:pathLst>
            </a:custGeom>
            <a:solidFill>
              <a:srgbClr val="00B0F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B4B4B4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" name="Google Shape;19;p45"/>
            <p:cNvSpPr/>
            <p:nvPr/>
          </p:nvSpPr>
          <p:spPr>
            <a:xfrm rot="-5400000">
              <a:off x="12016830" y="6161182"/>
              <a:ext cx="49036" cy="51048"/>
            </a:xfrm>
            <a:custGeom>
              <a:avLst/>
              <a:gdLst/>
              <a:ahLst/>
              <a:cxnLst/>
              <a:rect l="l" t="t" r="r" b="b"/>
              <a:pathLst>
                <a:path w="49036" h="51048" extrusionOk="0">
                  <a:moveTo>
                    <a:pt x="42949" y="43542"/>
                  </a:moveTo>
                  <a:cubicBezTo>
                    <a:pt x="38907" y="48535"/>
                    <a:pt x="32763" y="51037"/>
                    <a:pt x="24519" y="51049"/>
                  </a:cubicBezTo>
                  <a:cubicBezTo>
                    <a:pt x="16274" y="51060"/>
                    <a:pt x="10125" y="48558"/>
                    <a:pt x="6071" y="43542"/>
                  </a:cubicBezTo>
                  <a:cubicBezTo>
                    <a:pt x="2000" y="38452"/>
                    <a:pt x="-145" y="32091"/>
                    <a:pt x="8" y="25576"/>
                  </a:cubicBezTo>
                  <a:cubicBezTo>
                    <a:pt x="-130" y="19058"/>
                    <a:pt x="2016" y="12697"/>
                    <a:pt x="6071" y="7592"/>
                  </a:cubicBezTo>
                  <a:cubicBezTo>
                    <a:pt x="10125" y="2519"/>
                    <a:pt x="16274" y="-11"/>
                    <a:pt x="24519" y="0"/>
                  </a:cubicBezTo>
                  <a:cubicBezTo>
                    <a:pt x="32763" y="12"/>
                    <a:pt x="38907" y="2542"/>
                    <a:pt x="42949" y="7592"/>
                  </a:cubicBezTo>
                  <a:cubicBezTo>
                    <a:pt x="47010" y="12695"/>
                    <a:pt x="49160" y="19056"/>
                    <a:pt x="49030" y="25576"/>
                  </a:cubicBezTo>
                  <a:cubicBezTo>
                    <a:pt x="49177" y="32093"/>
                    <a:pt x="47023" y="38454"/>
                    <a:pt x="42949" y="43542"/>
                  </a:cubicBezTo>
                  <a:close/>
                  <a:moveTo>
                    <a:pt x="32918" y="36672"/>
                  </a:moveTo>
                  <a:cubicBezTo>
                    <a:pt x="35077" y="33390"/>
                    <a:pt x="36115" y="29497"/>
                    <a:pt x="35872" y="25576"/>
                  </a:cubicBezTo>
                  <a:cubicBezTo>
                    <a:pt x="36123" y="21654"/>
                    <a:pt x="35086" y="17758"/>
                    <a:pt x="32918" y="14480"/>
                  </a:cubicBezTo>
                  <a:cubicBezTo>
                    <a:pt x="28893" y="9808"/>
                    <a:pt x="21844" y="9283"/>
                    <a:pt x="17172" y="13307"/>
                  </a:cubicBezTo>
                  <a:cubicBezTo>
                    <a:pt x="16753" y="13668"/>
                    <a:pt x="16360" y="14060"/>
                    <a:pt x="15999" y="14480"/>
                  </a:cubicBezTo>
                  <a:cubicBezTo>
                    <a:pt x="13826" y="17756"/>
                    <a:pt x="12782" y="21652"/>
                    <a:pt x="13027" y="25576"/>
                  </a:cubicBezTo>
                  <a:cubicBezTo>
                    <a:pt x="12782" y="29510"/>
                    <a:pt x="13824" y="33418"/>
                    <a:pt x="15999" y="36706"/>
                  </a:cubicBezTo>
                  <a:cubicBezTo>
                    <a:pt x="19994" y="41378"/>
                    <a:pt x="27020" y="41927"/>
                    <a:pt x="31692" y="37932"/>
                  </a:cubicBezTo>
                  <a:cubicBezTo>
                    <a:pt x="32131" y="37556"/>
                    <a:pt x="32542" y="37146"/>
                    <a:pt x="32918" y="36706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B4B4B4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" name="Google Shape;20;p45"/>
            <p:cNvSpPr/>
            <p:nvPr/>
          </p:nvSpPr>
          <p:spPr>
            <a:xfrm rot="-5400000">
              <a:off x="12005374" y="6370523"/>
              <a:ext cx="71791" cy="51205"/>
            </a:xfrm>
            <a:custGeom>
              <a:avLst/>
              <a:gdLst/>
              <a:ahLst/>
              <a:cxnLst/>
              <a:rect l="l" t="t" r="r" b="b"/>
              <a:pathLst>
                <a:path w="71791" h="51205" extrusionOk="0">
                  <a:moveTo>
                    <a:pt x="62643" y="1307"/>
                  </a:moveTo>
                  <a:cubicBezTo>
                    <a:pt x="64938" y="2282"/>
                    <a:pt x="66944" y="3832"/>
                    <a:pt x="68466" y="5808"/>
                  </a:cubicBezTo>
                  <a:cubicBezTo>
                    <a:pt x="69936" y="7685"/>
                    <a:pt x="70917" y="9898"/>
                    <a:pt x="71317" y="12249"/>
                  </a:cubicBezTo>
                  <a:cubicBezTo>
                    <a:pt x="71680" y="14693"/>
                    <a:pt x="71834" y="17164"/>
                    <a:pt x="71781" y="19635"/>
                  </a:cubicBezTo>
                  <a:lnTo>
                    <a:pt x="71781" y="51205"/>
                  </a:lnTo>
                  <a:lnTo>
                    <a:pt x="58349" y="51205"/>
                  </a:lnTo>
                  <a:lnTo>
                    <a:pt x="58349" y="19308"/>
                  </a:lnTo>
                  <a:cubicBezTo>
                    <a:pt x="58414" y="17701"/>
                    <a:pt x="58101" y="16101"/>
                    <a:pt x="57438" y="14636"/>
                  </a:cubicBezTo>
                  <a:cubicBezTo>
                    <a:pt x="56188" y="12289"/>
                    <a:pt x="53642" y="10931"/>
                    <a:pt x="50997" y="11201"/>
                  </a:cubicBezTo>
                  <a:cubicBezTo>
                    <a:pt x="47802" y="10957"/>
                    <a:pt x="44803" y="12763"/>
                    <a:pt x="43525" y="15701"/>
                  </a:cubicBezTo>
                  <a:cubicBezTo>
                    <a:pt x="42766" y="17522"/>
                    <a:pt x="42404" y="19483"/>
                    <a:pt x="42460" y="21455"/>
                  </a:cubicBezTo>
                  <a:lnTo>
                    <a:pt x="42460" y="51205"/>
                  </a:lnTo>
                  <a:lnTo>
                    <a:pt x="29269" y="51205"/>
                  </a:lnTo>
                  <a:lnTo>
                    <a:pt x="29269" y="21387"/>
                  </a:lnTo>
                  <a:cubicBezTo>
                    <a:pt x="29389" y="19189"/>
                    <a:pt x="29080" y="16990"/>
                    <a:pt x="28359" y="14911"/>
                  </a:cubicBezTo>
                  <a:cubicBezTo>
                    <a:pt x="27192" y="12446"/>
                    <a:pt x="24595" y="10986"/>
                    <a:pt x="21883" y="11270"/>
                  </a:cubicBezTo>
                  <a:cubicBezTo>
                    <a:pt x="18138" y="11270"/>
                    <a:pt x="15626" y="12484"/>
                    <a:pt x="14342" y="14911"/>
                  </a:cubicBezTo>
                  <a:cubicBezTo>
                    <a:pt x="13527" y="16854"/>
                    <a:pt x="13162" y="18956"/>
                    <a:pt x="13277" y="21060"/>
                  </a:cubicBezTo>
                  <a:lnTo>
                    <a:pt x="13277" y="51205"/>
                  </a:lnTo>
                  <a:lnTo>
                    <a:pt x="0" y="51205"/>
                  </a:lnTo>
                  <a:lnTo>
                    <a:pt x="0" y="1221"/>
                  </a:lnTo>
                  <a:lnTo>
                    <a:pt x="12728" y="1221"/>
                  </a:lnTo>
                  <a:lnTo>
                    <a:pt x="12728" y="8556"/>
                  </a:lnTo>
                  <a:cubicBezTo>
                    <a:pt x="13930" y="6449"/>
                    <a:pt x="15488" y="4567"/>
                    <a:pt x="17331" y="2991"/>
                  </a:cubicBezTo>
                  <a:cubicBezTo>
                    <a:pt x="23120" y="-769"/>
                    <a:pt x="30538" y="-929"/>
                    <a:pt x="36483" y="2578"/>
                  </a:cubicBezTo>
                  <a:cubicBezTo>
                    <a:pt x="38381" y="4179"/>
                    <a:pt x="39841" y="6236"/>
                    <a:pt x="40726" y="8556"/>
                  </a:cubicBezTo>
                  <a:cubicBezTo>
                    <a:pt x="42206" y="5843"/>
                    <a:pt x="44413" y="3595"/>
                    <a:pt x="47098" y="2063"/>
                  </a:cubicBezTo>
                  <a:cubicBezTo>
                    <a:pt x="49896" y="665"/>
                    <a:pt x="52988" y="-42"/>
                    <a:pt x="56116" y="2"/>
                  </a:cubicBezTo>
                  <a:cubicBezTo>
                    <a:pt x="58356" y="15"/>
                    <a:pt x="60571" y="458"/>
                    <a:pt x="62643" y="1307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B4B4B4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1" name="Google Shape;21;p45"/>
            <p:cNvSpPr/>
            <p:nvPr/>
          </p:nvSpPr>
          <p:spPr>
            <a:xfrm rot="-5400000">
              <a:off x="12026199" y="6307354"/>
              <a:ext cx="13277" cy="68070"/>
            </a:xfrm>
            <a:custGeom>
              <a:avLst/>
              <a:gdLst/>
              <a:ahLst/>
              <a:cxnLst/>
              <a:rect l="l" t="t" r="r" b="b"/>
              <a:pathLst>
                <a:path w="13277" h="68070" extrusionOk="0">
                  <a:moveTo>
                    <a:pt x="13278" y="12024"/>
                  </a:moveTo>
                  <a:lnTo>
                    <a:pt x="0" y="12024"/>
                  </a:lnTo>
                  <a:lnTo>
                    <a:pt x="0" y="0"/>
                  </a:lnTo>
                  <a:lnTo>
                    <a:pt x="13278" y="0"/>
                  </a:lnTo>
                  <a:close/>
                  <a:moveTo>
                    <a:pt x="0" y="17984"/>
                  </a:moveTo>
                  <a:lnTo>
                    <a:pt x="13278" y="17984"/>
                  </a:lnTo>
                  <a:lnTo>
                    <a:pt x="13278" y="68070"/>
                  </a:lnTo>
                  <a:lnTo>
                    <a:pt x="0" y="6807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B4B4B4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2" name="Google Shape;22;p45"/>
            <p:cNvSpPr/>
            <p:nvPr/>
          </p:nvSpPr>
          <p:spPr>
            <a:xfrm rot="-5400000">
              <a:off x="12018641" y="6273739"/>
              <a:ext cx="45208" cy="51255"/>
            </a:xfrm>
            <a:custGeom>
              <a:avLst/>
              <a:gdLst/>
              <a:ahLst/>
              <a:cxnLst/>
              <a:rect l="l" t="t" r="r" b="b"/>
              <a:pathLst>
                <a:path w="45208" h="51255" extrusionOk="0">
                  <a:moveTo>
                    <a:pt x="40296" y="4038"/>
                  </a:moveTo>
                  <a:cubicBezTo>
                    <a:pt x="43560" y="6752"/>
                    <a:pt x="45209" y="11252"/>
                    <a:pt x="45209" y="17521"/>
                  </a:cubicBezTo>
                  <a:lnTo>
                    <a:pt x="45209" y="51256"/>
                  </a:lnTo>
                  <a:lnTo>
                    <a:pt x="31794" y="51256"/>
                  </a:lnTo>
                  <a:lnTo>
                    <a:pt x="31794" y="20785"/>
                  </a:lnTo>
                  <a:cubicBezTo>
                    <a:pt x="31900" y="18711"/>
                    <a:pt x="31543" y="16639"/>
                    <a:pt x="30746" y="14722"/>
                  </a:cubicBezTo>
                  <a:cubicBezTo>
                    <a:pt x="29458" y="12162"/>
                    <a:pt x="27036" y="10874"/>
                    <a:pt x="23446" y="10874"/>
                  </a:cubicBezTo>
                  <a:cubicBezTo>
                    <a:pt x="19511" y="10565"/>
                    <a:pt x="15833" y="12857"/>
                    <a:pt x="14377" y="16525"/>
                  </a:cubicBezTo>
                  <a:cubicBezTo>
                    <a:pt x="13439" y="18955"/>
                    <a:pt x="13001" y="21549"/>
                    <a:pt x="13089" y="24151"/>
                  </a:cubicBezTo>
                  <a:lnTo>
                    <a:pt x="13089" y="51256"/>
                  </a:lnTo>
                  <a:lnTo>
                    <a:pt x="0" y="51256"/>
                  </a:lnTo>
                  <a:lnTo>
                    <a:pt x="0" y="1272"/>
                  </a:lnTo>
                  <a:lnTo>
                    <a:pt x="12676" y="1272"/>
                  </a:lnTo>
                  <a:lnTo>
                    <a:pt x="12676" y="8607"/>
                  </a:lnTo>
                  <a:cubicBezTo>
                    <a:pt x="13946" y="6502"/>
                    <a:pt x="15553" y="4622"/>
                    <a:pt x="17434" y="3042"/>
                  </a:cubicBezTo>
                  <a:cubicBezTo>
                    <a:pt x="20409" y="938"/>
                    <a:pt x="23996" y="-125"/>
                    <a:pt x="27637" y="18"/>
                  </a:cubicBezTo>
                  <a:cubicBezTo>
                    <a:pt x="32199" y="-181"/>
                    <a:pt x="36684" y="1243"/>
                    <a:pt x="40296" y="403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B4B4B4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3" name="Google Shape;23;p45"/>
            <p:cNvSpPr/>
            <p:nvPr/>
          </p:nvSpPr>
          <p:spPr>
            <a:xfrm rot="-5400000">
              <a:off x="12017163" y="6218687"/>
              <a:ext cx="48082" cy="51510"/>
            </a:xfrm>
            <a:custGeom>
              <a:avLst/>
              <a:gdLst/>
              <a:ahLst/>
              <a:cxnLst/>
              <a:rect l="l" t="t" r="r" b="b"/>
              <a:pathLst>
                <a:path w="48082" h="51510" extrusionOk="0">
                  <a:moveTo>
                    <a:pt x="35384" y="2281"/>
                  </a:moveTo>
                  <a:cubicBezTo>
                    <a:pt x="38804" y="3821"/>
                    <a:pt x="41712" y="6306"/>
                    <a:pt x="43766" y="9444"/>
                  </a:cubicBezTo>
                  <a:cubicBezTo>
                    <a:pt x="45803" y="12448"/>
                    <a:pt x="47126" y="15880"/>
                    <a:pt x="47631" y="19475"/>
                  </a:cubicBezTo>
                  <a:cubicBezTo>
                    <a:pt x="48021" y="22665"/>
                    <a:pt x="48160" y="25881"/>
                    <a:pt x="48043" y="29094"/>
                  </a:cubicBezTo>
                  <a:lnTo>
                    <a:pt x="12711" y="29094"/>
                  </a:lnTo>
                  <a:cubicBezTo>
                    <a:pt x="12900" y="33955"/>
                    <a:pt x="14600" y="37373"/>
                    <a:pt x="17778" y="39400"/>
                  </a:cubicBezTo>
                  <a:cubicBezTo>
                    <a:pt x="19884" y="40669"/>
                    <a:pt x="22311" y="41306"/>
                    <a:pt x="24769" y="41237"/>
                  </a:cubicBezTo>
                  <a:cubicBezTo>
                    <a:pt x="27307" y="41354"/>
                    <a:pt x="29803" y="40563"/>
                    <a:pt x="31811" y="39004"/>
                  </a:cubicBezTo>
                  <a:cubicBezTo>
                    <a:pt x="32891" y="38080"/>
                    <a:pt x="33774" y="36947"/>
                    <a:pt x="34405" y="35672"/>
                  </a:cubicBezTo>
                  <a:lnTo>
                    <a:pt x="47407" y="35672"/>
                  </a:lnTo>
                  <a:cubicBezTo>
                    <a:pt x="46818" y="39021"/>
                    <a:pt x="45169" y="42092"/>
                    <a:pt x="42701" y="44432"/>
                  </a:cubicBezTo>
                  <a:cubicBezTo>
                    <a:pt x="38355" y="49156"/>
                    <a:pt x="32292" y="51509"/>
                    <a:pt x="24459" y="51509"/>
                  </a:cubicBezTo>
                  <a:cubicBezTo>
                    <a:pt x="18245" y="51584"/>
                    <a:pt x="12202" y="49474"/>
                    <a:pt x="7386" y="45549"/>
                  </a:cubicBezTo>
                  <a:cubicBezTo>
                    <a:pt x="2461" y="41564"/>
                    <a:pt x="0" y="35094"/>
                    <a:pt x="0" y="26139"/>
                  </a:cubicBezTo>
                  <a:cubicBezTo>
                    <a:pt x="0" y="17746"/>
                    <a:pt x="2228" y="11304"/>
                    <a:pt x="6682" y="6816"/>
                  </a:cubicBezTo>
                  <a:cubicBezTo>
                    <a:pt x="11252" y="2254"/>
                    <a:pt x="17508" y="-208"/>
                    <a:pt x="23961" y="14"/>
                  </a:cubicBezTo>
                  <a:cubicBezTo>
                    <a:pt x="27886" y="-52"/>
                    <a:pt x="31782" y="721"/>
                    <a:pt x="35384" y="2281"/>
                  </a:cubicBezTo>
                  <a:close/>
                  <a:moveTo>
                    <a:pt x="16490" y="13223"/>
                  </a:moveTo>
                  <a:cubicBezTo>
                    <a:pt x="14554" y="15309"/>
                    <a:pt x="13350" y="17967"/>
                    <a:pt x="13054" y="20797"/>
                  </a:cubicBezTo>
                  <a:lnTo>
                    <a:pt x="34886" y="20797"/>
                  </a:lnTo>
                  <a:cubicBezTo>
                    <a:pt x="34844" y="17880"/>
                    <a:pt x="33601" y="15108"/>
                    <a:pt x="31450" y="13137"/>
                  </a:cubicBezTo>
                  <a:cubicBezTo>
                    <a:pt x="29363" y="11367"/>
                    <a:pt x="26698" y="10426"/>
                    <a:pt x="23961" y="10491"/>
                  </a:cubicBezTo>
                  <a:cubicBezTo>
                    <a:pt x="21201" y="10337"/>
                    <a:pt x="18499" y="11325"/>
                    <a:pt x="16490" y="13223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B4B4B4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pic>
        <p:nvPicPr>
          <p:cNvPr id="24" name="Google Shape;24;p45"/>
          <p:cNvPicPr preferRelativeResize="0"/>
          <p:nvPr/>
        </p:nvPicPr>
        <p:blipFill rotWithShape="1">
          <a:blip r:embed="rId24">
            <a:alphaModFix/>
          </a:blip>
          <a:srcRect/>
          <a:stretch/>
        </p:blipFill>
        <p:spPr>
          <a:xfrm rot="-5400000">
            <a:off x="11811887" y="6349041"/>
            <a:ext cx="441438" cy="68706"/>
          </a:xfrm>
          <a:prstGeom prst="rect">
            <a:avLst/>
          </a:prstGeom>
          <a:noFill/>
          <a:ln>
            <a:noFill/>
          </a:ln>
        </p:spPr>
      </p:pic>
      <p:sp>
        <p:nvSpPr>
          <p:cNvPr id="25" name="Google Shape;25;p45"/>
          <p:cNvSpPr txBox="1">
            <a:spLocks noGrp="1"/>
          </p:cNvSpPr>
          <p:nvPr>
            <p:ph type="title"/>
          </p:nvPr>
        </p:nvSpPr>
        <p:spPr>
          <a:xfrm>
            <a:off x="539400" y="560588"/>
            <a:ext cx="11089972" cy="42229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200"/>
              <a:buFont typeface="Franklin Gothic"/>
              <a:buNone/>
              <a:defRPr sz="3200" b="0" i="0" u="none" strike="noStrike" cap="none">
                <a:solidFill>
                  <a:schemeClr val="dk2"/>
                </a:solidFill>
                <a:latin typeface="Franklin Gothic"/>
                <a:ea typeface="Franklin Gothic"/>
                <a:cs typeface="Franklin Gothic"/>
                <a:sym typeface="Franklin Gothic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26" name="Google Shape;26;p45"/>
          <p:cNvSpPr txBox="1">
            <a:spLocks noGrp="1"/>
          </p:cNvSpPr>
          <p:nvPr>
            <p:ph type="body" idx="1"/>
          </p:nvPr>
        </p:nvSpPr>
        <p:spPr>
          <a:xfrm>
            <a:off x="550862" y="1859913"/>
            <a:ext cx="11089973" cy="13490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marR="0" lvl="0" indent="-228600" algn="l" rtl="0">
              <a:lnSpc>
                <a:spcPct val="95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320040" algn="l" rtl="0">
              <a:lnSpc>
                <a:spcPct val="95000"/>
              </a:lnSpc>
              <a:spcBef>
                <a:spcPts val="500"/>
              </a:spcBef>
              <a:spcAft>
                <a:spcPts val="0"/>
              </a:spcAft>
              <a:buClr>
                <a:schemeClr val="dk2"/>
              </a:buClr>
              <a:buSzPts val="1440"/>
              <a:buFont typeface="Noto Sans Symbols"/>
              <a:buChar char="▪"/>
              <a:defRPr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330200" algn="l" rtl="0">
              <a:lnSpc>
                <a:spcPct val="95000"/>
              </a:lnSpc>
              <a:spcBef>
                <a:spcPts val="300"/>
              </a:spcBef>
              <a:spcAft>
                <a:spcPts val="0"/>
              </a:spcAft>
              <a:buClr>
                <a:schemeClr val="dk2"/>
              </a:buClr>
              <a:buSzPts val="1600"/>
              <a:buFont typeface="Calibri"/>
              <a:buChar char="−"/>
              <a:defRPr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320039" algn="l" rtl="0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Clr>
                <a:schemeClr val="dk2"/>
              </a:buClr>
              <a:buSzPts val="1440"/>
              <a:buFont typeface="Noto Sans Symbols"/>
              <a:buChar char="▪"/>
              <a:defRPr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330200" algn="l" rtl="0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Clr>
                <a:schemeClr val="dk2"/>
              </a:buClr>
              <a:buSzPts val="1600"/>
              <a:buFont typeface="Calibri"/>
              <a:buChar char="−"/>
              <a:defRPr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27" name="Google Shape;27;p45"/>
          <p:cNvSpPr txBox="1">
            <a:spLocks noGrp="1"/>
          </p:cNvSpPr>
          <p:nvPr>
            <p:ph type="ftr" idx="11"/>
          </p:nvPr>
        </p:nvSpPr>
        <p:spPr>
          <a:xfrm>
            <a:off x="550863" y="6465614"/>
            <a:ext cx="5545138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28" name="Google Shape;28;p45"/>
          <p:cNvSpPr txBox="1">
            <a:spLocks noGrp="1"/>
          </p:cNvSpPr>
          <p:nvPr>
            <p:ph type="sldNum" idx="12"/>
          </p:nvPr>
        </p:nvSpPr>
        <p:spPr>
          <a:xfrm>
            <a:off x="11490153" y="6465614"/>
            <a:ext cx="150682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marL="0" marR="0" lvl="0" indent="0" algn="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29" name="Google Shape;29;p45"/>
          <p:cNvSpPr txBox="1"/>
          <p:nvPr/>
        </p:nvSpPr>
        <p:spPr>
          <a:xfrm rot="-5400000">
            <a:off x="11250971" y="5290633"/>
            <a:ext cx="1567737" cy="110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</a:pPr>
            <a:r>
              <a:rPr lang="en-US" sz="800" b="0" i="0" u="none" strike="noStrike" cap="none">
                <a:solidFill>
                  <a:srgbClr val="B4B4B4"/>
                </a:solidFill>
                <a:latin typeface="Calibri"/>
                <a:ea typeface="Calibri"/>
                <a:cs typeface="Calibri"/>
                <a:sym typeface="Calibri"/>
              </a:rPr>
              <a:t>Copyright © 2020. All rights reserved.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30" name="Google Shape;30;p45"/>
          <p:cNvCxnSpPr/>
          <p:nvPr/>
        </p:nvCxnSpPr>
        <p:spPr>
          <a:xfrm>
            <a:off x="539400" y="484910"/>
            <a:ext cx="540000" cy="0"/>
          </a:xfrm>
          <a:prstGeom prst="straightConnector1">
            <a:avLst/>
          </a:prstGeom>
          <a:noFill/>
          <a:ln w="38100" cap="flat" cmpd="sng">
            <a:solidFill>
              <a:schemeClr val="dk2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31" name="Google Shape;31;p45"/>
          <p:cNvSpPr txBox="1"/>
          <p:nvPr/>
        </p:nvSpPr>
        <p:spPr>
          <a:xfrm>
            <a:off x="11490153" y="6465614"/>
            <a:ext cx="150682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marR="0" lvl="0" indent="0" algn="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fld id="{00000000-1234-1234-1234-123412341234}" type="slidenum">
              <a:rPr lang="en-US"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rPr>
              <a:t>‹#›</a:t>
            </a:fld>
            <a:endParaRPr sz="1000" b="0" i="0" u="none" strike="noStrike" cap="none">
              <a:solidFill>
                <a:srgbClr val="7F7F7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654585314"/>
      </p:ext>
    </p:extLst>
  </p:cSld>
  <p:clrMap bg1="lt1" tx1="dk1" bg2="dk2" tx2="lt2" accent1="accent1" accent2="accent2" accent3="accent3" accent4="accent4" accent5="accent5" accent6="accent6" hlink="hlink" folHlink="folHlink"/>
  <p:sldLayoutIdLst>
    <p:sldLayoutId id="2147483679" r:id="rId1"/>
    <p:sldLayoutId id="2147483680" r:id="rId2"/>
    <p:sldLayoutId id="2147483681" r:id="rId3"/>
    <p:sldLayoutId id="2147483682" r:id="rId4"/>
    <p:sldLayoutId id="2147483683" r:id="rId5"/>
    <p:sldLayoutId id="2147483684" r:id="rId6"/>
    <p:sldLayoutId id="2147483685" r:id="rId7"/>
    <p:sldLayoutId id="2147483686" r:id="rId8"/>
    <p:sldLayoutId id="2147483687" r:id="rId9"/>
    <p:sldLayoutId id="2147483688" r:id="rId10"/>
    <p:sldLayoutId id="2147483689" r:id="rId11"/>
    <p:sldLayoutId id="2147483690" r:id="rId12"/>
    <p:sldLayoutId id="2147483691" r:id="rId13"/>
    <p:sldLayoutId id="2147483692" r:id="rId14"/>
    <p:sldLayoutId id="2147483693" r:id="rId15"/>
    <p:sldLayoutId id="2147483694" r:id="rId16"/>
    <p:sldLayoutId id="2147483695" r:id="rId17"/>
    <p:sldLayoutId id="2147483696" r:id="rId18"/>
    <p:sldLayoutId id="2147483697" r:id="rId19"/>
  </p:sldLayoutIdLst>
  <p:hf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46">
          <p15:clr>
            <a:srgbClr val="F26B43"/>
          </p15:clr>
        </p15:guide>
        <p15:guide id="2" pos="347">
          <p15:clr>
            <a:srgbClr val="F26B43"/>
          </p15:clr>
        </p15:guide>
        <p15:guide id="3" pos="7333">
          <p15:clr>
            <a:srgbClr val="F26B43"/>
          </p15:clr>
        </p15:guide>
        <p15:guide id="4" orient="horz" pos="1170">
          <p15:clr>
            <a:srgbClr val="F26B43"/>
          </p15:clr>
        </p15:guide>
        <p15:guide id="5" orient="horz" pos="3974">
          <p15:clr>
            <a:srgbClr val="F26B43"/>
          </p15:clr>
        </p15:guide>
        <p15:guide id="6" pos="3749">
          <p15:clr>
            <a:srgbClr val="F26B43"/>
          </p15:clr>
        </p15:guide>
        <p15:guide id="7" pos="393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29.xml"/><Relationship Id="rId1" Type="http://schemas.openxmlformats.org/officeDocument/2006/relationships/tags" Target="../tags/tag5.xml"/><Relationship Id="rId6" Type="http://schemas.openxmlformats.org/officeDocument/2006/relationships/image" Target="../media/image1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openxmlformats.org/officeDocument/2006/relationships/image" Target="../media/image13.png"/><Relationship Id="rId7" Type="http://schemas.openxmlformats.org/officeDocument/2006/relationships/image" Target="../media/image17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6.png"/><Relationship Id="rId5" Type="http://schemas.openxmlformats.org/officeDocument/2006/relationships/image" Target="../media/image15.png"/><Relationship Id="rId4" Type="http://schemas.openxmlformats.org/officeDocument/2006/relationships/image" Target="../media/image14.png"/><Relationship Id="rId9" Type="http://schemas.openxmlformats.org/officeDocument/2006/relationships/image" Target="../media/image12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s/_rels/slide4.xml.rels><?xml version="1.0" encoding="UTF-8" standalone="yes"?>
<Relationships xmlns="http://schemas.openxmlformats.org/package/2006/relationships"><Relationship Id="rId13" Type="http://schemas.openxmlformats.org/officeDocument/2006/relationships/image" Target="../media/image29.png"/><Relationship Id="rId18" Type="http://schemas.openxmlformats.org/officeDocument/2006/relationships/image" Target="../media/image34.png"/><Relationship Id="rId26" Type="http://schemas.openxmlformats.org/officeDocument/2006/relationships/image" Target="../media/image42.png"/><Relationship Id="rId39" Type="http://schemas.openxmlformats.org/officeDocument/2006/relationships/image" Target="../media/image55.png"/><Relationship Id="rId21" Type="http://schemas.openxmlformats.org/officeDocument/2006/relationships/image" Target="../media/image37.png"/><Relationship Id="rId34" Type="http://schemas.openxmlformats.org/officeDocument/2006/relationships/image" Target="../media/image50.png"/><Relationship Id="rId42" Type="http://schemas.openxmlformats.org/officeDocument/2006/relationships/image" Target="../media/image58.png"/><Relationship Id="rId47" Type="http://schemas.openxmlformats.org/officeDocument/2006/relationships/image" Target="../media/image63.png"/><Relationship Id="rId50" Type="http://schemas.openxmlformats.org/officeDocument/2006/relationships/image" Target="../media/image66.png"/><Relationship Id="rId55" Type="http://schemas.openxmlformats.org/officeDocument/2006/relationships/image" Target="../media/image71.png"/><Relationship Id="rId63" Type="http://schemas.openxmlformats.org/officeDocument/2006/relationships/image" Target="../media/image79.png"/><Relationship Id="rId7" Type="http://schemas.openxmlformats.org/officeDocument/2006/relationships/image" Target="../media/image23.png"/><Relationship Id="rId2" Type="http://schemas.openxmlformats.org/officeDocument/2006/relationships/notesSlide" Target="../notesSlides/notesSlide4.xml"/><Relationship Id="rId16" Type="http://schemas.openxmlformats.org/officeDocument/2006/relationships/image" Target="../media/image32.png"/><Relationship Id="rId29" Type="http://schemas.openxmlformats.org/officeDocument/2006/relationships/image" Target="../media/image45.png"/><Relationship Id="rId11" Type="http://schemas.openxmlformats.org/officeDocument/2006/relationships/image" Target="../media/image27.png"/><Relationship Id="rId24" Type="http://schemas.openxmlformats.org/officeDocument/2006/relationships/image" Target="../media/image40.png"/><Relationship Id="rId32" Type="http://schemas.openxmlformats.org/officeDocument/2006/relationships/image" Target="../media/image48.png"/><Relationship Id="rId37" Type="http://schemas.openxmlformats.org/officeDocument/2006/relationships/image" Target="../media/image53.png"/><Relationship Id="rId40" Type="http://schemas.openxmlformats.org/officeDocument/2006/relationships/image" Target="../media/image56.png"/><Relationship Id="rId45" Type="http://schemas.openxmlformats.org/officeDocument/2006/relationships/image" Target="../media/image61.png"/><Relationship Id="rId53" Type="http://schemas.openxmlformats.org/officeDocument/2006/relationships/image" Target="../media/image69.png"/><Relationship Id="rId58" Type="http://schemas.openxmlformats.org/officeDocument/2006/relationships/image" Target="../media/image74.png"/><Relationship Id="rId5" Type="http://schemas.openxmlformats.org/officeDocument/2006/relationships/image" Target="../media/image21.png"/><Relationship Id="rId61" Type="http://schemas.openxmlformats.org/officeDocument/2006/relationships/image" Target="../media/image77.png"/><Relationship Id="rId19" Type="http://schemas.openxmlformats.org/officeDocument/2006/relationships/image" Target="../media/image35.png"/><Relationship Id="rId14" Type="http://schemas.openxmlformats.org/officeDocument/2006/relationships/image" Target="../media/image30.png"/><Relationship Id="rId22" Type="http://schemas.openxmlformats.org/officeDocument/2006/relationships/image" Target="../media/image38.png"/><Relationship Id="rId27" Type="http://schemas.openxmlformats.org/officeDocument/2006/relationships/image" Target="../media/image43.png"/><Relationship Id="rId30" Type="http://schemas.openxmlformats.org/officeDocument/2006/relationships/image" Target="../media/image46.png"/><Relationship Id="rId35" Type="http://schemas.openxmlformats.org/officeDocument/2006/relationships/image" Target="../media/image51.png"/><Relationship Id="rId43" Type="http://schemas.openxmlformats.org/officeDocument/2006/relationships/image" Target="../media/image59.png"/><Relationship Id="rId48" Type="http://schemas.openxmlformats.org/officeDocument/2006/relationships/image" Target="../media/image64.png"/><Relationship Id="rId56" Type="http://schemas.openxmlformats.org/officeDocument/2006/relationships/image" Target="../media/image72.png"/><Relationship Id="rId8" Type="http://schemas.openxmlformats.org/officeDocument/2006/relationships/image" Target="../media/image24.png"/><Relationship Id="rId51" Type="http://schemas.openxmlformats.org/officeDocument/2006/relationships/image" Target="../media/image67.png"/><Relationship Id="rId3" Type="http://schemas.openxmlformats.org/officeDocument/2006/relationships/image" Target="../media/image19.png"/><Relationship Id="rId12" Type="http://schemas.openxmlformats.org/officeDocument/2006/relationships/image" Target="../media/image28.png"/><Relationship Id="rId17" Type="http://schemas.openxmlformats.org/officeDocument/2006/relationships/image" Target="../media/image33.png"/><Relationship Id="rId25" Type="http://schemas.openxmlformats.org/officeDocument/2006/relationships/image" Target="../media/image41.png"/><Relationship Id="rId33" Type="http://schemas.openxmlformats.org/officeDocument/2006/relationships/image" Target="../media/image49.png"/><Relationship Id="rId38" Type="http://schemas.openxmlformats.org/officeDocument/2006/relationships/image" Target="../media/image54.png"/><Relationship Id="rId46" Type="http://schemas.openxmlformats.org/officeDocument/2006/relationships/image" Target="../media/image62.png"/><Relationship Id="rId59" Type="http://schemas.openxmlformats.org/officeDocument/2006/relationships/image" Target="../media/image75.png"/><Relationship Id="rId20" Type="http://schemas.openxmlformats.org/officeDocument/2006/relationships/image" Target="../media/image36.png"/><Relationship Id="rId41" Type="http://schemas.openxmlformats.org/officeDocument/2006/relationships/image" Target="../media/image57.png"/><Relationship Id="rId54" Type="http://schemas.openxmlformats.org/officeDocument/2006/relationships/image" Target="../media/image70.png"/><Relationship Id="rId62" Type="http://schemas.openxmlformats.org/officeDocument/2006/relationships/image" Target="../media/image78.pn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22.png"/><Relationship Id="rId15" Type="http://schemas.openxmlformats.org/officeDocument/2006/relationships/image" Target="../media/image31.png"/><Relationship Id="rId23" Type="http://schemas.openxmlformats.org/officeDocument/2006/relationships/image" Target="../media/image39.png"/><Relationship Id="rId28" Type="http://schemas.openxmlformats.org/officeDocument/2006/relationships/image" Target="../media/image44.png"/><Relationship Id="rId36" Type="http://schemas.openxmlformats.org/officeDocument/2006/relationships/image" Target="../media/image52.png"/><Relationship Id="rId49" Type="http://schemas.openxmlformats.org/officeDocument/2006/relationships/image" Target="../media/image65.png"/><Relationship Id="rId57" Type="http://schemas.openxmlformats.org/officeDocument/2006/relationships/image" Target="../media/image73.png"/><Relationship Id="rId10" Type="http://schemas.openxmlformats.org/officeDocument/2006/relationships/image" Target="../media/image26.png"/><Relationship Id="rId31" Type="http://schemas.openxmlformats.org/officeDocument/2006/relationships/image" Target="../media/image47.png"/><Relationship Id="rId44" Type="http://schemas.openxmlformats.org/officeDocument/2006/relationships/image" Target="../media/image60.png"/><Relationship Id="rId52" Type="http://schemas.openxmlformats.org/officeDocument/2006/relationships/image" Target="../media/image68.png"/><Relationship Id="rId60" Type="http://schemas.openxmlformats.org/officeDocument/2006/relationships/image" Target="../media/image76.png"/><Relationship Id="rId4" Type="http://schemas.openxmlformats.org/officeDocument/2006/relationships/image" Target="../media/image20.png"/><Relationship Id="rId9" Type="http://schemas.openxmlformats.org/officeDocument/2006/relationships/image" Target="../media/image25.png"/></Relationships>
</file>

<file path=ppt/slides/_rels/slide5.xml.rels><?xml version="1.0" encoding="UTF-8" standalone="yes"?>
<Relationships xmlns="http://schemas.openxmlformats.org/package/2006/relationships"><Relationship Id="rId26" Type="http://schemas.openxmlformats.org/officeDocument/2006/relationships/image" Target="../media/image82.png"/><Relationship Id="rId21" Type="http://schemas.openxmlformats.org/officeDocument/2006/relationships/image" Target="../media/image70.png"/><Relationship Id="rId42" Type="http://schemas.openxmlformats.org/officeDocument/2006/relationships/image" Target="../media/image49.png"/><Relationship Id="rId47" Type="http://schemas.openxmlformats.org/officeDocument/2006/relationships/image" Target="../media/image89.png"/><Relationship Id="rId63" Type="http://schemas.openxmlformats.org/officeDocument/2006/relationships/image" Target="../media/image98.png"/><Relationship Id="rId68" Type="http://schemas.openxmlformats.org/officeDocument/2006/relationships/image" Target="../media/image101.png"/><Relationship Id="rId16" Type="http://schemas.openxmlformats.org/officeDocument/2006/relationships/image" Target="../media/image23.png"/><Relationship Id="rId11" Type="http://schemas.openxmlformats.org/officeDocument/2006/relationships/image" Target="../media/image76.png"/><Relationship Id="rId24" Type="http://schemas.openxmlformats.org/officeDocument/2006/relationships/image" Target="../media/image68.png"/><Relationship Id="rId32" Type="http://schemas.openxmlformats.org/officeDocument/2006/relationships/image" Target="../media/image27.png"/><Relationship Id="rId37" Type="http://schemas.openxmlformats.org/officeDocument/2006/relationships/image" Target="../media/image85.png"/><Relationship Id="rId40" Type="http://schemas.openxmlformats.org/officeDocument/2006/relationships/image" Target="../media/image43.png"/><Relationship Id="rId45" Type="http://schemas.openxmlformats.org/officeDocument/2006/relationships/image" Target="../media/image88.png"/><Relationship Id="rId53" Type="http://schemas.openxmlformats.org/officeDocument/2006/relationships/image" Target="../media/image65.png"/><Relationship Id="rId58" Type="http://schemas.openxmlformats.org/officeDocument/2006/relationships/image" Target="../media/image93.png"/><Relationship Id="rId66" Type="http://schemas.openxmlformats.org/officeDocument/2006/relationships/image" Target="../media/image57.png"/><Relationship Id="rId74" Type="http://schemas.openxmlformats.org/officeDocument/2006/relationships/image" Target="../media/image105.png"/><Relationship Id="rId79" Type="http://schemas.openxmlformats.org/officeDocument/2006/relationships/image" Target="../media/image110.png"/><Relationship Id="rId5" Type="http://schemas.openxmlformats.org/officeDocument/2006/relationships/image" Target="../media/image73.png"/><Relationship Id="rId61" Type="http://schemas.openxmlformats.org/officeDocument/2006/relationships/image" Target="../media/image96.png"/><Relationship Id="rId19" Type="http://schemas.openxmlformats.org/officeDocument/2006/relationships/image" Target="../media/image81.png"/><Relationship Id="rId14" Type="http://schemas.openxmlformats.org/officeDocument/2006/relationships/image" Target="../media/image21.png"/><Relationship Id="rId22" Type="http://schemas.openxmlformats.org/officeDocument/2006/relationships/image" Target="../media/image69.png"/><Relationship Id="rId27" Type="http://schemas.openxmlformats.org/officeDocument/2006/relationships/image" Target="../media/image51.png"/><Relationship Id="rId30" Type="http://schemas.openxmlformats.org/officeDocument/2006/relationships/image" Target="../media/image53.png"/><Relationship Id="rId35" Type="http://schemas.openxmlformats.org/officeDocument/2006/relationships/image" Target="../media/image30.png"/><Relationship Id="rId43" Type="http://schemas.openxmlformats.org/officeDocument/2006/relationships/image" Target="../media/image45.png"/><Relationship Id="rId48" Type="http://schemas.openxmlformats.org/officeDocument/2006/relationships/image" Target="../media/image60.png"/><Relationship Id="rId56" Type="http://schemas.openxmlformats.org/officeDocument/2006/relationships/image" Target="../media/image91.png"/><Relationship Id="rId64" Type="http://schemas.openxmlformats.org/officeDocument/2006/relationships/image" Target="../media/image56.png"/><Relationship Id="rId69" Type="http://schemas.openxmlformats.org/officeDocument/2006/relationships/image" Target="../media/image102.png"/><Relationship Id="rId77" Type="http://schemas.openxmlformats.org/officeDocument/2006/relationships/image" Target="../media/image108.png"/><Relationship Id="rId8" Type="http://schemas.openxmlformats.org/officeDocument/2006/relationships/image" Target="../media/image80.png"/><Relationship Id="rId51" Type="http://schemas.openxmlformats.org/officeDocument/2006/relationships/image" Target="../media/image63.png"/><Relationship Id="rId72" Type="http://schemas.openxmlformats.org/officeDocument/2006/relationships/image" Target="../media/image104.png"/><Relationship Id="rId3" Type="http://schemas.openxmlformats.org/officeDocument/2006/relationships/image" Target="../media/image71.png"/><Relationship Id="rId12" Type="http://schemas.openxmlformats.org/officeDocument/2006/relationships/image" Target="../media/image19.png"/><Relationship Id="rId17" Type="http://schemas.openxmlformats.org/officeDocument/2006/relationships/image" Target="../media/image31.png"/><Relationship Id="rId25" Type="http://schemas.openxmlformats.org/officeDocument/2006/relationships/image" Target="../media/image50.png"/><Relationship Id="rId33" Type="http://schemas.openxmlformats.org/officeDocument/2006/relationships/image" Target="../media/image28.png"/><Relationship Id="rId38" Type="http://schemas.openxmlformats.org/officeDocument/2006/relationships/image" Target="../media/image86.png"/><Relationship Id="rId46" Type="http://schemas.openxmlformats.org/officeDocument/2006/relationships/image" Target="../media/image48.png"/><Relationship Id="rId59" Type="http://schemas.openxmlformats.org/officeDocument/2006/relationships/image" Target="../media/image94.png"/><Relationship Id="rId67" Type="http://schemas.openxmlformats.org/officeDocument/2006/relationships/image" Target="../media/image100.png"/><Relationship Id="rId20" Type="http://schemas.openxmlformats.org/officeDocument/2006/relationships/image" Target="../media/image24.png"/><Relationship Id="rId41" Type="http://schemas.openxmlformats.org/officeDocument/2006/relationships/image" Target="../media/image44.png"/><Relationship Id="rId54" Type="http://schemas.openxmlformats.org/officeDocument/2006/relationships/image" Target="../media/image55.png"/><Relationship Id="rId62" Type="http://schemas.openxmlformats.org/officeDocument/2006/relationships/image" Target="../media/image97.png"/><Relationship Id="rId70" Type="http://schemas.openxmlformats.org/officeDocument/2006/relationships/image" Target="../media/image103.png"/><Relationship Id="rId75" Type="http://schemas.openxmlformats.org/officeDocument/2006/relationships/image" Target="../media/image106.pn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54.png"/><Relationship Id="rId15" Type="http://schemas.openxmlformats.org/officeDocument/2006/relationships/image" Target="../media/image22.png"/><Relationship Id="rId23" Type="http://schemas.openxmlformats.org/officeDocument/2006/relationships/image" Target="../media/image25.png"/><Relationship Id="rId28" Type="http://schemas.openxmlformats.org/officeDocument/2006/relationships/image" Target="../media/image52.png"/><Relationship Id="rId36" Type="http://schemas.openxmlformats.org/officeDocument/2006/relationships/image" Target="../media/image84.png"/><Relationship Id="rId49" Type="http://schemas.openxmlformats.org/officeDocument/2006/relationships/image" Target="../media/image61.png"/><Relationship Id="rId57" Type="http://schemas.openxmlformats.org/officeDocument/2006/relationships/image" Target="../media/image92.png"/><Relationship Id="rId10" Type="http://schemas.openxmlformats.org/officeDocument/2006/relationships/image" Target="../media/image75.png"/><Relationship Id="rId31" Type="http://schemas.openxmlformats.org/officeDocument/2006/relationships/image" Target="../media/image26.png"/><Relationship Id="rId44" Type="http://schemas.openxmlformats.org/officeDocument/2006/relationships/image" Target="../media/image46.png"/><Relationship Id="rId52" Type="http://schemas.openxmlformats.org/officeDocument/2006/relationships/image" Target="../media/image64.png"/><Relationship Id="rId60" Type="http://schemas.openxmlformats.org/officeDocument/2006/relationships/image" Target="../media/image95.png"/><Relationship Id="rId65" Type="http://schemas.openxmlformats.org/officeDocument/2006/relationships/image" Target="../media/image99.png"/><Relationship Id="rId73" Type="http://schemas.openxmlformats.org/officeDocument/2006/relationships/image" Target="../media/image33.png"/><Relationship Id="rId78" Type="http://schemas.openxmlformats.org/officeDocument/2006/relationships/image" Target="../media/image109.png"/><Relationship Id="rId4" Type="http://schemas.openxmlformats.org/officeDocument/2006/relationships/image" Target="../media/image72.png"/><Relationship Id="rId9" Type="http://schemas.openxmlformats.org/officeDocument/2006/relationships/image" Target="../media/image37.png"/><Relationship Id="rId13" Type="http://schemas.openxmlformats.org/officeDocument/2006/relationships/image" Target="../media/image20.png"/><Relationship Id="rId18" Type="http://schemas.openxmlformats.org/officeDocument/2006/relationships/image" Target="../media/image32.png"/><Relationship Id="rId39" Type="http://schemas.openxmlformats.org/officeDocument/2006/relationships/image" Target="../media/image87.png"/><Relationship Id="rId34" Type="http://schemas.openxmlformats.org/officeDocument/2006/relationships/image" Target="../media/image29.png"/><Relationship Id="rId50" Type="http://schemas.openxmlformats.org/officeDocument/2006/relationships/image" Target="../media/image62.png"/><Relationship Id="rId55" Type="http://schemas.openxmlformats.org/officeDocument/2006/relationships/image" Target="../media/image90.png"/><Relationship Id="rId76" Type="http://schemas.openxmlformats.org/officeDocument/2006/relationships/image" Target="../media/image107.png"/><Relationship Id="rId7" Type="http://schemas.openxmlformats.org/officeDocument/2006/relationships/image" Target="../media/image74.png"/><Relationship Id="rId71" Type="http://schemas.openxmlformats.org/officeDocument/2006/relationships/image" Target="../media/image58.png"/><Relationship Id="rId2" Type="http://schemas.openxmlformats.org/officeDocument/2006/relationships/notesSlide" Target="../notesSlides/notesSlide5.xml"/><Relationship Id="rId29" Type="http://schemas.openxmlformats.org/officeDocument/2006/relationships/image" Target="../media/image83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40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2026DEB3-3265-216D-7BC6-01475BCAF07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2026DEB3-3265-216D-7BC6-01475BCAF07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07" name="Google Shape;1407;p9"/>
          <p:cNvSpPr/>
          <p:nvPr/>
        </p:nvSpPr>
        <p:spPr>
          <a:xfrm>
            <a:off x="550863" y="1117804"/>
            <a:ext cx="3387145" cy="5516721"/>
          </a:xfrm>
          <a:prstGeom prst="roundRect">
            <a:avLst>
              <a:gd name="adj" fmla="val 3729"/>
            </a:avLst>
          </a:prstGeom>
          <a:solidFill>
            <a:schemeClr val="lt1"/>
          </a:solidFill>
          <a:ln>
            <a:noFill/>
          </a:ln>
          <a:effectLst>
            <a:outerShdw blurRad="508000" algn="ctr" rotWithShape="0">
              <a:srgbClr val="000000">
                <a:alpha val="12941"/>
              </a:srgbClr>
            </a:outerShdw>
          </a:effectLst>
        </p:spPr>
        <p:txBody>
          <a:bodyPr spcFirstLastPara="1" wrap="square" lIns="144000" tIns="180000" rIns="144000" bIns="180000" anchor="t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41666"/>
              </a:lnSpc>
              <a:spcBef>
                <a:spcPts val="0"/>
              </a:spcBef>
              <a:spcAft>
                <a:spcPts val="0"/>
              </a:spcAft>
              <a:buClr>
                <a:srgbClr val="00B9FF"/>
              </a:buClr>
              <a:buSzPts val="1200"/>
              <a:buFont typeface="Calibri"/>
              <a:buNone/>
              <a:tabLst/>
              <a:defRPr/>
            </a:pPr>
            <a:endParaRPr kumimoji="0" sz="1200" b="0" i="0" u="none" strike="noStrike" kern="0" cap="none" spc="0" normalizeH="0" baseline="0" noProof="0">
              <a:ln>
                <a:noFill/>
              </a:ln>
              <a:solidFill>
                <a:srgbClr val="444444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408" name="Google Shape;1408;p9"/>
          <p:cNvSpPr/>
          <p:nvPr/>
        </p:nvSpPr>
        <p:spPr>
          <a:xfrm>
            <a:off x="4355141" y="1117804"/>
            <a:ext cx="3387145" cy="5516721"/>
          </a:xfrm>
          <a:prstGeom prst="roundRect">
            <a:avLst>
              <a:gd name="adj" fmla="val 3729"/>
            </a:avLst>
          </a:prstGeom>
          <a:solidFill>
            <a:schemeClr val="lt1"/>
          </a:solidFill>
          <a:ln>
            <a:noFill/>
          </a:ln>
          <a:effectLst>
            <a:outerShdw blurRad="508000" algn="ctr" rotWithShape="0">
              <a:srgbClr val="000000">
                <a:alpha val="12941"/>
              </a:srgbClr>
            </a:outerShdw>
          </a:effectLst>
        </p:spPr>
        <p:txBody>
          <a:bodyPr spcFirstLastPara="1" wrap="square" lIns="144000" tIns="180000" rIns="144000" bIns="180000" anchor="t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41666"/>
              </a:lnSpc>
              <a:spcBef>
                <a:spcPts val="0"/>
              </a:spcBef>
              <a:spcAft>
                <a:spcPts val="0"/>
              </a:spcAft>
              <a:buClr>
                <a:srgbClr val="00B9FF"/>
              </a:buClr>
              <a:buSzPts val="1200"/>
              <a:buFont typeface="Calibri"/>
              <a:buNone/>
              <a:tabLst/>
              <a:defRPr/>
            </a:pPr>
            <a:endParaRPr kumimoji="0" sz="1200" b="0" i="0" u="none" strike="noStrike" kern="0" cap="none" spc="0" normalizeH="0" baseline="0" noProof="0">
              <a:ln>
                <a:noFill/>
              </a:ln>
              <a:solidFill>
                <a:srgbClr val="444444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409" name="Google Shape;1409;p9"/>
          <p:cNvSpPr/>
          <p:nvPr/>
        </p:nvSpPr>
        <p:spPr>
          <a:xfrm>
            <a:off x="8273352" y="1117804"/>
            <a:ext cx="3387145" cy="5516721"/>
          </a:xfrm>
          <a:prstGeom prst="roundRect">
            <a:avLst>
              <a:gd name="adj" fmla="val 3729"/>
            </a:avLst>
          </a:prstGeom>
          <a:solidFill>
            <a:schemeClr val="lt1"/>
          </a:solidFill>
          <a:ln>
            <a:noFill/>
          </a:ln>
          <a:effectLst>
            <a:outerShdw blurRad="508000" algn="ctr" rotWithShape="0">
              <a:srgbClr val="000000">
                <a:alpha val="12941"/>
              </a:srgbClr>
            </a:outerShdw>
          </a:effectLst>
        </p:spPr>
        <p:txBody>
          <a:bodyPr spcFirstLastPara="1" wrap="square" lIns="144000" tIns="180000" rIns="144000" bIns="180000" anchor="t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41666"/>
              </a:lnSpc>
              <a:spcBef>
                <a:spcPts val="0"/>
              </a:spcBef>
              <a:spcAft>
                <a:spcPts val="0"/>
              </a:spcAft>
              <a:buClr>
                <a:srgbClr val="00B9FF"/>
              </a:buClr>
              <a:buSzPts val="1200"/>
              <a:buFont typeface="Calibri"/>
              <a:buNone/>
              <a:tabLst/>
              <a:defRPr/>
            </a:pP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srgbClr val="444444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410" name="Google Shape;1410;p9"/>
          <p:cNvSpPr txBox="1">
            <a:spLocks noGrp="1"/>
          </p:cNvSpPr>
          <p:nvPr>
            <p:ph type="title"/>
          </p:nvPr>
        </p:nvSpPr>
        <p:spPr>
          <a:xfrm>
            <a:off x="539400" y="560588"/>
            <a:ext cx="11089972" cy="4431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200"/>
              <a:buFont typeface="Franklin Gothic"/>
              <a:buNone/>
            </a:pPr>
            <a:r>
              <a:rPr lang="en-US" dirty="0" err="1"/>
              <a:t>Infomineo</a:t>
            </a:r>
            <a:r>
              <a:rPr lang="en-US" dirty="0"/>
              <a:t> offers a full suite of Data Analytics Services</a:t>
            </a:r>
            <a:endParaRPr dirty="0"/>
          </a:p>
        </p:txBody>
      </p:sp>
      <p:sp>
        <p:nvSpPr>
          <p:cNvPr id="1411" name="Google Shape;1411;p9"/>
          <p:cNvSpPr txBox="1"/>
          <p:nvPr/>
        </p:nvSpPr>
        <p:spPr>
          <a:xfrm>
            <a:off x="1893658" y="2013474"/>
            <a:ext cx="1942311" cy="96949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1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B050"/>
              </a:buClr>
              <a:buSzPts val="1400"/>
              <a:buFont typeface="Noto Sans Symbols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t>Data Exploration &amp; Cleaning</a:t>
            </a:r>
          </a:p>
          <a:p>
            <a:pPr marL="0" marR="0" lvl="1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B050"/>
              </a:buClr>
              <a:buSzPts val="1400"/>
              <a:buFont typeface="Noto Sans Symbols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t>Data Visualization : KPIs, automated dashboards &amp; reports</a:t>
            </a:r>
          </a:p>
        </p:txBody>
      </p:sp>
      <p:sp>
        <p:nvSpPr>
          <p:cNvPr id="1412" name="Google Shape;1412;p9"/>
          <p:cNvSpPr/>
          <p:nvPr/>
        </p:nvSpPr>
        <p:spPr>
          <a:xfrm>
            <a:off x="8547982" y="1312683"/>
            <a:ext cx="2552879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000"/>
              <a:buFont typeface="Arial"/>
              <a:buNone/>
              <a:tabLst/>
              <a:defRPr/>
            </a:pP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srgbClr val="00B9FF"/>
                </a:solidFill>
                <a:effectLst/>
                <a:uLnTx/>
                <a:uFillTx/>
                <a:latin typeface="Franklin Gothic"/>
                <a:ea typeface="Franklin Gothic"/>
                <a:cs typeface="Franklin Gothic"/>
                <a:sym typeface="Franklin Gothic"/>
              </a:rPr>
              <a:t>Four Types of Support</a:t>
            </a:r>
            <a:endParaRPr kumimoji="0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413" name="Google Shape;1413;p9"/>
          <p:cNvSpPr/>
          <p:nvPr/>
        </p:nvSpPr>
        <p:spPr>
          <a:xfrm>
            <a:off x="4540221" y="1290619"/>
            <a:ext cx="3111557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000"/>
              <a:buFont typeface="Arial"/>
              <a:buNone/>
              <a:tabLst/>
              <a:defRPr/>
            </a:pP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srgbClr val="00B9FF"/>
                </a:solidFill>
                <a:effectLst/>
                <a:uLnTx/>
                <a:uFillTx/>
                <a:latin typeface="Franklin Gothic"/>
                <a:ea typeface="Franklin Gothic"/>
                <a:cs typeface="Franklin Gothic"/>
                <a:sym typeface="Franklin Gothic"/>
              </a:rPr>
              <a:t>Business Oriented Approach</a:t>
            </a:r>
            <a:endParaRPr kumimoji="0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414" name="Google Shape;1414;p9"/>
          <p:cNvSpPr/>
          <p:nvPr/>
        </p:nvSpPr>
        <p:spPr>
          <a:xfrm>
            <a:off x="892656" y="1290619"/>
            <a:ext cx="2684196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000"/>
              <a:buFont typeface="Arial"/>
              <a:buNone/>
              <a:tabLst/>
              <a:defRPr/>
            </a:pP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srgbClr val="00B9FF"/>
                </a:solidFill>
                <a:effectLst/>
                <a:uLnTx/>
                <a:uFillTx/>
                <a:latin typeface="Franklin Gothic"/>
                <a:ea typeface="Franklin Gothic"/>
                <a:cs typeface="Franklin Gothic"/>
                <a:sym typeface="Franklin Gothic"/>
              </a:rPr>
              <a:t>Three Levels of Analytics</a:t>
            </a:r>
            <a:endParaRPr kumimoji="0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415" name="Google Shape;1415;p9"/>
          <p:cNvSpPr/>
          <p:nvPr/>
        </p:nvSpPr>
        <p:spPr>
          <a:xfrm rot="5400000">
            <a:off x="591625" y="2090088"/>
            <a:ext cx="1280160" cy="1005840"/>
          </a:xfrm>
          <a:prstGeom prst="homePlate">
            <a:avLst>
              <a:gd name="adj" fmla="val 18367"/>
            </a:avLst>
          </a:prstGeom>
          <a:solidFill>
            <a:schemeClr val="lt1">
              <a:alpha val="47843"/>
            </a:schemeClr>
          </a:solidFill>
          <a:ln w="19050" cap="flat" cmpd="sng">
            <a:solidFill>
              <a:schemeClr val="accent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416" name="Google Shape;1416;p9"/>
          <p:cNvSpPr/>
          <p:nvPr/>
        </p:nvSpPr>
        <p:spPr>
          <a:xfrm rot="5400000">
            <a:off x="598533" y="3398678"/>
            <a:ext cx="1280160" cy="1005840"/>
          </a:xfrm>
          <a:prstGeom prst="chevron">
            <a:avLst>
              <a:gd name="adj" fmla="val 17686"/>
            </a:avLst>
          </a:prstGeom>
          <a:solidFill>
            <a:schemeClr val="lt1">
              <a:alpha val="47843"/>
            </a:schemeClr>
          </a:solidFill>
          <a:ln w="19050" cap="flat" cmpd="sng">
            <a:solidFill>
              <a:schemeClr val="accent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417" name="Google Shape;1417;p9"/>
          <p:cNvSpPr/>
          <p:nvPr/>
        </p:nvSpPr>
        <p:spPr>
          <a:xfrm rot="5400000">
            <a:off x="586506" y="4773915"/>
            <a:ext cx="1280160" cy="1029893"/>
          </a:xfrm>
          <a:prstGeom prst="chevron">
            <a:avLst>
              <a:gd name="adj" fmla="val 17686"/>
            </a:avLst>
          </a:prstGeom>
          <a:solidFill>
            <a:schemeClr val="lt1">
              <a:alpha val="47843"/>
            </a:schemeClr>
          </a:solidFill>
          <a:ln w="19050" cap="flat" cmpd="sng">
            <a:solidFill>
              <a:schemeClr val="accent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419" name="Google Shape;1419;p9"/>
          <p:cNvSpPr txBox="1"/>
          <p:nvPr/>
        </p:nvSpPr>
        <p:spPr>
          <a:xfrm>
            <a:off x="759265" y="2399109"/>
            <a:ext cx="944880" cy="387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t>Data Analysis</a:t>
            </a:r>
            <a:endParaRPr kumimoji="0" sz="1200" b="0" i="0" u="none" strike="noStrike" kern="0" cap="none" spc="0" normalizeH="0" baseline="0" noProof="0" dirty="0">
              <a:ln>
                <a:noFill/>
              </a:ln>
              <a:solidFill>
                <a:srgbClr val="444444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420" name="Google Shape;1420;p9"/>
          <p:cNvSpPr txBox="1"/>
          <p:nvPr/>
        </p:nvSpPr>
        <p:spPr>
          <a:xfrm>
            <a:off x="766173" y="3759790"/>
            <a:ext cx="944880" cy="387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t>Data 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t>Science</a:t>
            </a:r>
            <a:endParaRPr kumimoji="0" sz="1200" b="0" i="0" u="none" strike="noStrike" kern="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421" name="Google Shape;1421;p9"/>
          <p:cNvSpPr txBox="1"/>
          <p:nvPr/>
        </p:nvSpPr>
        <p:spPr>
          <a:xfrm>
            <a:off x="754146" y="5094962"/>
            <a:ext cx="944880" cy="387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t>Data Engineering</a:t>
            </a:r>
            <a:endParaRPr kumimoji="0" sz="1200" b="0" i="0" u="none" strike="noStrike" kern="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423" name="Google Shape;1423;p9"/>
          <p:cNvSpPr txBox="1"/>
          <p:nvPr/>
        </p:nvSpPr>
        <p:spPr>
          <a:xfrm>
            <a:off x="1900069" y="3428826"/>
            <a:ext cx="1867604" cy="7755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1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B050"/>
              </a:buClr>
              <a:buSzPts val="1400"/>
              <a:buFont typeface="Noto Sans Symbols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t>Statistical Analysis</a:t>
            </a:r>
          </a:p>
          <a:p>
            <a:pPr marL="0" marR="0" lvl="1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B050"/>
              </a:buClr>
              <a:buSzPts val="1400"/>
              <a:buFont typeface="Noto Sans Symbols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t>Model building &amp; tuning</a:t>
            </a:r>
          </a:p>
          <a:p>
            <a:pPr marL="0" marR="0" lvl="1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B050"/>
              </a:buClr>
              <a:buSzPts val="1400"/>
              <a:buFont typeface="Noto Sans Symbols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t>Model evaluation &amp; retraining </a:t>
            </a:r>
            <a:endParaRPr kumimoji="0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424" name="Google Shape;1424;p9"/>
          <p:cNvSpPr txBox="1"/>
          <p:nvPr/>
        </p:nvSpPr>
        <p:spPr>
          <a:xfrm>
            <a:off x="1881915" y="4813539"/>
            <a:ext cx="2046412" cy="96949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1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B050"/>
              </a:buClr>
              <a:buSzPts val="1400"/>
              <a:buFont typeface="Noto Sans Symbols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t>Data Sourcing &amp; Integration</a:t>
            </a:r>
          </a:p>
          <a:p>
            <a:pPr marL="0" marR="0" lvl="1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B050"/>
              </a:buClr>
              <a:buSzPts val="1400"/>
              <a:buFont typeface="Noto Sans Symbols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t>Feature Engineering, Data transformation</a:t>
            </a:r>
          </a:p>
          <a:p>
            <a:pPr marL="0" marR="0" lvl="1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B050"/>
              </a:buClr>
              <a:buSzPts val="1400"/>
              <a:buFont typeface="Noto Sans Symbols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t>Model Deployment &amp; scalability</a:t>
            </a:r>
            <a:endParaRPr kumimoji="0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1426" name="Google Shape;1426;p9"/>
          <p:cNvGrpSpPr/>
          <p:nvPr/>
        </p:nvGrpSpPr>
        <p:grpSpPr>
          <a:xfrm>
            <a:off x="4891885" y="2819439"/>
            <a:ext cx="2266638" cy="2074300"/>
            <a:chOff x="4972362" y="3358004"/>
            <a:chExt cx="2266638" cy="2074300"/>
          </a:xfrm>
        </p:grpSpPr>
        <p:sp>
          <p:nvSpPr>
            <p:cNvPr id="1427" name="Google Shape;1427;p9"/>
            <p:cNvSpPr/>
            <p:nvPr/>
          </p:nvSpPr>
          <p:spPr>
            <a:xfrm>
              <a:off x="4972362" y="3358004"/>
              <a:ext cx="1254110" cy="1254111"/>
            </a:xfrm>
            <a:prstGeom prst="flowChartConnector">
              <a:avLst/>
            </a:prstGeom>
            <a:ln>
              <a:headEnd type="none" w="sm" len="sm"/>
              <a:tailEnd type="none" w="sm" len="sm"/>
            </a:ln>
          </p:spPr>
          <p:style>
            <a:lnRef idx="3">
              <a:schemeClr val="lt1"/>
            </a:lnRef>
            <a:fillRef idx="1">
              <a:schemeClr val="accent1"/>
            </a:fillRef>
            <a:effectRef idx="1">
              <a:schemeClr val="accent1"/>
            </a:effectRef>
            <a:fontRef idx="minor">
              <a:schemeClr val="lt1"/>
            </a:fontRef>
          </p:style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28" name="Google Shape;1428;p9"/>
            <p:cNvSpPr/>
            <p:nvPr/>
          </p:nvSpPr>
          <p:spPr>
            <a:xfrm>
              <a:off x="5984890" y="3358004"/>
              <a:ext cx="1254110" cy="1254111"/>
            </a:xfrm>
            <a:prstGeom prst="flowChartConnector">
              <a:avLst/>
            </a:prstGeom>
            <a:ln>
              <a:headEnd type="none" w="sm" len="sm"/>
              <a:tailEnd type="none" w="sm" len="sm"/>
            </a:ln>
          </p:spPr>
          <p:style>
            <a:lnRef idx="3">
              <a:schemeClr val="lt1"/>
            </a:lnRef>
            <a:fillRef idx="1">
              <a:schemeClr val="accent1"/>
            </a:fillRef>
            <a:effectRef idx="1">
              <a:schemeClr val="accent1"/>
            </a:effectRef>
            <a:fontRef idx="minor">
              <a:schemeClr val="lt1"/>
            </a:fontRef>
          </p:style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29" name="Google Shape;1429;p9"/>
            <p:cNvSpPr/>
            <p:nvPr/>
          </p:nvSpPr>
          <p:spPr>
            <a:xfrm>
              <a:off x="5478626" y="4178193"/>
              <a:ext cx="1254110" cy="1254111"/>
            </a:xfrm>
            <a:prstGeom prst="flowChartConnector">
              <a:avLst/>
            </a:prstGeom>
            <a:ln>
              <a:headEnd type="none" w="sm" len="sm"/>
              <a:tailEnd type="none" w="sm" len="sm"/>
            </a:ln>
          </p:spPr>
          <p:style>
            <a:lnRef idx="3">
              <a:schemeClr val="lt1"/>
            </a:lnRef>
            <a:fillRef idx="1">
              <a:schemeClr val="accent1"/>
            </a:fillRef>
            <a:effectRef idx="1">
              <a:schemeClr val="accent1"/>
            </a:effectRef>
            <a:fontRef idx="minor">
              <a:schemeClr val="lt1"/>
            </a:fontRef>
          </p:style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430" name="Google Shape;1430;p9"/>
          <p:cNvSpPr txBox="1"/>
          <p:nvPr/>
        </p:nvSpPr>
        <p:spPr>
          <a:xfrm>
            <a:off x="4923232" y="3179380"/>
            <a:ext cx="982722" cy="4985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t>Business &amp; Data Understanding</a:t>
            </a:r>
            <a:endParaRPr kumimoji="0" sz="1100" b="0" i="0" u="none" strike="noStrike" kern="0" cap="none" spc="0" normalizeH="0" baseline="0" noProof="0" dirty="0">
              <a:ln>
                <a:noFill/>
              </a:ln>
              <a:solidFill>
                <a:srgbClr val="444444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431" name="Google Shape;1431;p9"/>
          <p:cNvSpPr txBox="1"/>
          <p:nvPr/>
        </p:nvSpPr>
        <p:spPr>
          <a:xfrm>
            <a:off x="6074704" y="3257094"/>
            <a:ext cx="863163" cy="3323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t>Agile Methodology</a:t>
            </a:r>
            <a:endParaRPr kumimoji="0" sz="1100" b="0" i="0" u="none" strike="noStrike" kern="0" cap="none" spc="0" normalizeH="0" baseline="0" noProof="0" dirty="0">
              <a:ln>
                <a:noFill/>
              </a:ln>
              <a:solidFill>
                <a:srgbClr val="444444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432" name="Google Shape;1432;p9"/>
          <p:cNvSpPr txBox="1"/>
          <p:nvPr/>
        </p:nvSpPr>
        <p:spPr>
          <a:xfrm>
            <a:off x="5477664" y="4131600"/>
            <a:ext cx="1095080" cy="3323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t>Delivery Management</a:t>
            </a:r>
            <a:endParaRPr kumimoji="0" sz="1100" b="0" i="0" u="none" strike="noStrike" kern="0" cap="none" spc="0" normalizeH="0" baseline="0" noProof="0" dirty="0">
              <a:ln>
                <a:noFill/>
              </a:ln>
              <a:solidFill>
                <a:srgbClr val="444444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433" name="Google Shape;1433;p9"/>
          <p:cNvSpPr txBox="1"/>
          <p:nvPr/>
        </p:nvSpPr>
        <p:spPr>
          <a:xfrm>
            <a:off x="4458975" y="2193800"/>
            <a:ext cx="1429647" cy="4985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1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B050"/>
              </a:buClr>
              <a:buSzPts val="1400"/>
              <a:buFont typeface="Noto Sans Symbols"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t>Infomineo’s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t> teams demonstrate a high Business sense</a:t>
            </a:r>
            <a:endParaRPr kumimoji="0" sz="12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434" name="Google Shape;1434;p9"/>
          <p:cNvSpPr txBox="1"/>
          <p:nvPr/>
        </p:nvSpPr>
        <p:spPr>
          <a:xfrm>
            <a:off x="6356836" y="2214982"/>
            <a:ext cx="1346242" cy="6647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1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B050"/>
              </a:buClr>
              <a:buSzPts val="1400"/>
              <a:buFont typeface="Arial"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t>We work in an iterative approach to fulfill clients needs quickly</a:t>
            </a:r>
            <a:endParaRPr kumimoji="0" sz="1200" b="0" i="0" u="none" strike="noStrike" kern="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Calibri"/>
              <a:ea typeface="Calibri"/>
              <a:cs typeface="Calibri"/>
              <a:sym typeface="Arial"/>
            </a:endParaRPr>
          </a:p>
        </p:txBody>
      </p:sp>
      <p:sp>
        <p:nvSpPr>
          <p:cNvPr id="1435" name="Google Shape;1435;p9"/>
          <p:cNvSpPr txBox="1"/>
          <p:nvPr/>
        </p:nvSpPr>
        <p:spPr>
          <a:xfrm>
            <a:off x="5021602" y="5029141"/>
            <a:ext cx="2148794" cy="6647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1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B050"/>
              </a:buClr>
              <a:buSzPts val="1400"/>
              <a:buFont typeface="Noto Sans Symbols"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t>Release &amp; Change Management are handled: versioning, unit tests, model validation, documentation…  </a:t>
            </a:r>
            <a:endParaRPr kumimoji="0" sz="12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436" name="Google Shape;1436;p9"/>
          <p:cNvSpPr/>
          <p:nvPr/>
        </p:nvSpPr>
        <p:spPr>
          <a:xfrm>
            <a:off x="8405373" y="1773820"/>
            <a:ext cx="1115025" cy="1115026"/>
          </a:xfrm>
          <a:prstGeom prst="flowChartConnector">
            <a:avLst/>
          </a:prstGeom>
          <a:noFill/>
          <a:ln w="28575" cap="flat" cmpd="sng">
            <a:solidFill>
              <a:schemeClr val="accent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437" name="Google Shape;1437;p9"/>
          <p:cNvSpPr/>
          <p:nvPr/>
        </p:nvSpPr>
        <p:spPr>
          <a:xfrm>
            <a:off x="8405373" y="2999096"/>
            <a:ext cx="1115025" cy="1115026"/>
          </a:xfrm>
          <a:prstGeom prst="flowChartConnector">
            <a:avLst/>
          </a:prstGeom>
          <a:noFill/>
          <a:ln w="28575" cap="flat" cmpd="sng">
            <a:solidFill>
              <a:schemeClr val="accent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438" name="Google Shape;1438;p9"/>
          <p:cNvSpPr/>
          <p:nvPr/>
        </p:nvSpPr>
        <p:spPr>
          <a:xfrm>
            <a:off x="8376264" y="4204423"/>
            <a:ext cx="1115025" cy="1115026"/>
          </a:xfrm>
          <a:prstGeom prst="flowChartConnector">
            <a:avLst/>
          </a:prstGeom>
          <a:noFill/>
          <a:ln w="28575" cap="flat" cmpd="sng">
            <a:solidFill>
              <a:schemeClr val="accent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439" name="Google Shape;1439;p9"/>
          <p:cNvSpPr txBox="1"/>
          <p:nvPr/>
        </p:nvSpPr>
        <p:spPr>
          <a:xfrm>
            <a:off x="8376264" y="3383808"/>
            <a:ext cx="1144134" cy="387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tabLst/>
              <a:defRPr/>
            </a:pPr>
            <a:r>
              <a:rPr lang="en-US" b="1" dirty="0">
                <a:solidFill>
                  <a:srgbClr val="3D3D3D"/>
                </a:solidFill>
                <a:latin typeface="Calibri"/>
                <a:ea typeface="Calibri"/>
                <a:cs typeface="Calibri"/>
                <a:sym typeface="Calibri"/>
              </a:rPr>
              <a:t>Exploration &amp;</a:t>
            </a: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t> Visualization</a:t>
            </a:r>
            <a:endParaRPr kumimoji="0" sz="1200" b="0" i="0" u="none" strike="noStrike" kern="0" cap="none" spc="0" normalizeH="0" baseline="0" noProof="0" dirty="0">
              <a:ln>
                <a:noFill/>
              </a:ln>
              <a:solidFill>
                <a:srgbClr val="444444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440" name="Google Shape;1440;p9"/>
          <p:cNvSpPr txBox="1"/>
          <p:nvPr/>
        </p:nvSpPr>
        <p:spPr>
          <a:xfrm>
            <a:off x="8438217" y="2138405"/>
            <a:ext cx="1049335" cy="387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t>Acquisition &amp; Preparation</a:t>
            </a:r>
            <a:endParaRPr kumimoji="0" sz="1200" b="0" i="0" u="none" strike="noStrike" kern="0" cap="none" spc="0" normalizeH="0" baseline="0" noProof="0" dirty="0">
              <a:ln>
                <a:noFill/>
              </a:ln>
              <a:solidFill>
                <a:srgbClr val="444444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441" name="Google Shape;1441;p9"/>
          <p:cNvSpPr txBox="1"/>
          <p:nvPr/>
        </p:nvSpPr>
        <p:spPr>
          <a:xfrm>
            <a:off x="8465126" y="4664986"/>
            <a:ext cx="988026" cy="1938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t>Modeling</a:t>
            </a:r>
            <a:endParaRPr kumimoji="0" sz="1200" b="0" i="0" u="none" strike="noStrike" kern="0" cap="none" spc="0" normalizeH="0" baseline="0" noProof="0" dirty="0">
              <a:ln>
                <a:noFill/>
              </a:ln>
              <a:solidFill>
                <a:srgbClr val="444444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442" name="Google Shape;1442;p9"/>
          <p:cNvSpPr txBox="1"/>
          <p:nvPr/>
        </p:nvSpPr>
        <p:spPr>
          <a:xfrm>
            <a:off x="9608271" y="4589932"/>
            <a:ext cx="1790489" cy="387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1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B050"/>
              </a:buClr>
              <a:buSzPts val="1400"/>
              <a:buFont typeface="Noto Sans Symbols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3D3D3D"/>
                </a:solidFill>
                <a:effectLst/>
                <a:highlight>
                  <a:srgbClr val="FFFF00"/>
                </a:highlight>
                <a:uLnTx/>
                <a:uFillTx/>
                <a:latin typeface="Calibri"/>
                <a:ea typeface="Calibri"/>
                <a:cs typeface="Calibri"/>
                <a:sym typeface="Calibri"/>
              </a:rPr>
              <a:t>Building predictive and prescriptive models </a:t>
            </a:r>
            <a:endParaRPr kumimoji="0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highlight>
                <a:srgbClr val="FFFF00"/>
              </a:highlight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444" name="Google Shape;1444;p9"/>
          <p:cNvSpPr txBox="1"/>
          <p:nvPr/>
        </p:nvSpPr>
        <p:spPr>
          <a:xfrm>
            <a:off x="9643724" y="3338835"/>
            <a:ext cx="1790489" cy="5816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 marL="0" marR="0" lvl="1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B050"/>
              </a:buClr>
              <a:buSzPts val="1400"/>
              <a:buFont typeface="Noto Sans Symbols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t>Building and maintaining self service analytics.</a:t>
            </a:r>
            <a:endParaRPr kumimoji="0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" name="Google Shape;1400;p8">
            <a:extLst>
              <a:ext uri="{FF2B5EF4-FFF2-40B4-BE49-F238E27FC236}">
                <a16:creationId xmlns:a16="http://schemas.microsoft.com/office/drawing/2014/main" id="{09B7420E-07FF-5A01-0077-413D903814B3}"/>
              </a:ext>
            </a:extLst>
          </p:cNvPr>
          <p:cNvSpPr txBox="1"/>
          <p:nvPr/>
        </p:nvSpPr>
        <p:spPr>
          <a:xfrm>
            <a:off x="10976464" y="292682"/>
            <a:ext cx="533800" cy="1538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0F47F2"/>
                </a:solidFill>
                <a:effectLst/>
                <a:uLnTx/>
                <a:uFillTx/>
                <a:latin typeface="Franklin Gothic"/>
                <a:ea typeface="Franklin Gothic"/>
                <a:cs typeface="Franklin Gothic"/>
                <a:sym typeface="Franklin Gothic"/>
              </a:rPr>
              <a:t>Analytics</a:t>
            </a:r>
            <a:endParaRPr kumimoji="0" sz="1400" b="0" i="0" u="none" strike="noStrike" kern="0" cap="none" spc="0" normalizeH="0" baseline="0" noProof="0" dirty="0">
              <a:ln>
                <a:noFill/>
              </a:ln>
              <a:solidFill>
                <a:srgbClr val="0F47F2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CBEF7809-1304-BB3B-8466-062E965920D1}"/>
              </a:ext>
            </a:extLst>
          </p:cNvPr>
          <p:cNvGrpSpPr/>
          <p:nvPr/>
        </p:nvGrpSpPr>
        <p:grpSpPr>
          <a:xfrm>
            <a:off x="11557889" y="135255"/>
            <a:ext cx="468744" cy="468742"/>
            <a:chOff x="11706853" y="287655"/>
            <a:chExt cx="468744" cy="468742"/>
          </a:xfrm>
        </p:grpSpPr>
        <p:sp>
          <p:nvSpPr>
            <p:cNvPr id="6" name="Google Shape;1401;p8">
              <a:extLst>
                <a:ext uri="{FF2B5EF4-FFF2-40B4-BE49-F238E27FC236}">
                  <a16:creationId xmlns:a16="http://schemas.microsoft.com/office/drawing/2014/main" id="{45037A39-E961-9573-1D46-AE6362AE12DD}"/>
                </a:ext>
              </a:extLst>
            </p:cNvPr>
            <p:cNvSpPr/>
            <p:nvPr/>
          </p:nvSpPr>
          <p:spPr>
            <a:xfrm>
              <a:off x="11706853" y="287655"/>
              <a:ext cx="468744" cy="468742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000"/>
                <a:buFont typeface="Arial"/>
                <a:buNone/>
                <a:tabLst/>
                <a:defRPr/>
              </a:pPr>
              <a:endParaRPr kumimoji="0" sz="10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5" name="Picture 4">
              <a:extLst>
                <a:ext uri="{FF2B5EF4-FFF2-40B4-BE49-F238E27FC236}">
                  <a16:creationId xmlns:a16="http://schemas.microsoft.com/office/drawing/2014/main" id="{CD00EA03-4E69-E82D-B336-107B61E96826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lum bright="70000" contrast="-70000"/>
              <a:alphaModFix/>
            </a:blip>
            <a:stretch>
              <a:fillRect/>
            </a:stretch>
          </p:blipFill>
          <p:spPr>
            <a:xfrm>
              <a:off x="11795074" y="375875"/>
              <a:ext cx="292302" cy="292302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9" name="Google Shape;1444;p9">
            <a:extLst>
              <a:ext uri="{FF2B5EF4-FFF2-40B4-BE49-F238E27FC236}">
                <a16:creationId xmlns:a16="http://schemas.microsoft.com/office/drawing/2014/main" id="{D34CF46D-A9DF-C000-16E7-7A9F46D01D46}"/>
              </a:ext>
            </a:extLst>
          </p:cNvPr>
          <p:cNvSpPr txBox="1"/>
          <p:nvPr/>
        </p:nvSpPr>
        <p:spPr>
          <a:xfrm>
            <a:off x="9643724" y="1846586"/>
            <a:ext cx="1790489" cy="96949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 marL="0" marR="0" lvl="1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B050"/>
              </a:buClr>
              <a:buSzPts val="1400"/>
              <a:buFont typeface="Noto Sans Symbols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t>Gathering Data from various storage, Assessing Data Quality and processing cleaning and wrangling</a:t>
            </a:r>
            <a:endParaRPr kumimoji="0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" name="Google Shape;1438;p9">
            <a:extLst>
              <a:ext uri="{FF2B5EF4-FFF2-40B4-BE49-F238E27FC236}">
                <a16:creationId xmlns:a16="http://schemas.microsoft.com/office/drawing/2014/main" id="{3927801E-824A-77CA-109D-27E0C4E7F467}"/>
              </a:ext>
            </a:extLst>
          </p:cNvPr>
          <p:cNvSpPr/>
          <p:nvPr/>
        </p:nvSpPr>
        <p:spPr>
          <a:xfrm>
            <a:off x="8372527" y="5429827"/>
            <a:ext cx="1115025" cy="1115026"/>
          </a:xfrm>
          <a:prstGeom prst="flowChartConnector">
            <a:avLst/>
          </a:prstGeom>
          <a:noFill/>
          <a:ln w="28575" cap="flat" cmpd="sng">
            <a:solidFill>
              <a:schemeClr val="accent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" name="Google Shape;1441;p9">
            <a:extLst>
              <a:ext uri="{FF2B5EF4-FFF2-40B4-BE49-F238E27FC236}">
                <a16:creationId xmlns:a16="http://schemas.microsoft.com/office/drawing/2014/main" id="{610B5845-C4C1-19A9-F5A2-7BBC0E39BB2C}"/>
              </a:ext>
            </a:extLst>
          </p:cNvPr>
          <p:cNvSpPr txBox="1"/>
          <p:nvPr/>
        </p:nvSpPr>
        <p:spPr>
          <a:xfrm>
            <a:off x="8461389" y="5890390"/>
            <a:ext cx="988026" cy="3600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t>Deployment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tabLst/>
              <a:defRPr/>
            </a:pPr>
            <a:endParaRPr kumimoji="0" sz="1200" b="0" i="0" u="none" strike="noStrike" kern="0" cap="none" spc="0" normalizeH="0" baseline="0" noProof="0" dirty="0">
              <a:ln>
                <a:noFill/>
              </a:ln>
              <a:solidFill>
                <a:srgbClr val="444444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0" name="Google Shape;1442;p9">
            <a:extLst>
              <a:ext uri="{FF2B5EF4-FFF2-40B4-BE49-F238E27FC236}">
                <a16:creationId xmlns:a16="http://schemas.microsoft.com/office/drawing/2014/main" id="{3E8DCDAE-EAA9-355D-8FBD-79BE887D40C8}"/>
              </a:ext>
            </a:extLst>
          </p:cNvPr>
          <p:cNvSpPr txBox="1"/>
          <p:nvPr/>
        </p:nvSpPr>
        <p:spPr>
          <a:xfrm>
            <a:off x="9603111" y="5662816"/>
            <a:ext cx="1790489" cy="1938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1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B050"/>
              </a:buClr>
              <a:buSzPts val="1400"/>
              <a:buFont typeface="Noto Sans Symbols"/>
              <a:buNone/>
              <a:tabLst/>
              <a:defRPr/>
            </a:pPr>
            <a:endParaRPr kumimoji="0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" name="Google Shape;1442;p9">
            <a:extLst>
              <a:ext uri="{FF2B5EF4-FFF2-40B4-BE49-F238E27FC236}">
                <a16:creationId xmlns:a16="http://schemas.microsoft.com/office/drawing/2014/main" id="{0BA2FA8D-8EC1-52DA-DB7C-404BB5E5D4B0}"/>
              </a:ext>
            </a:extLst>
          </p:cNvPr>
          <p:cNvSpPr txBox="1"/>
          <p:nvPr/>
        </p:nvSpPr>
        <p:spPr>
          <a:xfrm>
            <a:off x="9603111" y="5740196"/>
            <a:ext cx="1790489" cy="7755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1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B050"/>
              </a:buClr>
              <a:buSzPts val="1400"/>
              <a:buFont typeface="Noto Sans Symbols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t>Model deployment in clients’ infrastructure, model monitoring, interfacing …</a:t>
            </a:r>
            <a:endParaRPr kumimoji="0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87584468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45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53" name="Google Shape;1453;p10"/>
          <p:cNvSpPr/>
          <p:nvPr/>
        </p:nvSpPr>
        <p:spPr>
          <a:xfrm>
            <a:off x="969649" y="1447024"/>
            <a:ext cx="1997022" cy="1014395"/>
          </a:xfrm>
          <a:custGeom>
            <a:avLst/>
            <a:gdLst/>
            <a:ahLst/>
            <a:cxnLst/>
            <a:rect l="l" t="t" r="r" b="b"/>
            <a:pathLst>
              <a:path w="1997022" h="1014395" extrusionOk="0">
                <a:moveTo>
                  <a:pt x="998511" y="0"/>
                </a:moveTo>
                <a:cubicBezTo>
                  <a:pt x="1549973" y="0"/>
                  <a:pt x="1997022" y="447048"/>
                  <a:pt x="1997022" y="998510"/>
                </a:cubicBezTo>
                <a:lnTo>
                  <a:pt x="1996220" y="1014395"/>
                </a:lnTo>
                <a:lnTo>
                  <a:pt x="802" y="1014395"/>
                </a:lnTo>
                <a:lnTo>
                  <a:pt x="0" y="998510"/>
                </a:lnTo>
                <a:cubicBezTo>
                  <a:pt x="0" y="447048"/>
                  <a:pt x="447049" y="0"/>
                  <a:pt x="998511" y="0"/>
                </a:cubicBezTo>
                <a:close/>
              </a:path>
            </a:pathLst>
          </a:custGeom>
          <a:gradFill>
            <a:gsLst>
              <a:gs pos="0">
                <a:srgbClr val="E5E5E5"/>
              </a:gs>
              <a:gs pos="73000">
                <a:srgbClr val="F0F0F0">
                  <a:alpha val="47843"/>
                </a:srgbClr>
              </a:gs>
              <a:gs pos="100000">
                <a:srgbClr val="FFFFFF">
                  <a:alpha val="0"/>
                </a:srgbClr>
              </a:gs>
            </a:gsLst>
            <a:lin ang="540000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454" name="Google Shape;1454;p10"/>
          <p:cNvSpPr/>
          <p:nvPr/>
        </p:nvSpPr>
        <p:spPr>
          <a:xfrm>
            <a:off x="5338130" y="1447024"/>
            <a:ext cx="1997022" cy="1014395"/>
          </a:xfrm>
          <a:custGeom>
            <a:avLst/>
            <a:gdLst/>
            <a:ahLst/>
            <a:cxnLst/>
            <a:rect l="l" t="t" r="r" b="b"/>
            <a:pathLst>
              <a:path w="1997022" h="1014395" extrusionOk="0">
                <a:moveTo>
                  <a:pt x="998511" y="0"/>
                </a:moveTo>
                <a:cubicBezTo>
                  <a:pt x="1549973" y="0"/>
                  <a:pt x="1997022" y="447048"/>
                  <a:pt x="1997022" y="998510"/>
                </a:cubicBezTo>
                <a:lnTo>
                  <a:pt x="1996220" y="1014395"/>
                </a:lnTo>
                <a:lnTo>
                  <a:pt x="802" y="1014395"/>
                </a:lnTo>
                <a:lnTo>
                  <a:pt x="0" y="998510"/>
                </a:lnTo>
                <a:cubicBezTo>
                  <a:pt x="0" y="447048"/>
                  <a:pt x="447049" y="0"/>
                  <a:pt x="998511" y="0"/>
                </a:cubicBezTo>
                <a:close/>
              </a:path>
            </a:pathLst>
          </a:custGeom>
          <a:gradFill>
            <a:gsLst>
              <a:gs pos="0">
                <a:srgbClr val="E5E5E5"/>
              </a:gs>
              <a:gs pos="73000">
                <a:srgbClr val="F0F0F0">
                  <a:alpha val="47843"/>
                </a:srgbClr>
              </a:gs>
              <a:gs pos="100000">
                <a:srgbClr val="FFFFFF">
                  <a:alpha val="0"/>
                </a:srgbClr>
              </a:gs>
            </a:gsLst>
            <a:lin ang="540000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455" name="Google Shape;1455;p10"/>
          <p:cNvSpPr/>
          <p:nvPr/>
        </p:nvSpPr>
        <p:spPr>
          <a:xfrm>
            <a:off x="9499584" y="1502186"/>
            <a:ext cx="1997022" cy="1014395"/>
          </a:xfrm>
          <a:custGeom>
            <a:avLst/>
            <a:gdLst/>
            <a:ahLst/>
            <a:cxnLst/>
            <a:rect l="l" t="t" r="r" b="b"/>
            <a:pathLst>
              <a:path w="1997022" h="1014395" extrusionOk="0">
                <a:moveTo>
                  <a:pt x="998511" y="0"/>
                </a:moveTo>
                <a:cubicBezTo>
                  <a:pt x="1549973" y="0"/>
                  <a:pt x="1997022" y="447048"/>
                  <a:pt x="1997022" y="998510"/>
                </a:cubicBezTo>
                <a:lnTo>
                  <a:pt x="1996220" y="1014395"/>
                </a:lnTo>
                <a:lnTo>
                  <a:pt x="802" y="1014395"/>
                </a:lnTo>
                <a:lnTo>
                  <a:pt x="0" y="998510"/>
                </a:lnTo>
                <a:cubicBezTo>
                  <a:pt x="0" y="447048"/>
                  <a:pt x="447049" y="0"/>
                  <a:pt x="998511" y="0"/>
                </a:cubicBezTo>
                <a:close/>
              </a:path>
            </a:pathLst>
          </a:custGeom>
          <a:gradFill>
            <a:gsLst>
              <a:gs pos="0">
                <a:srgbClr val="E5E5E5"/>
              </a:gs>
              <a:gs pos="73000">
                <a:srgbClr val="F0F0F0">
                  <a:alpha val="47843"/>
                </a:srgbClr>
              </a:gs>
              <a:gs pos="100000">
                <a:srgbClr val="FFFFFF">
                  <a:alpha val="0"/>
                </a:srgbClr>
              </a:gs>
            </a:gsLst>
            <a:lin ang="540000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456" name="Google Shape;1456;p10"/>
          <p:cNvSpPr/>
          <p:nvPr/>
        </p:nvSpPr>
        <p:spPr>
          <a:xfrm>
            <a:off x="3544766" y="3289569"/>
            <a:ext cx="5568814" cy="3416068"/>
          </a:xfrm>
          <a:prstGeom prst="roundRect">
            <a:avLst>
              <a:gd name="adj" fmla="val 2870"/>
            </a:avLst>
          </a:prstGeom>
          <a:solidFill>
            <a:srgbClr val="CDD9FC">
              <a:alpha val="60000"/>
            </a:srgbClr>
          </a:solidFill>
          <a:ln>
            <a:noFill/>
          </a:ln>
        </p:spPr>
        <p:txBody>
          <a:bodyPr spcFirstLastPara="1" wrap="square" lIns="0" tIns="37325" rIns="0" bIns="37325" anchor="ctr" anchorCtr="0">
            <a:noAutofit/>
          </a:bodyPr>
          <a:lstStyle/>
          <a:p>
            <a:pPr marL="0" marR="0" lvl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Arial"/>
              <a:buNone/>
            </a:pPr>
            <a:endParaRPr sz="1600" b="1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457" name="Google Shape;1457;p10"/>
          <p:cNvSpPr txBox="1">
            <a:spLocks noGrp="1"/>
          </p:cNvSpPr>
          <p:nvPr>
            <p:ph type="title"/>
          </p:nvPr>
        </p:nvSpPr>
        <p:spPr>
          <a:xfrm>
            <a:off x="539400" y="560588"/>
            <a:ext cx="11089972" cy="4431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200"/>
              <a:buFont typeface="Franklin Gothic"/>
              <a:buNone/>
            </a:pPr>
            <a:r>
              <a:rPr lang="en-US"/>
              <a:t>Our approach to helping you</a:t>
            </a:r>
            <a:endParaRPr/>
          </a:p>
        </p:txBody>
      </p:sp>
      <p:sp>
        <p:nvSpPr>
          <p:cNvPr id="1458" name="Google Shape;1458;p10"/>
          <p:cNvSpPr txBox="1"/>
          <p:nvPr/>
        </p:nvSpPr>
        <p:spPr>
          <a:xfrm>
            <a:off x="454519" y="3541181"/>
            <a:ext cx="1448398" cy="316445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1" indent="0" algn="l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260"/>
              <a:buFont typeface="Noto Sans Symbols"/>
              <a:buNone/>
            </a:pPr>
            <a:r>
              <a:rPr lang="en-US" sz="1400" b="1" i="0" u="none" strike="noStrike" cap="none" dirty="0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rPr>
              <a:t>Understanding client needs and objective</a:t>
            </a:r>
            <a:endParaRPr sz="14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R="0" lvl="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2"/>
              </a:buClr>
              <a:buSzPts val="1080"/>
            </a:pP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Get a deep understanding of the client objectives: </a:t>
            </a:r>
          </a:p>
          <a:p>
            <a:pPr marL="176213" marR="0" lvl="1" indent="-17621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2"/>
              </a:buClr>
              <a:buSzPts val="1080"/>
              <a:buFont typeface="Noto Sans Symbols"/>
              <a:buChar char="▪"/>
            </a:pP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ype of analytics support considered</a:t>
            </a:r>
          </a:p>
          <a:p>
            <a:pPr marL="176213" marR="0" lvl="1" indent="-17621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2"/>
              </a:buClr>
              <a:buSzPts val="1080"/>
              <a:buFont typeface="Noto Sans Symbols"/>
              <a:buChar char="▪"/>
            </a:pP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usiness questions to answer</a:t>
            </a:r>
          </a:p>
          <a:p>
            <a:pPr marL="176213" marR="0" lvl="1" indent="-17621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2"/>
              </a:buClr>
              <a:buSzPts val="1080"/>
              <a:buFont typeface="Noto Sans Symbols"/>
              <a:buChar char="▪"/>
            </a:pPr>
            <a:r>
              <a:rPr lang="en-US" sz="1200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Assess a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vailable </a:t>
            </a:r>
            <a:r>
              <a:rPr lang="en-US" sz="1200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ata, data needs if any, critical data elements to take care of</a:t>
            </a:r>
          </a:p>
          <a:p>
            <a:pPr marL="176213" marR="0" lvl="1" indent="-17621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2"/>
              </a:buClr>
              <a:buSzPts val="1080"/>
              <a:buFont typeface="Noto Sans Symbols"/>
              <a:buChar char="▪"/>
            </a:pPr>
            <a:r>
              <a:rPr lang="en-US" sz="1200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P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lanned use of the analytics outputs</a:t>
            </a:r>
            <a:endParaRPr sz="14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459" name="Google Shape;1459;p10"/>
          <p:cNvSpPr txBox="1"/>
          <p:nvPr/>
        </p:nvSpPr>
        <p:spPr>
          <a:xfrm>
            <a:off x="2037993" y="3541181"/>
            <a:ext cx="1260000" cy="23652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1" indent="0" algn="l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260"/>
              <a:buFont typeface="Noto Sans Symbols"/>
              <a:buNone/>
            </a:pPr>
            <a:r>
              <a:rPr lang="en-US" sz="1400" b="1" i="0" u="none" strike="noStrike" cap="none" dirty="0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rPr>
              <a:t>Structuring approach</a:t>
            </a:r>
            <a:endParaRPr sz="14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176213" marR="0" lvl="1" indent="-17621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2"/>
              </a:buClr>
              <a:buSzPts val="1080"/>
              <a:buFont typeface="Noto Sans Symbols"/>
              <a:buChar char="▪"/>
            </a:pP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Define the best data analytics strategy to answer the client’s business objective</a:t>
            </a:r>
            <a:endParaRPr sz="14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176213" marR="0" lvl="1" indent="-17621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2"/>
              </a:buClr>
              <a:buSzPts val="1080"/>
              <a:buFont typeface="Noto Sans Symbols"/>
              <a:buChar char="▪"/>
            </a:pP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Estimate the time needed</a:t>
            </a:r>
            <a:endParaRPr sz="14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176213" marR="0" lvl="1" indent="-17621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2"/>
              </a:buClr>
              <a:buSzPts val="1080"/>
              <a:buFont typeface="Noto Sans Symbols"/>
              <a:buChar char="▪"/>
            </a:pP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Define the type of output needed</a:t>
            </a:r>
            <a:endParaRPr sz="14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460" name="Google Shape;1460;p10"/>
          <p:cNvSpPr txBox="1"/>
          <p:nvPr/>
        </p:nvSpPr>
        <p:spPr>
          <a:xfrm>
            <a:off x="3663377" y="3529306"/>
            <a:ext cx="1896405" cy="338400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1" indent="0" algn="l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260"/>
              <a:buFont typeface="Noto Sans Symbols"/>
              <a:buNone/>
            </a:pPr>
            <a:r>
              <a:rPr lang="en-US" sz="1400" b="1" i="0" u="none" strike="noStrike" cap="none" dirty="0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rPr>
              <a:t>Executing Analytics</a:t>
            </a:r>
            <a:endParaRPr sz="14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</a:pP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Leveraging a full range of analytics capabilities</a:t>
            </a:r>
            <a:endParaRPr sz="14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128588" marR="0" lvl="1" indent="-1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2"/>
              </a:buClr>
              <a:buSzPts val="1080"/>
              <a:buFont typeface="Noto Sans Symbols"/>
              <a:buChar char="▪"/>
            </a:pPr>
            <a:endParaRPr lang="en-US" sz="1200" b="1" i="0" u="none" strike="noStrike" cap="none" dirty="0">
              <a:solidFill>
                <a:srgbClr val="222222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marL="128588" marR="0" lvl="1" indent="-1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2"/>
              </a:buClr>
              <a:buSzPts val="1080"/>
              <a:buFont typeface="Noto Sans Symbols"/>
              <a:buChar char="▪"/>
            </a:pPr>
            <a:r>
              <a:rPr lang="en-US" sz="1200" b="1" i="0" u="none" strike="noStrike" cap="none" dirty="0">
                <a:solidFill>
                  <a:srgbClr val="222222"/>
                </a:solidFill>
                <a:latin typeface="Calibri"/>
                <a:ea typeface="Calibri"/>
                <a:cs typeface="Calibri"/>
                <a:sym typeface="Calibri"/>
              </a:rPr>
              <a:t>Data Preparation</a:t>
            </a:r>
            <a:endParaRPr sz="14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268288" marR="0" lvl="2" indent="-134938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Calibri"/>
              <a:buChar char="−"/>
            </a:pP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Identifying Data Sources</a:t>
            </a:r>
          </a:p>
          <a:p>
            <a:pPr marL="268288" marR="0" lvl="2" indent="-134938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Calibri"/>
              <a:buChar char="−"/>
            </a:pP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Extracting &amp; Transferring Data</a:t>
            </a:r>
          </a:p>
          <a:p>
            <a:pPr marL="268288" marR="0" lvl="2" indent="-134938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Calibri"/>
              <a:buChar char="−"/>
            </a:pP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Metadata &amp; Dictionaries</a:t>
            </a:r>
          </a:p>
          <a:p>
            <a:pPr marL="268288" marR="0" lvl="2" indent="-134938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Calibri"/>
              <a:buChar char="−"/>
            </a:pPr>
            <a:r>
              <a:rPr lang="en-US" sz="1200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Merging of various data sources &amp; adding new data</a:t>
            </a:r>
          </a:p>
          <a:p>
            <a:pPr marL="268288" marR="0" lvl="2" indent="-134938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Calibri"/>
              <a:buChar char="−"/>
            </a:pPr>
            <a:r>
              <a:rPr lang="en-US" sz="1200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Assessing Data Quality</a:t>
            </a:r>
          </a:p>
          <a:p>
            <a:pPr marL="268288" marR="0" lvl="2" indent="-134938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Calibri"/>
              <a:buChar char="−"/>
            </a:pPr>
            <a:r>
              <a:rPr lang="en-US" sz="1200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Handling Outliers</a:t>
            </a:r>
          </a:p>
          <a:p>
            <a:pPr marL="268288" marR="0" lvl="2" indent="-134938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Calibri"/>
              <a:buChar char="−"/>
            </a:pP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Restructuring Data for analysis</a:t>
            </a:r>
          </a:p>
          <a:p>
            <a:pPr marL="268288" marR="0" lvl="2" indent="-134938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Calibri"/>
              <a:buChar char="−"/>
            </a:pPr>
            <a:r>
              <a:rPr lang="en-US" sz="1200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Making features extractions   </a:t>
            </a:r>
            <a:endParaRPr sz="14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268288" marR="0" lvl="2" indent="-134938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Calibri"/>
              <a:buChar char="−"/>
            </a:pPr>
            <a:endParaRPr sz="14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461" name="Google Shape;1461;p10"/>
          <p:cNvSpPr txBox="1"/>
          <p:nvPr/>
        </p:nvSpPr>
        <p:spPr>
          <a:xfrm>
            <a:off x="9289607" y="3578212"/>
            <a:ext cx="1121238" cy="23929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1" indent="0" algn="l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260"/>
              <a:buFont typeface="Noto Sans Symbols"/>
              <a:buNone/>
            </a:pPr>
            <a:r>
              <a:rPr lang="en-US" sz="1400" b="1" i="0" u="none" strike="noStrike" cap="none" dirty="0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rPr>
              <a:t>Deriving</a:t>
            </a:r>
            <a:br>
              <a:rPr lang="en-US" sz="1400" b="1" i="0" u="none" strike="noStrike" cap="none" dirty="0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rPr>
            </a:br>
            <a:r>
              <a:rPr lang="en-US" sz="1400" b="1" i="0" u="none" strike="noStrike" cap="none" dirty="0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rPr>
              <a:t>insights</a:t>
            </a:r>
            <a:endParaRPr sz="14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176213" marR="0" lvl="1" indent="-17621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2"/>
              </a:buClr>
              <a:buSzPts val="1080"/>
              <a:buFont typeface="Noto Sans Symbols"/>
              <a:buChar char="▪"/>
            </a:pP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Performing</a:t>
            </a:r>
            <a:b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</a:b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in-depth quality assurance</a:t>
            </a:r>
            <a:endParaRPr lang="en-US" sz="1200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marL="176213" marR="0" lvl="1" indent="-17621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2"/>
              </a:buClr>
              <a:buSzPts val="1080"/>
              <a:buFont typeface="Noto Sans Symbols"/>
              <a:buChar char="▪"/>
            </a:pP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Analyzing the data outputs to derive insights in line with the initial client ask</a:t>
            </a:r>
          </a:p>
          <a:p>
            <a:pPr marR="0" lvl="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2"/>
              </a:buClr>
              <a:buSzPts val="1080"/>
            </a:pPr>
            <a:endParaRPr sz="14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463" name="Google Shape;1463;p10"/>
          <p:cNvSpPr txBox="1"/>
          <p:nvPr/>
        </p:nvSpPr>
        <p:spPr>
          <a:xfrm>
            <a:off x="10516084" y="3541180"/>
            <a:ext cx="1533041" cy="315214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1" indent="0" algn="l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260"/>
              <a:buFont typeface="Noto Sans Symbols"/>
              <a:buNone/>
            </a:pPr>
            <a:r>
              <a:rPr lang="en-US" sz="1400" b="1" i="0" u="none" strike="noStrike" cap="none" dirty="0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rPr>
              <a:t>Handover</a:t>
            </a:r>
            <a:endParaRPr sz="14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176213" marR="0" lvl="1" indent="-17621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2"/>
              </a:buClr>
              <a:buSzPts val="1080"/>
              <a:buFont typeface="Noto Sans Symbols"/>
              <a:buChar char="▪"/>
            </a:pP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Presenting the approach, results and potential limitations</a:t>
            </a:r>
            <a:endParaRPr sz="14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176213" marR="0" lvl="1" indent="-17621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2"/>
              </a:buClr>
              <a:buSzPts val="1080"/>
              <a:buFont typeface="Noto Sans Symbols"/>
              <a:buChar char="▪"/>
            </a:pP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haring all the documentation &amp; codes</a:t>
            </a:r>
            <a:endParaRPr sz="14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176213" marR="0" lvl="1" indent="-17621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2"/>
              </a:buClr>
              <a:buSzPts val="1080"/>
              <a:buFont typeface="Noto Sans Symbols"/>
              <a:buChar char="▪"/>
            </a:pP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Getting client feedback</a:t>
            </a:r>
          </a:p>
          <a:p>
            <a:pPr marL="176213" marR="0" lvl="1" indent="-17621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2"/>
              </a:buClr>
              <a:buSzPts val="1080"/>
              <a:buFont typeface="Noto Sans Symbols"/>
              <a:buChar char="▪"/>
            </a:pPr>
            <a:r>
              <a:rPr lang="en-US" sz="1200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Definining</a:t>
            </a:r>
            <a:r>
              <a:rPr lang="en-US" sz="1200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scaling with clients’ IT Teams (to be scheduled if any)</a:t>
            </a:r>
            <a:endParaRPr sz="14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176213" marR="0" lvl="1" indent="-17621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2"/>
              </a:buClr>
              <a:buSzPts val="1080"/>
              <a:buFont typeface="Noto Sans Symbols"/>
              <a:buChar char="▪"/>
            </a:pP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Performing regular model maintenance (to be scheduled if any)</a:t>
            </a:r>
            <a:endParaRPr sz="14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464" name="Google Shape;1464;p10"/>
          <p:cNvSpPr/>
          <p:nvPr/>
        </p:nvSpPr>
        <p:spPr>
          <a:xfrm>
            <a:off x="1344085" y="2320460"/>
            <a:ext cx="1349647" cy="338554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72000" tIns="0" rIns="72000" bIns="0" anchor="ctr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200"/>
              <a:buFont typeface="Arial"/>
              <a:buNone/>
            </a:pPr>
            <a:r>
              <a:rPr lang="en-US" sz="2200" b="1" i="0" u="none" strike="noStrike" cap="none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rPr>
              <a:t>Intake</a:t>
            </a:r>
            <a:endParaRPr sz="2200" b="1" i="0" u="none" strike="noStrike" cap="none">
              <a:solidFill>
                <a:schemeClr val="dk2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465" name="Google Shape;1465;p10"/>
          <p:cNvSpPr/>
          <p:nvPr/>
        </p:nvSpPr>
        <p:spPr>
          <a:xfrm>
            <a:off x="5692628" y="2320460"/>
            <a:ext cx="1288027" cy="338554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72000" tIns="0" rIns="72000" bIns="0" anchor="ctr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200"/>
              <a:buFont typeface="Arial"/>
              <a:buNone/>
            </a:pPr>
            <a:r>
              <a:rPr lang="en-US" sz="2200" b="1" i="0" u="none" strike="noStrike" cap="none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rPr>
              <a:t>Execution</a:t>
            </a:r>
            <a:endParaRPr sz="2200" b="1" i="0" u="none" strike="noStrike" cap="none">
              <a:solidFill>
                <a:schemeClr val="dk2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466" name="Google Shape;1466;p10"/>
          <p:cNvSpPr/>
          <p:nvPr/>
        </p:nvSpPr>
        <p:spPr>
          <a:xfrm>
            <a:off x="9907789" y="2320460"/>
            <a:ext cx="1112209" cy="338554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72000" tIns="0" rIns="72000" bIns="0" anchor="ctr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200"/>
              <a:buFont typeface="Arial"/>
              <a:buNone/>
            </a:pPr>
            <a:r>
              <a:rPr lang="en-US" sz="2200" b="1" i="0" u="none" strike="noStrike" cap="none" dirty="0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rPr>
              <a:t>Delivery</a:t>
            </a:r>
            <a:endParaRPr sz="14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1467" name="Google Shape;1467;p10"/>
          <p:cNvGrpSpPr/>
          <p:nvPr/>
        </p:nvGrpSpPr>
        <p:grpSpPr>
          <a:xfrm>
            <a:off x="1672775" y="1630423"/>
            <a:ext cx="590770" cy="590768"/>
            <a:chOff x="2021329" y="1470497"/>
            <a:chExt cx="594555" cy="594555"/>
          </a:xfrm>
        </p:grpSpPr>
        <p:sp>
          <p:nvSpPr>
            <p:cNvPr id="1468" name="Google Shape;1468;p10"/>
            <p:cNvSpPr/>
            <p:nvPr/>
          </p:nvSpPr>
          <p:spPr>
            <a:xfrm>
              <a:off x="2568219" y="1786590"/>
              <a:ext cx="17560" cy="61046"/>
            </a:xfrm>
            <a:custGeom>
              <a:avLst/>
              <a:gdLst/>
              <a:ahLst/>
              <a:cxnLst/>
              <a:rect l="l" t="t" r="r" b="b"/>
              <a:pathLst>
                <a:path w="17560" h="61046" extrusionOk="0">
                  <a:moveTo>
                    <a:pt x="8780" y="0"/>
                  </a:moveTo>
                  <a:cubicBezTo>
                    <a:pt x="3934" y="-3"/>
                    <a:pt x="3" y="3924"/>
                    <a:pt x="0" y="8770"/>
                  </a:cubicBezTo>
                  <a:cubicBezTo>
                    <a:pt x="0" y="8774"/>
                    <a:pt x="0" y="8777"/>
                    <a:pt x="0" y="8780"/>
                  </a:cubicBezTo>
                  <a:lnTo>
                    <a:pt x="0" y="52266"/>
                  </a:lnTo>
                  <a:cubicBezTo>
                    <a:pt x="0" y="57115"/>
                    <a:pt x="3931" y="61046"/>
                    <a:pt x="8780" y="61046"/>
                  </a:cubicBezTo>
                  <a:cubicBezTo>
                    <a:pt x="13630" y="61046"/>
                    <a:pt x="17561" y="57115"/>
                    <a:pt x="17561" y="52266"/>
                  </a:cubicBezTo>
                  <a:lnTo>
                    <a:pt x="17561" y="8780"/>
                  </a:lnTo>
                  <a:cubicBezTo>
                    <a:pt x="17563" y="3934"/>
                    <a:pt x="13637" y="3"/>
                    <a:pt x="8790" y="0"/>
                  </a:cubicBezTo>
                  <a:cubicBezTo>
                    <a:pt x="8787" y="0"/>
                    <a:pt x="8784" y="0"/>
                    <a:pt x="8780" y="0"/>
                  </a:cubicBezTo>
                  <a:close/>
                </a:path>
              </a:pathLst>
            </a:custGeom>
            <a:solidFill>
              <a:srgbClr val="7F7F7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69" name="Google Shape;1469;p10"/>
            <p:cNvSpPr/>
            <p:nvPr/>
          </p:nvSpPr>
          <p:spPr>
            <a:xfrm>
              <a:off x="2021329" y="1470497"/>
              <a:ext cx="594555" cy="594555"/>
            </a:xfrm>
            <a:custGeom>
              <a:avLst/>
              <a:gdLst/>
              <a:ahLst/>
              <a:cxnLst/>
              <a:rect l="l" t="t" r="r" b="b"/>
              <a:pathLst>
                <a:path w="594555" h="594555" extrusionOk="0">
                  <a:moveTo>
                    <a:pt x="555671" y="0"/>
                  </a:moveTo>
                  <a:lnTo>
                    <a:pt x="38884" y="0"/>
                  </a:lnTo>
                  <a:cubicBezTo>
                    <a:pt x="17419" y="25"/>
                    <a:pt x="25" y="17419"/>
                    <a:pt x="0" y="38884"/>
                  </a:cubicBezTo>
                  <a:lnTo>
                    <a:pt x="0" y="466914"/>
                  </a:lnTo>
                  <a:cubicBezTo>
                    <a:pt x="25" y="488379"/>
                    <a:pt x="17419" y="505774"/>
                    <a:pt x="38884" y="505798"/>
                  </a:cubicBezTo>
                  <a:lnTo>
                    <a:pt x="88757" y="505798"/>
                  </a:lnTo>
                  <a:lnTo>
                    <a:pt x="88757" y="555671"/>
                  </a:lnTo>
                  <a:cubicBezTo>
                    <a:pt x="88782" y="577136"/>
                    <a:pt x="106176" y="594530"/>
                    <a:pt x="127641" y="594555"/>
                  </a:cubicBezTo>
                  <a:lnTo>
                    <a:pt x="466914" y="594555"/>
                  </a:lnTo>
                  <a:cubicBezTo>
                    <a:pt x="488379" y="594530"/>
                    <a:pt x="505774" y="577136"/>
                    <a:pt x="505798" y="555671"/>
                  </a:cubicBezTo>
                  <a:lnTo>
                    <a:pt x="505798" y="505798"/>
                  </a:lnTo>
                  <a:lnTo>
                    <a:pt x="555671" y="505798"/>
                  </a:lnTo>
                  <a:cubicBezTo>
                    <a:pt x="577136" y="505774"/>
                    <a:pt x="594530" y="488379"/>
                    <a:pt x="594555" y="466914"/>
                  </a:cubicBezTo>
                  <a:lnTo>
                    <a:pt x="594555" y="38884"/>
                  </a:lnTo>
                  <a:cubicBezTo>
                    <a:pt x="594530" y="17419"/>
                    <a:pt x="577136" y="25"/>
                    <a:pt x="555671" y="0"/>
                  </a:cubicBezTo>
                  <a:close/>
                  <a:moveTo>
                    <a:pt x="17561" y="38884"/>
                  </a:moveTo>
                  <a:cubicBezTo>
                    <a:pt x="17575" y="27113"/>
                    <a:pt x="27113" y="17575"/>
                    <a:pt x="38884" y="17561"/>
                  </a:cubicBezTo>
                  <a:lnTo>
                    <a:pt x="555671" y="17561"/>
                  </a:lnTo>
                  <a:cubicBezTo>
                    <a:pt x="567443" y="17572"/>
                    <a:pt x="576983" y="27112"/>
                    <a:pt x="576995" y="38884"/>
                  </a:cubicBezTo>
                  <a:lnTo>
                    <a:pt x="576995" y="60208"/>
                  </a:lnTo>
                  <a:lnTo>
                    <a:pt x="17561" y="60208"/>
                  </a:lnTo>
                  <a:close/>
                  <a:moveTo>
                    <a:pt x="288497" y="363903"/>
                  </a:moveTo>
                  <a:lnTo>
                    <a:pt x="247305" y="330603"/>
                  </a:lnTo>
                  <a:cubicBezTo>
                    <a:pt x="243557" y="327526"/>
                    <a:pt x="238024" y="328070"/>
                    <a:pt x="234947" y="331818"/>
                  </a:cubicBezTo>
                  <a:cubicBezTo>
                    <a:pt x="231870" y="335566"/>
                    <a:pt x="232414" y="341099"/>
                    <a:pt x="236162" y="344176"/>
                  </a:cubicBezTo>
                  <a:cubicBezTo>
                    <a:pt x="236197" y="344204"/>
                    <a:pt x="236232" y="344232"/>
                    <a:pt x="236267" y="344260"/>
                  </a:cubicBezTo>
                  <a:lnTo>
                    <a:pt x="291759" y="389120"/>
                  </a:lnTo>
                  <a:cubicBezTo>
                    <a:pt x="294981" y="391713"/>
                    <a:pt x="299574" y="391713"/>
                    <a:pt x="302797" y="389120"/>
                  </a:cubicBezTo>
                  <a:lnTo>
                    <a:pt x="358289" y="344260"/>
                  </a:lnTo>
                  <a:cubicBezTo>
                    <a:pt x="362083" y="341241"/>
                    <a:pt x="362712" y="335717"/>
                    <a:pt x="359692" y="331922"/>
                  </a:cubicBezTo>
                  <a:cubicBezTo>
                    <a:pt x="356673" y="328128"/>
                    <a:pt x="351149" y="327499"/>
                    <a:pt x="347355" y="330518"/>
                  </a:cubicBezTo>
                  <a:cubicBezTo>
                    <a:pt x="347320" y="330546"/>
                    <a:pt x="347285" y="330574"/>
                    <a:pt x="347250" y="330603"/>
                  </a:cubicBezTo>
                  <a:lnTo>
                    <a:pt x="306058" y="363903"/>
                  </a:lnTo>
                  <a:lnTo>
                    <a:pt x="306058" y="306058"/>
                  </a:lnTo>
                  <a:lnTo>
                    <a:pt x="466914" y="306058"/>
                  </a:lnTo>
                  <a:cubicBezTo>
                    <a:pt x="468451" y="306073"/>
                    <a:pt x="469982" y="306256"/>
                    <a:pt x="471480" y="306605"/>
                  </a:cubicBezTo>
                  <a:lnTo>
                    <a:pt x="297278" y="447397"/>
                  </a:lnTo>
                  <a:lnTo>
                    <a:pt x="123075" y="306605"/>
                  </a:lnTo>
                  <a:cubicBezTo>
                    <a:pt x="124573" y="306256"/>
                    <a:pt x="126104" y="306073"/>
                    <a:pt x="127641" y="306058"/>
                  </a:cubicBezTo>
                  <a:lnTo>
                    <a:pt x="288497" y="306058"/>
                  </a:lnTo>
                  <a:close/>
                  <a:moveTo>
                    <a:pt x="488238" y="555671"/>
                  </a:moveTo>
                  <a:cubicBezTo>
                    <a:pt x="488224" y="567442"/>
                    <a:pt x="478685" y="576981"/>
                    <a:pt x="466914" y="576995"/>
                  </a:cubicBezTo>
                  <a:lnTo>
                    <a:pt x="127641" y="576995"/>
                  </a:lnTo>
                  <a:cubicBezTo>
                    <a:pt x="115870" y="576981"/>
                    <a:pt x="106331" y="567442"/>
                    <a:pt x="106318" y="555671"/>
                  </a:cubicBezTo>
                  <a:lnTo>
                    <a:pt x="106318" y="327382"/>
                  </a:lnTo>
                  <a:cubicBezTo>
                    <a:pt x="106354" y="323985"/>
                    <a:pt x="107215" y="320648"/>
                    <a:pt x="108826" y="317658"/>
                  </a:cubicBezTo>
                  <a:lnTo>
                    <a:pt x="291759" y="465514"/>
                  </a:lnTo>
                  <a:cubicBezTo>
                    <a:pt x="294978" y="468116"/>
                    <a:pt x="299577" y="468116"/>
                    <a:pt x="302797" y="465514"/>
                  </a:cubicBezTo>
                  <a:lnTo>
                    <a:pt x="485749" y="317653"/>
                  </a:lnTo>
                  <a:cubicBezTo>
                    <a:pt x="487357" y="320646"/>
                    <a:pt x="488218" y="323984"/>
                    <a:pt x="488258" y="327382"/>
                  </a:cubicBezTo>
                  <a:close/>
                  <a:moveTo>
                    <a:pt x="555671" y="488238"/>
                  </a:moveTo>
                  <a:lnTo>
                    <a:pt x="505798" y="488238"/>
                  </a:lnTo>
                  <a:lnTo>
                    <a:pt x="505798" y="327382"/>
                  </a:lnTo>
                  <a:cubicBezTo>
                    <a:pt x="505783" y="316496"/>
                    <a:pt x="501193" y="306118"/>
                    <a:pt x="493150" y="298783"/>
                  </a:cubicBezTo>
                  <a:lnTo>
                    <a:pt x="492844" y="298522"/>
                  </a:lnTo>
                  <a:lnTo>
                    <a:pt x="492678" y="298386"/>
                  </a:lnTo>
                  <a:cubicBezTo>
                    <a:pt x="485609" y="292017"/>
                    <a:pt x="476430" y="288494"/>
                    <a:pt x="466914" y="288497"/>
                  </a:cubicBezTo>
                  <a:lnTo>
                    <a:pt x="306058" y="288497"/>
                  </a:lnTo>
                  <a:lnTo>
                    <a:pt x="306058" y="204457"/>
                  </a:lnTo>
                  <a:cubicBezTo>
                    <a:pt x="306058" y="199608"/>
                    <a:pt x="302127" y="195676"/>
                    <a:pt x="297278" y="195676"/>
                  </a:cubicBezTo>
                  <a:cubicBezTo>
                    <a:pt x="292428" y="195676"/>
                    <a:pt x="288497" y="199608"/>
                    <a:pt x="288497" y="204457"/>
                  </a:cubicBezTo>
                  <a:lnTo>
                    <a:pt x="288497" y="288497"/>
                  </a:lnTo>
                  <a:lnTo>
                    <a:pt x="127641" y="288497"/>
                  </a:lnTo>
                  <a:cubicBezTo>
                    <a:pt x="118121" y="288483"/>
                    <a:pt x="108935" y="292003"/>
                    <a:pt x="101862" y="298376"/>
                  </a:cubicBezTo>
                  <a:lnTo>
                    <a:pt x="101727" y="298492"/>
                  </a:lnTo>
                  <a:lnTo>
                    <a:pt x="101466" y="298708"/>
                  </a:lnTo>
                  <a:cubicBezTo>
                    <a:pt x="93384" y="306052"/>
                    <a:pt x="88771" y="316461"/>
                    <a:pt x="88757" y="327382"/>
                  </a:cubicBezTo>
                  <a:lnTo>
                    <a:pt x="88757" y="488238"/>
                  </a:lnTo>
                  <a:lnTo>
                    <a:pt x="38884" y="488238"/>
                  </a:lnTo>
                  <a:cubicBezTo>
                    <a:pt x="27113" y="488224"/>
                    <a:pt x="17575" y="478685"/>
                    <a:pt x="17561" y="466914"/>
                  </a:cubicBezTo>
                  <a:lnTo>
                    <a:pt x="17561" y="77769"/>
                  </a:lnTo>
                  <a:lnTo>
                    <a:pt x="576995" y="77769"/>
                  </a:lnTo>
                  <a:lnTo>
                    <a:pt x="576995" y="466914"/>
                  </a:lnTo>
                  <a:cubicBezTo>
                    <a:pt x="576981" y="478685"/>
                    <a:pt x="567442" y="488224"/>
                    <a:pt x="555671" y="488238"/>
                  </a:cubicBezTo>
                  <a:close/>
                </a:path>
              </a:pathLst>
            </a:custGeom>
            <a:solidFill>
              <a:srgbClr val="7F7F7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70" name="Google Shape;1470;p10"/>
            <p:cNvSpPr/>
            <p:nvPr/>
          </p:nvSpPr>
          <p:spPr>
            <a:xfrm>
              <a:off x="2478620" y="1501855"/>
              <a:ext cx="15052" cy="15052"/>
            </a:xfrm>
            <a:custGeom>
              <a:avLst/>
              <a:gdLst/>
              <a:ahLst/>
              <a:cxnLst/>
              <a:rect l="l" t="t" r="r" b="b"/>
              <a:pathLst>
                <a:path w="15052" h="15052" extrusionOk="0">
                  <a:moveTo>
                    <a:pt x="15052" y="7526"/>
                  </a:moveTo>
                  <a:cubicBezTo>
                    <a:pt x="15052" y="11683"/>
                    <a:pt x="11683" y="15052"/>
                    <a:pt x="7526" y="15052"/>
                  </a:cubicBezTo>
                  <a:cubicBezTo>
                    <a:pt x="3369" y="15052"/>
                    <a:pt x="0" y="11683"/>
                    <a:pt x="0" y="7526"/>
                  </a:cubicBezTo>
                  <a:cubicBezTo>
                    <a:pt x="0" y="3370"/>
                    <a:pt x="3369" y="0"/>
                    <a:pt x="7526" y="0"/>
                  </a:cubicBezTo>
                  <a:cubicBezTo>
                    <a:pt x="11683" y="0"/>
                    <a:pt x="15052" y="3370"/>
                    <a:pt x="15052" y="7526"/>
                  </a:cubicBezTo>
                  <a:close/>
                </a:path>
              </a:pathLst>
            </a:custGeom>
            <a:solidFill>
              <a:srgbClr val="7F7F7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71" name="Google Shape;1471;p10"/>
            <p:cNvSpPr/>
            <p:nvPr/>
          </p:nvSpPr>
          <p:spPr>
            <a:xfrm>
              <a:off x="2511232" y="1501855"/>
              <a:ext cx="15052" cy="15052"/>
            </a:xfrm>
            <a:custGeom>
              <a:avLst/>
              <a:gdLst/>
              <a:ahLst/>
              <a:cxnLst/>
              <a:rect l="l" t="t" r="r" b="b"/>
              <a:pathLst>
                <a:path w="15052" h="15052" extrusionOk="0">
                  <a:moveTo>
                    <a:pt x="15052" y="7526"/>
                  </a:moveTo>
                  <a:cubicBezTo>
                    <a:pt x="15052" y="11683"/>
                    <a:pt x="11683" y="15052"/>
                    <a:pt x="7526" y="15052"/>
                  </a:cubicBezTo>
                  <a:cubicBezTo>
                    <a:pt x="3369" y="15052"/>
                    <a:pt x="0" y="11683"/>
                    <a:pt x="0" y="7526"/>
                  </a:cubicBezTo>
                  <a:cubicBezTo>
                    <a:pt x="0" y="3370"/>
                    <a:pt x="3369" y="0"/>
                    <a:pt x="7526" y="0"/>
                  </a:cubicBezTo>
                  <a:cubicBezTo>
                    <a:pt x="11683" y="0"/>
                    <a:pt x="15052" y="3370"/>
                    <a:pt x="15052" y="7526"/>
                  </a:cubicBezTo>
                  <a:close/>
                </a:path>
              </a:pathLst>
            </a:custGeom>
            <a:solidFill>
              <a:srgbClr val="7F7F7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72" name="Google Shape;1472;p10"/>
            <p:cNvSpPr/>
            <p:nvPr/>
          </p:nvSpPr>
          <p:spPr>
            <a:xfrm>
              <a:off x="2543845" y="1501855"/>
              <a:ext cx="15052" cy="15052"/>
            </a:xfrm>
            <a:custGeom>
              <a:avLst/>
              <a:gdLst/>
              <a:ahLst/>
              <a:cxnLst/>
              <a:rect l="l" t="t" r="r" b="b"/>
              <a:pathLst>
                <a:path w="15052" h="15052" extrusionOk="0">
                  <a:moveTo>
                    <a:pt x="15052" y="7526"/>
                  </a:moveTo>
                  <a:cubicBezTo>
                    <a:pt x="15052" y="11683"/>
                    <a:pt x="11683" y="15052"/>
                    <a:pt x="7526" y="15052"/>
                  </a:cubicBezTo>
                  <a:cubicBezTo>
                    <a:pt x="3369" y="15052"/>
                    <a:pt x="0" y="11683"/>
                    <a:pt x="0" y="7526"/>
                  </a:cubicBezTo>
                  <a:cubicBezTo>
                    <a:pt x="0" y="3370"/>
                    <a:pt x="3369" y="0"/>
                    <a:pt x="7526" y="0"/>
                  </a:cubicBezTo>
                  <a:cubicBezTo>
                    <a:pt x="11683" y="0"/>
                    <a:pt x="15052" y="3370"/>
                    <a:pt x="15052" y="7526"/>
                  </a:cubicBezTo>
                  <a:close/>
                </a:path>
              </a:pathLst>
            </a:custGeom>
            <a:solidFill>
              <a:srgbClr val="7F7F7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pic>
        <p:nvPicPr>
          <p:cNvPr id="1473" name="Google Shape;1473;p10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0140804" y="1589717"/>
            <a:ext cx="646179" cy="646177"/>
          </a:xfrm>
          <a:prstGeom prst="rect">
            <a:avLst/>
          </a:prstGeom>
          <a:noFill/>
          <a:ln>
            <a:noFill/>
          </a:ln>
        </p:spPr>
      </p:pic>
      <p:pic>
        <p:nvPicPr>
          <p:cNvPr id="1474" name="Google Shape;1474;p10"/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6020908" y="1589719"/>
            <a:ext cx="631466" cy="631466"/>
          </a:xfrm>
          <a:prstGeom prst="rect">
            <a:avLst/>
          </a:prstGeom>
          <a:noFill/>
          <a:ln>
            <a:noFill/>
          </a:ln>
        </p:spPr>
      </p:pic>
      <p:sp>
        <p:nvSpPr>
          <p:cNvPr id="1475" name="Google Shape;1475;p10"/>
          <p:cNvSpPr/>
          <p:nvPr/>
        </p:nvSpPr>
        <p:spPr>
          <a:xfrm rot="10800000" flipH="1">
            <a:off x="5742844" y="3014982"/>
            <a:ext cx="3370735" cy="315094"/>
          </a:xfrm>
          <a:custGeom>
            <a:avLst/>
            <a:gdLst/>
            <a:ahLst/>
            <a:cxnLst/>
            <a:rect l="l" t="t" r="r" b="b"/>
            <a:pathLst>
              <a:path w="417" h="133" extrusionOk="0">
                <a:moveTo>
                  <a:pt x="385" y="26"/>
                </a:moveTo>
                <a:cubicBezTo>
                  <a:pt x="364" y="0"/>
                  <a:pt x="364" y="0"/>
                  <a:pt x="364" y="0"/>
                </a:cubicBezTo>
                <a:cubicBezTo>
                  <a:pt x="364" y="26"/>
                  <a:pt x="364" y="26"/>
                  <a:pt x="364" y="26"/>
                </a:cubicBezTo>
                <a:cubicBezTo>
                  <a:pt x="194" y="26"/>
                  <a:pt x="194" y="26"/>
                  <a:pt x="194" y="26"/>
                </a:cubicBezTo>
                <a:cubicBezTo>
                  <a:pt x="166" y="26"/>
                  <a:pt x="166" y="26"/>
                  <a:pt x="166" y="26"/>
                </a:cubicBezTo>
                <a:cubicBezTo>
                  <a:pt x="136" y="52"/>
                  <a:pt x="102" y="73"/>
                  <a:pt x="65" y="88"/>
                </a:cubicBezTo>
                <a:cubicBezTo>
                  <a:pt x="48" y="95"/>
                  <a:pt x="24" y="101"/>
                  <a:pt x="0" y="106"/>
                </a:cubicBezTo>
                <a:cubicBezTo>
                  <a:pt x="69" y="106"/>
                  <a:pt x="69" y="106"/>
                  <a:pt x="69" y="106"/>
                </a:cubicBezTo>
                <a:cubicBezTo>
                  <a:pt x="364" y="106"/>
                  <a:pt x="364" y="106"/>
                  <a:pt x="364" y="106"/>
                </a:cubicBezTo>
                <a:cubicBezTo>
                  <a:pt x="364" y="133"/>
                  <a:pt x="364" y="133"/>
                  <a:pt x="364" y="133"/>
                </a:cubicBezTo>
                <a:cubicBezTo>
                  <a:pt x="385" y="106"/>
                  <a:pt x="385" y="106"/>
                  <a:pt x="385" y="106"/>
                </a:cubicBezTo>
                <a:cubicBezTo>
                  <a:pt x="417" y="66"/>
                  <a:pt x="417" y="66"/>
                  <a:pt x="417" y="66"/>
                </a:cubicBezTo>
                <a:lnTo>
                  <a:pt x="385" y="26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476" name="Google Shape;1476;p10"/>
          <p:cNvSpPr/>
          <p:nvPr/>
        </p:nvSpPr>
        <p:spPr>
          <a:xfrm rot="10800000" flipH="1">
            <a:off x="5358180" y="3087484"/>
            <a:ext cx="1988975" cy="1866801"/>
          </a:xfrm>
          <a:custGeom>
            <a:avLst/>
            <a:gdLst/>
            <a:ahLst/>
            <a:cxnLst/>
            <a:rect l="l" t="t" r="r" b="b"/>
            <a:pathLst>
              <a:path w="857" h="803" extrusionOk="0">
                <a:moveTo>
                  <a:pt x="825" y="245"/>
                </a:moveTo>
                <a:cubicBezTo>
                  <a:pt x="805" y="197"/>
                  <a:pt x="776" y="155"/>
                  <a:pt x="739" y="118"/>
                </a:cubicBezTo>
                <a:cubicBezTo>
                  <a:pt x="702" y="81"/>
                  <a:pt x="659" y="52"/>
                  <a:pt x="611" y="31"/>
                </a:cubicBezTo>
                <a:cubicBezTo>
                  <a:pt x="562" y="11"/>
                  <a:pt x="509" y="0"/>
                  <a:pt x="455" y="0"/>
                </a:cubicBezTo>
                <a:cubicBezTo>
                  <a:pt x="401" y="0"/>
                  <a:pt x="348" y="11"/>
                  <a:pt x="299" y="31"/>
                </a:cubicBezTo>
                <a:cubicBezTo>
                  <a:pt x="251" y="52"/>
                  <a:pt x="208" y="81"/>
                  <a:pt x="171" y="118"/>
                </a:cubicBezTo>
                <a:cubicBezTo>
                  <a:pt x="134" y="155"/>
                  <a:pt x="105" y="197"/>
                  <a:pt x="85" y="245"/>
                </a:cubicBezTo>
                <a:cubicBezTo>
                  <a:pt x="65" y="291"/>
                  <a:pt x="55" y="340"/>
                  <a:pt x="53" y="389"/>
                </a:cubicBezTo>
                <a:cubicBezTo>
                  <a:pt x="53" y="389"/>
                  <a:pt x="53" y="389"/>
                  <a:pt x="53" y="389"/>
                </a:cubicBezTo>
                <a:cubicBezTo>
                  <a:pt x="53" y="393"/>
                  <a:pt x="53" y="397"/>
                  <a:pt x="53" y="401"/>
                </a:cubicBezTo>
                <a:cubicBezTo>
                  <a:pt x="53" y="456"/>
                  <a:pt x="64" y="508"/>
                  <a:pt x="85" y="558"/>
                </a:cubicBezTo>
                <a:cubicBezTo>
                  <a:pt x="105" y="606"/>
                  <a:pt x="134" y="649"/>
                  <a:pt x="171" y="686"/>
                </a:cubicBezTo>
                <a:cubicBezTo>
                  <a:pt x="180" y="694"/>
                  <a:pt x="189" y="703"/>
                  <a:pt x="199" y="711"/>
                </a:cubicBezTo>
                <a:cubicBezTo>
                  <a:pt x="369" y="711"/>
                  <a:pt x="369" y="711"/>
                  <a:pt x="369" y="711"/>
                </a:cubicBezTo>
                <a:cubicBezTo>
                  <a:pt x="233" y="673"/>
                  <a:pt x="134" y="549"/>
                  <a:pt x="134" y="401"/>
                </a:cubicBezTo>
                <a:cubicBezTo>
                  <a:pt x="134" y="397"/>
                  <a:pt x="134" y="393"/>
                  <a:pt x="134" y="389"/>
                </a:cubicBezTo>
                <a:cubicBezTo>
                  <a:pt x="134" y="389"/>
                  <a:pt x="134" y="389"/>
                  <a:pt x="134" y="389"/>
                </a:cubicBezTo>
                <a:cubicBezTo>
                  <a:pt x="141" y="218"/>
                  <a:pt x="282" y="81"/>
                  <a:pt x="455" y="81"/>
                </a:cubicBezTo>
                <a:cubicBezTo>
                  <a:pt x="632" y="81"/>
                  <a:pt x="776" y="225"/>
                  <a:pt x="776" y="402"/>
                </a:cubicBezTo>
                <a:cubicBezTo>
                  <a:pt x="776" y="579"/>
                  <a:pt x="632" y="723"/>
                  <a:pt x="455" y="723"/>
                </a:cubicBezTo>
                <a:cubicBezTo>
                  <a:pt x="455" y="723"/>
                  <a:pt x="455" y="723"/>
                  <a:pt x="455" y="723"/>
                </a:cubicBezTo>
                <a:cubicBezTo>
                  <a:pt x="0" y="723"/>
                  <a:pt x="0" y="723"/>
                  <a:pt x="0" y="723"/>
                </a:cubicBezTo>
                <a:cubicBezTo>
                  <a:pt x="32" y="763"/>
                  <a:pt x="32" y="763"/>
                  <a:pt x="32" y="763"/>
                </a:cubicBezTo>
                <a:cubicBezTo>
                  <a:pt x="0" y="803"/>
                  <a:pt x="0" y="803"/>
                  <a:pt x="0" y="803"/>
                </a:cubicBezTo>
                <a:cubicBezTo>
                  <a:pt x="455" y="803"/>
                  <a:pt x="455" y="803"/>
                  <a:pt x="455" y="803"/>
                </a:cubicBezTo>
                <a:cubicBezTo>
                  <a:pt x="455" y="803"/>
                  <a:pt x="562" y="793"/>
                  <a:pt x="612" y="772"/>
                </a:cubicBezTo>
                <a:cubicBezTo>
                  <a:pt x="659" y="752"/>
                  <a:pt x="702" y="723"/>
                  <a:pt x="739" y="686"/>
                </a:cubicBezTo>
                <a:cubicBezTo>
                  <a:pt x="776" y="649"/>
                  <a:pt x="805" y="606"/>
                  <a:pt x="825" y="558"/>
                </a:cubicBezTo>
                <a:cubicBezTo>
                  <a:pt x="846" y="509"/>
                  <a:pt x="857" y="456"/>
                  <a:pt x="857" y="402"/>
                </a:cubicBezTo>
                <a:cubicBezTo>
                  <a:pt x="857" y="348"/>
                  <a:pt x="846" y="295"/>
                  <a:pt x="825" y="245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477" name="Google Shape;1477;p10"/>
          <p:cNvSpPr/>
          <p:nvPr/>
        </p:nvSpPr>
        <p:spPr>
          <a:xfrm rot="10800000" flipH="1">
            <a:off x="1135080" y="3024931"/>
            <a:ext cx="775065" cy="308854"/>
          </a:xfrm>
          <a:custGeom>
            <a:avLst/>
            <a:gdLst/>
            <a:ahLst/>
            <a:cxnLst/>
            <a:rect l="l" t="t" r="r" b="b"/>
            <a:pathLst>
              <a:path w="10000" h="10000" extrusionOk="0">
                <a:moveTo>
                  <a:pt x="9042" y="1962"/>
                </a:moveTo>
                <a:lnTo>
                  <a:pt x="8424" y="0"/>
                </a:lnTo>
                <a:lnTo>
                  <a:pt x="8424" y="1962"/>
                </a:lnTo>
                <a:lnTo>
                  <a:pt x="0" y="1962"/>
                </a:lnTo>
                <a:lnTo>
                  <a:pt x="0" y="7975"/>
                </a:lnTo>
                <a:lnTo>
                  <a:pt x="8424" y="7975"/>
                </a:lnTo>
                <a:lnTo>
                  <a:pt x="8424" y="10000"/>
                </a:lnTo>
                <a:lnTo>
                  <a:pt x="9042" y="7975"/>
                </a:lnTo>
                <a:lnTo>
                  <a:pt x="10000" y="4968"/>
                </a:lnTo>
                <a:lnTo>
                  <a:pt x="9042" y="1962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479" name="Google Shape;1479;p10"/>
          <p:cNvSpPr/>
          <p:nvPr/>
        </p:nvSpPr>
        <p:spPr>
          <a:xfrm rot="10800000" flipH="1">
            <a:off x="10197481" y="3005883"/>
            <a:ext cx="704251" cy="308854"/>
          </a:xfrm>
          <a:custGeom>
            <a:avLst/>
            <a:gdLst/>
            <a:ahLst/>
            <a:cxnLst/>
            <a:rect l="l" t="t" r="r" b="b"/>
            <a:pathLst>
              <a:path w="704251" h="308854" extrusionOk="0">
                <a:moveTo>
                  <a:pt x="582101" y="308854"/>
                </a:moveTo>
                <a:lnTo>
                  <a:pt x="630000" y="246311"/>
                </a:lnTo>
                <a:lnTo>
                  <a:pt x="704251" y="153439"/>
                </a:lnTo>
                <a:lnTo>
                  <a:pt x="630000" y="60597"/>
                </a:lnTo>
                <a:lnTo>
                  <a:pt x="582101" y="0"/>
                </a:lnTo>
                <a:lnTo>
                  <a:pt x="582101" y="60597"/>
                </a:lnTo>
                <a:lnTo>
                  <a:pt x="0" y="60597"/>
                </a:lnTo>
                <a:lnTo>
                  <a:pt x="0" y="246311"/>
                </a:lnTo>
                <a:lnTo>
                  <a:pt x="582101" y="246311"/>
                </a:lnTo>
                <a:lnTo>
                  <a:pt x="582101" y="308854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grpSp>
        <p:nvGrpSpPr>
          <p:cNvPr id="1480" name="Google Shape;1480;p10"/>
          <p:cNvGrpSpPr/>
          <p:nvPr/>
        </p:nvGrpSpPr>
        <p:grpSpPr>
          <a:xfrm>
            <a:off x="5600510" y="3295665"/>
            <a:ext cx="1551670" cy="1539882"/>
            <a:chOff x="7285038" y="6072188"/>
            <a:chExt cx="3084131" cy="3060700"/>
          </a:xfrm>
        </p:grpSpPr>
        <p:sp>
          <p:nvSpPr>
            <p:cNvPr id="1481" name="Google Shape;1481;p10"/>
            <p:cNvSpPr/>
            <p:nvPr/>
          </p:nvSpPr>
          <p:spPr>
            <a:xfrm>
              <a:off x="8918576" y="6072188"/>
              <a:ext cx="1450593" cy="2143125"/>
            </a:xfrm>
            <a:custGeom>
              <a:avLst/>
              <a:gdLst/>
              <a:ahLst/>
              <a:cxnLst/>
              <a:rect l="l" t="t" r="r" b="b"/>
              <a:pathLst>
                <a:path w="15000" h="22500" extrusionOk="0">
                  <a:moveTo>
                    <a:pt x="0" y="0"/>
                  </a:moveTo>
                  <a:cubicBezTo>
                    <a:pt x="8284" y="0"/>
                    <a:pt x="15000" y="6716"/>
                    <a:pt x="15000" y="15000"/>
                  </a:cubicBezTo>
                  <a:cubicBezTo>
                    <a:pt x="15000" y="17633"/>
                    <a:pt x="14307" y="20220"/>
                    <a:pt x="12990" y="22500"/>
                  </a:cubicBezTo>
                  <a:lnTo>
                    <a:pt x="0" y="15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99E3FE"/>
            </a:solidFill>
            <a:ln w="28575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82" name="Google Shape;1482;p10"/>
            <p:cNvSpPr/>
            <p:nvPr/>
          </p:nvSpPr>
          <p:spPr>
            <a:xfrm>
              <a:off x="7680325" y="7500938"/>
              <a:ext cx="2476500" cy="1631950"/>
            </a:xfrm>
            <a:custGeom>
              <a:avLst/>
              <a:gdLst/>
              <a:ahLst/>
              <a:cxnLst/>
              <a:rect l="l" t="t" r="r" b="b"/>
              <a:pathLst>
                <a:path w="12990" h="8566" extrusionOk="0">
                  <a:moveTo>
                    <a:pt x="12990" y="3750"/>
                  </a:moveTo>
                  <a:cubicBezTo>
                    <a:pt x="10919" y="7337"/>
                    <a:pt x="6332" y="8566"/>
                    <a:pt x="2745" y="6495"/>
                  </a:cubicBezTo>
                  <a:cubicBezTo>
                    <a:pt x="1605" y="5837"/>
                    <a:pt x="658" y="4890"/>
                    <a:pt x="0" y="3750"/>
                  </a:cubicBezTo>
                  <a:lnTo>
                    <a:pt x="6495" y="0"/>
                  </a:lnTo>
                  <a:lnTo>
                    <a:pt x="12990" y="3750"/>
                  </a:lnTo>
                  <a:close/>
                </a:path>
              </a:pathLst>
            </a:custGeom>
            <a:solidFill>
              <a:srgbClr val="99E3FE"/>
            </a:solidFill>
            <a:ln w="28575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83" name="Google Shape;1483;p10"/>
            <p:cNvSpPr/>
            <p:nvPr/>
          </p:nvSpPr>
          <p:spPr>
            <a:xfrm>
              <a:off x="7285038" y="6072188"/>
              <a:ext cx="1633537" cy="2143125"/>
            </a:xfrm>
            <a:custGeom>
              <a:avLst/>
              <a:gdLst/>
              <a:ahLst/>
              <a:cxnLst/>
              <a:rect l="l" t="t" r="r" b="b"/>
              <a:pathLst>
                <a:path w="17133" h="22500" extrusionOk="0">
                  <a:moveTo>
                    <a:pt x="4142" y="22500"/>
                  </a:moveTo>
                  <a:cubicBezTo>
                    <a:pt x="0" y="15325"/>
                    <a:pt x="2458" y="6152"/>
                    <a:pt x="9633" y="2009"/>
                  </a:cubicBezTo>
                  <a:cubicBezTo>
                    <a:pt x="11913" y="693"/>
                    <a:pt x="14500" y="0"/>
                    <a:pt x="17133" y="0"/>
                  </a:cubicBezTo>
                  <a:lnTo>
                    <a:pt x="17133" y="15000"/>
                  </a:lnTo>
                  <a:lnTo>
                    <a:pt x="4142" y="22500"/>
                  </a:lnTo>
                  <a:close/>
                </a:path>
              </a:pathLst>
            </a:custGeom>
            <a:solidFill>
              <a:srgbClr val="99E3FE"/>
            </a:solidFill>
            <a:ln w="28575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484" name="Google Shape;1484;p10"/>
          <p:cNvSpPr txBox="1"/>
          <p:nvPr/>
        </p:nvSpPr>
        <p:spPr>
          <a:xfrm>
            <a:off x="5765748" y="3578212"/>
            <a:ext cx="697346" cy="43627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r>
              <a:rPr lang="en-US" sz="1050" b="1" i="0" u="none" strike="noStrike" cap="none" dirty="0">
                <a:solidFill>
                  <a:schemeClr val="tx1">
                    <a:lumMod val="50000"/>
                  </a:schemeClr>
                </a:solidFill>
                <a:latin typeface="Calibri"/>
                <a:ea typeface="Calibri"/>
                <a:cs typeface="Calibri"/>
                <a:sym typeface="Calibri"/>
              </a:rPr>
              <a:t>Business &amp; Data Under</a:t>
            </a:r>
          </a:p>
          <a:p>
            <a:pPr marL="0" marR="0" lvl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r>
              <a:rPr lang="en-US" sz="1050" b="1" i="0" u="none" strike="noStrike" cap="none" dirty="0">
                <a:solidFill>
                  <a:schemeClr val="tx1">
                    <a:lumMod val="50000"/>
                  </a:schemeClr>
                </a:solidFill>
                <a:latin typeface="Calibri"/>
                <a:ea typeface="Calibri"/>
                <a:cs typeface="Calibri"/>
                <a:sym typeface="Calibri"/>
              </a:rPr>
              <a:t>standing</a:t>
            </a:r>
            <a:endParaRPr lang="en-US" sz="1000" b="0" i="0" u="none" strike="noStrike" cap="none" dirty="0">
              <a:solidFill>
                <a:schemeClr val="tx1">
                  <a:lumMod val="50000"/>
                </a:schemeClr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485" name="Google Shape;1485;p10"/>
          <p:cNvSpPr txBox="1"/>
          <p:nvPr/>
        </p:nvSpPr>
        <p:spPr>
          <a:xfrm>
            <a:off x="6482788" y="3578212"/>
            <a:ext cx="547404" cy="387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1" indent="0" algn="ctr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080"/>
              <a:buFont typeface="Noto Sans Symbols"/>
              <a:buNone/>
            </a:pPr>
            <a:r>
              <a:rPr lang="en-US" sz="1050" b="1" i="0" u="none" strike="noStrike" cap="none" dirty="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rPr>
              <a:t>Agile Metho</a:t>
            </a:r>
          </a:p>
          <a:p>
            <a:pPr marL="0" marR="0" lvl="1" indent="0" algn="ctr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080"/>
              <a:buFont typeface="Noto Sans Symbols"/>
              <a:buNone/>
            </a:pPr>
            <a:r>
              <a:rPr lang="en-US" sz="1050" b="1" i="0" u="none" strike="noStrike" cap="none" dirty="0" err="1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rPr>
              <a:t>dology</a:t>
            </a:r>
            <a:endParaRPr sz="11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487" name="Google Shape;1487;p10"/>
          <p:cNvSpPr txBox="1"/>
          <p:nvPr/>
        </p:nvSpPr>
        <p:spPr>
          <a:xfrm>
            <a:off x="7407577" y="3604663"/>
            <a:ext cx="1796154" cy="29915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128588" marR="0" lvl="1" indent="-128588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080"/>
              <a:buFont typeface="Noto Sans Symbols"/>
              <a:buChar char="▪"/>
            </a:pPr>
            <a:r>
              <a:rPr lang="en-US" sz="1200" b="1" i="0" u="none" strike="noStrike" cap="none" dirty="0">
                <a:solidFill>
                  <a:srgbClr val="222222"/>
                </a:solidFill>
                <a:latin typeface="Calibri"/>
                <a:ea typeface="Calibri"/>
                <a:cs typeface="Calibri"/>
                <a:sym typeface="Calibri"/>
              </a:rPr>
              <a:t>Data Modeling</a:t>
            </a:r>
          </a:p>
          <a:p>
            <a:pPr marL="128588" marR="0" lvl="1" indent="-128588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080"/>
              <a:buFont typeface="Noto Sans Symbols"/>
              <a:buChar char="▪"/>
            </a:pPr>
            <a:endParaRPr lang="en-US" sz="1200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marL="268288" lvl="2" indent="-134938">
              <a:lnSpc>
                <a:spcPct val="90000"/>
              </a:lnSpc>
              <a:buClr>
                <a:schemeClr val="dk2"/>
              </a:buClr>
              <a:buSzPts val="1200"/>
              <a:buFont typeface="Calibri"/>
              <a:buChar char="−"/>
            </a:pPr>
            <a:r>
              <a:rPr lang="en-US" sz="1200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uild algorithms to answer the business question (binary classification, segmentation, forecasting …)</a:t>
            </a:r>
          </a:p>
          <a:p>
            <a:pPr marL="268288" lvl="2" indent="-134938">
              <a:lnSpc>
                <a:spcPct val="90000"/>
              </a:lnSpc>
              <a:buClr>
                <a:schemeClr val="dk2"/>
              </a:buClr>
              <a:buSzPts val="1200"/>
              <a:buFont typeface="Calibri"/>
              <a:buChar char="−"/>
            </a:pPr>
            <a:endParaRPr sz="1200" dirty="0">
              <a:solidFill>
                <a:schemeClr val="dk1"/>
              </a:solidFill>
              <a:latin typeface="Calibri"/>
              <a:ea typeface="Calibri"/>
              <a:cs typeface="Calibri"/>
            </a:endParaRPr>
          </a:p>
          <a:p>
            <a:pPr marL="268288" lvl="2" indent="-134938">
              <a:lnSpc>
                <a:spcPct val="90000"/>
              </a:lnSpc>
              <a:buClr>
                <a:schemeClr val="dk2"/>
              </a:buClr>
              <a:buSzPts val="1200"/>
              <a:buFont typeface="Calibri"/>
              <a:buChar char="−"/>
            </a:pPr>
            <a:r>
              <a:rPr lang="en-US" sz="1200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Evaluation and validation of the algorithm</a:t>
            </a:r>
          </a:p>
          <a:p>
            <a:pPr marL="133350" lvl="2">
              <a:lnSpc>
                <a:spcPct val="90000"/>
              </a:lnSpc>
              <a:buClr>
                <a:schemeClr val="dk2"/>
              </a:buClr>
              <a:buSzPts val="1200"/>
            </a:pPr>
            <a:endParaRPr lang="en-US" sz="1200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marL="133350" lvl="2">
              <a:lnSpc>
                <a:spcPct val="90000"/>
              </a:lnSpc>
              <a:buClr>
                <a:schemeClr val="dk2"/>
              </a:buClr>
              <a:buSzPts val="1200"/>
            </a:pPr>
            <a:endParaRPr lang="en-US" sz="1200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marL="268288" lvl="2" indent="-134938">
              <a:lnSpc>
                <a:spcPct val="90000"/>
              </a:lnSpc>
              <a:buClr>
                <a:schemeClr val="dk2"/>
              </a:buClr>
              <a:buSzPts val="1200"/>
              <a:buFont typeface="Calibri"/>
              <a:buChar char="−"/>
            </a:pPr>
            <a:endParaRPr lang="en-US" sz="1200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marL="268288" lvl="2" indent="-134938">
              <a:lnSpc>
                <a:spcPct val="90000"/>
              </a:lnSpc>
              <a:buClr>
                <a:schemeClr val="dk2"/>
              </a:buClr>
              <a:buSzPts val="1200"/>
              <a:buFont typeface="Calibri"/>
              <a:buChar char="−"/>
            </a:pPr>
            <a:endParaRPr lang="en-US" sz="1200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marL="268288" lvl="2" indent="-134938">
              <a:lnSpc>
                <a:spcPct val="90000"/>
              </a:lnSpc>
              <a:buClr>
                <a:schemeClr val="dk2"/>
              </a:buClr>
              <a:buSzPts val="1200"/>
              <a:buFont typeface="Calibri"/>
              <a:buChar char="−"/>
            </a:pPr>
            <a:endParaRPr lang="en-US" sz="1200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marL="268288" lvl="2" indent="-134938">
              <a:lnSpc>
                <a:spcPct val="90000"/>
              </a:lnSpc>
              <a:buClr>
                <a:schemeClr val="dk2"/>
              </a:buClr>
              <a:buSzPts val="1200"/>
              <a:buFont typeface="Calibri"/>
              <a:buChar char="−"/>
            </a:pPr>
            <a:endParaRPr sz="1200" dirty="0">
              <a:solidFill>
                <a:schemeClr val="dk1"/>
              </a:solidFill>
              <a:latin typeface="Calibri"/>
              <a:ea typeface="Calibri"/>
              <a:cs typeface="Calibri"/>
            </a:endParaRPr>
          </a:p>
        </p:txBody>
      </p:sp>
      <p:sp>
        <p:nvSpPr>
          <p:cNvPr id="1488" name="Google Shape;1488;p10"/>
          <p:cNvSpPr/>
          <p:nvPr/>
        </p:nvSpPr>
        <p:spPr>
          <a:xfrm rot="10800000" flipH="1">
            <a:off x="4140285" y="3087474"/>
            <a:ext cx="1303918" cy="185718"/>
          </a:xfrm>
          <a:custGeom>
            <a:avLst/>
            <a:gdLst/>
            <a:ahLst/>
            <a:cxnLst/>
            <a:rect l="l" t="t" r="r" b="b"/>
            <a:pathLst>
              <a:path w="10006" h="10000" extrusionOk="0">
                <a:moveTo>
                  <a:pt x="9992" y="10000"/>
                </a:moveTo>
                <a:cubicBezTo>
                  <a:pt x="10026" y="7376"/>
                  <a:pt x="9987" y="4129"/>
                  <a:pt x="9992" y="0"/>
                </a:cubicBezTo>
                <a:lnTo>
                  <a:pt x="0" y="0"/>
                </a:lnTo>
                <a:lnTo>
                  <a:pt x="0" y="10000"/>
                </a:lnTo>
                <a:lnTo>
                  <a:pt x="9992" y="100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1489" name="Google Shape;1489;p10"/>
          <p:cNvPicPr preferRelativeResize="0"/>
          <p:nvPr/>
        </p:nvPicPr>
        <p:blipFill rotWithShape="1">
          <a:blip r:embed="rId5">
            <a:alphaModFix/>
          </a:blip>
          <a:srcRect/>
          <a:stretch/>
        </p:blipFill>
        <p:spPr>
          <a:xfrm>
            <a:off x="568442" y="2937957"/>
            <a:ext cx="498358" cy="498358"/>
          </a:xfrm>
          <a:prstGeom prst="rect">
            <a:avLst/>
          </a:prstGeom>
          <a:noFill/>
          <a:ln>
            <a:noFill/>
          </a:ln>
        </p:spPr>
      </p:pic>
      <p:pic>
        <p:nvPicPr>
          <p:cNvPr id="1490" name="Google Shape;1490;p10"/>
          <p:cNvPicPr preferRelativeResize="0"/>
          <p:nvPr/>
        </p:nvPicPr>
        <p:blipFill rotWithShape="1">
          <a:blip r:embed="rId6">
            <a:alphaModFix/>
          </a:blip>
          <a:srcRect/>
          <a:stretch/>
        </p:blipFill>
        <p:spPr>
          <a:xfrm>
            <a:off x="1984850" y="2899591"/>
            <a:ext cx="548990" cy="548990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1491" name="Google Shape;1491;p10"/>
          <p:cNvGrpSpPr/>
          <p:nvPr/>
        </p:nvGrpSpPr>
        <p:grpSpPr>
          <a:xfrm>
            <a:off x="2539766" y="3024931"/>
            <a:ext cx="898166" cy="308854"/>
            <a:chOff x="2539766" y="3024931"/>
            <a:chExt cx="898166" cy="308854"/>
          </a:xfrm>
        </p:grpSpPr>
        <p:sp>
          <p:nvSpPr>
            <p:cNvPr id="1492" name="Google Shape;1492;p10"/>
            <p:cNvSpPr/>
            <p:nvPr/>
          </p:nvSpPr>
          <p:spPr>
            <a:xfrm rot="10800000" flipH="1">
              <a:off x="2662867" y="3024931"/>
              <a:ext cx="775065" cy="308854"/>
            </a:xfrm>
            <a:custGeom>
              <a:avLst/>
              <a:gdLst/>
              <a:ahLst/>
              <a:cxnLst/>
              <a:rect l="l" t="t" r="r" b="b"/>
              <a:pathLst>
                <a:path w="793" h="316" extrusionOk="0">
                  <a:moveTo>
                    <a:pt x="717" y="62"/>
                  </a:moveTo>
                  <a:lnTo>
                    <a:pt x="668" y="0"/>
                  </a:lnTo>
                  <a:lnTo>
                    <a:pt x="668" y="62"/>
                  </a:lnTo>
                  <a:lnTo>
                    <a:pt x="0" y="62"/>
                  </a:lnTo>
                  <a:lnTo>
                    <a:pt x="76" y="157"/>
                  </a:lnTo>
                  <a:lnTo>
                    <a:pt x="0" y="252"/>
                  </a:lnTo>
                  <a:lnTo>
                    <a:pt x="668" y="252"/>
                  </a:lnTo>
                  <a:lnTo>
                    <a:pt x="668" y="316"/>
                  </a:lnTo>
                  <a:lnTo>
                    <a:pt x="717" y="252"/>
                  </a:lnTo>
                  <a:lnTo>
                    <a:pt x="793" y="157"/>
                  </a:lnTo>
                  <a:lnTo>
                    <a:pt x="717" y="62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93" name="Google Shape;1493;p10"/>
            <p:cNvSpPr/>
            <p:nvPr/>
          </p:nvSpPr>
          <p:spPr>
            <a:xfrm rot="10800000" flipH="1">
              <a:off x="2539766" y="3087474"/>
              <a:ext cx="653839" cy="185718"/>
            </a:xfrm>
            <a:custGeom>
              <a:avLst/>
              <a:gdLst/>
              <a:ahLst/>
              <a:cxnLst/>
              <a:rect l="l" t="t" r="r" b="b"/>
              <a:pathLst>
                <a:path w="10006" h="10000" extrusionOk="0">
                  <a:moveTo>
                    <a:pt x="9992" y="10000"/>
                  </a:moveTo>
                  <a:cubicBezTo>
                    <a:pt x="10026" y="7376"/>
                    <a:pt x="9987" y="4129"/>
                    <a:pt x="9992" y="0"/>
                  </a:cubicBezTo>
                  <a:lnTo>
                    <a:pt x="0" y="0"/>
                  </a:lnTo>
                  <a:lnTo>
                    <a:pt x="0" y="10000"/>
                  </a:lnTo>
                  <a:lnTo>
                    <a:pt x="9992" y="1000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494" name="Google Shape;1494;p10"/>
          <p:cNvSpPr/>
          <p:nvPr/>
        </p:nvSpPr>
        <p:spPr>
          <a:xfrm rot="5400000">
            <a:off x="1871534" y="1360607"/>
            <a:ext cx="261792" cy="2871004"/>
          </a:xfrm>
          <a:prstGeom prst="leftBrace">
            <a:avLst>
              <a:gd name="adj1" fmla="val 0"/>
              <a:gd name="adj2" fmla="val 50000"/>
            </a:avLst>
          </a:prstGeom>
          <a:noFill/>
          <a:ln w="9525" cap="flat" cmpd="sng">
            <a:solidFill>
              <a:schemeClr val="dk2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495" name="Google Shape;1495;p10"/>
          <p:cNvSpPr/>
          <p:nvPr/>
        </p:nvSpPr>
        <p:spPr>
          <a:xfrm rot="5400000">
            <a:off x="6166459" y="33993"/>
            <a:ext cx="294131" cy="5537522"/>
          </a:xfrm>
          <a:prstGeom prst="leftBrace">
            <a:avLst>
              <a:gd name="adj1" fmla="val 0"/>
              <a:gd name="adj2" fmla="val 50000"/>
            </a:avLst>
          </a:prstGeom>
          <a:noFill/>
          <a:ln w="9525" cap="flat" cmpd="sng">
            <a:solidFill>
              <a:schemeClr val="dk2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496" name="Google Shape;1496;p10"/>
          <p:cNvSpPr/>
          <p:nvPr/>
        </p:nvSpPr>
        <p:spPr>
          <a:xfrm rot="5400000">
            <a:off x="10331249" y="1623570"/>
            <a:ext cx="256479" cy="2339765"/>
          </a:xfrm>
          <a:prstGeom prst="leftBrace">
            <a:avLst>
              <a:gd name="adj1" fmla="val 0"/>
              <a:gd name="adj2" fmla="val 50000"/>
            </a:avLst>
          </a:prstGeom>
          <a:noFill/>
          <a:ln w="9525" cap="flat" cmpd="sng">
            <a:solidFill>
              <a:schemeClr val="dk2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1497" name="Google Shape;1497;p10"/>
          <p:cNvPicPr preferRelativeResize="0"/>
          <p:nvPr/>
        </p:nvPicPr>
        <p:blipFill rotWithShape="1">
          <a:blip r:embed="rId7">
            <a:alphaModFix/>
          </a:blip>
          <a:srcRect/>
          <a:stretch/>
        </p:blipFill>
        <p:spPr>
          <a:xfrm>
            <a:off x="9499584" y="2955603"/>
            <a:ext cx="518983" cy="518983"/>
          </a:xfrm>
          <a:prstGeom prst="rect">
            <a:avLst/>
          </a:prstGeom>
          <a:noFill/>
          <a:ln>
            <a:noFill/>
          </a:ln>
        </p:spPr>
      </p:pic>
      <p:pic>
        <p:nvPicPr>
          <p:cNvPr id="1499" name="Google Shape;1499;p10"/>
          <p:cNvPicPr preferRelativeResize="0"/>
          <p:nvPr/>
        </p:nvPicPr>
        <p:blipFill rotWithShape="1">
          <a:blip r:embed="rId8">
            <a:alphaModFix/>
          </a:blip>
          <a:srcRect/>
          <a:stretch/>
        </p:blipFill>
        <p:spPr>
          <a:xfrm>
            <a:off x="11019998" y="2970162"/>
            <a:ext cx="522548" cy="522548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Google Shape;1485;p10">
            <a:extLst>
              <a:ext uri="{FF2B5EF4-FFF2-40B4-BE49-F238E27FC236}">
                <a16:creationId xmlns:a16="http://schemas.microsoft.com/office/drawing/2014/main" id="{9C25C3BD-A827-CEB0-A866-F5B9FF670735}"/>
              </a:ext>
            </a:extLst>
          </p:cNvPr>
          <p:cNvSpPr txBox="1"/>
          <p:nvPr/>
        </p:nvSpPr>
        <p:spPr>
          <a:xfrm>
            <a:off x="5946087" y="4269546"/>
            <a:ext cx="952556" cy="2585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1" indent="0" algn="ctr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080"/>
              <a:buFont typeface="Noto Sans Symbols"/>
              <a:buNone/>
            </a:pPr>
            <a:r>
              <a:rPr lang="en-US" sz="1050" b="1" i="0" u="none" strike="noStrike" cap="none" dirty="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rPr>
              <a:t>Delivery Management</a:t>
            </a:r>
            <a:endParaRPr sz="11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226CE38A-E543-9603-3466-B02484C06325}"/>
              </a:ext>
            </a:extLst>
          </p:cNvPr>
          <p:cNvSpPr txBox="1"/>
          <p:nvPr/>
        </p:nvSpPr>
        <p:spPr>
          <a:xfrm>
            <a:off x="5559782" y="5072831"/>
            <a:ext cx="2274375" cy="10895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28588" marR="0" lvl="1" indent="-1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2"/>
              </a:buClr>
              <a:buSzPts val="1080"/>
              <a:buFont typeface="Noto Sans Symbols"/>
              <a:buChar char="▪"/>
            </a:pPr>
            <a:r>
              <a:rPr lang="en-US" sz="1200" b="1" i="0" u="none" strike="noStrike" cap="none" dirty="0">
                <a:solidFill>
                  <a:srgbClr val="222222"/>
                </a:solidFill>
                <a:latin typeface="Calibri"/>
                <a:ea typeface="Calibri"/>
                <a:cs typeface="Calibri"/>
                <a:sym typeface="Calibri"/>
              </a:rPr>
              <a:t>Exploratory Analysis </a:t>
            </a:r>
            <a:endParaRPr lang="en-US" sz="14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268288" marR="0" lvl="2" indent="-134938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Calibri"/>
              <a:buChar char="−"/>
            </a:pP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Descriptive analysis </a:t>
            </a:r>
          </a:p>
          <a:p>
            <a:pPr marL="268288" marR="0" lvl="2" indent="-134938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Calibri"/>
              <a:buChar char="−"/>
            </a:pPr>
            <a:r>
              <a:rPr lang="en-US" sz="1200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Data visualization</a:t>
            </a:r>
          </a:p>
          <a:p>
            <a:pPr marL="268288" marR="0" lvl="2" indent="-134938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Calibri"/>
              <a:buChar char="−"/>
            </a:pPr>
            <a:r>
              <a:rPr lang="en-US" sz="1200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KPIs </a:t>
            </a:r>
          </a:p>
          <a:p>
            <a:pPr marL="268288" marR="0" lvl="2" indent="-134938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Calibri"/>
              <a:buChar char="−"/>
            </a:pPr>
            <a:r>
              <a:rPr lang="en-US" sz="1200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Data story telling</a:t>
            </a:r>
          </a:p>
          <a:p>
            <a:pPr marL="268288" marR="0" lvl="2" indent="-134938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Calibri"/>
              <a:buChar char="−"/>
            </a:pPr>
            <a:endParaRPr lang="en-US" sz="1200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" name="Google Shape;1400;p8">
            <a:extLst>
              <a:ext uri="{FF2B5EF4-FFF2-40B4-BE49-F238E27FC236}">
                <a16:creationId xmlns:a16="http://schemas.microsoft.com/office/drawing/2014/main" id="{FBF1FD8F-FF94-B39F-7C04-590AB4DD0B1B}"/>
              </a:ext>
            </a:extLst>
          </p:cNvPr>
          <p:cNvSpPr txBox="1"/>
          <p:nvPr/>
        </p:nvSpPr>
        <p:spPr>
          <a:xfrm>
            <a:off x="10976464" y="292682"/>
            <a:ext cx="533800" cy="1538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-US" sz="1000" b="0" i="0" u="none" strike="noStrike" cap="none" dirty="0">
                <a:solidFill>
                  <a:schemeClr val="bg2"/>
                </a:solidFill>
                <a:latin typeface="Franklin Gothic"/>
                <a:ea typeface="Franklin Gothic"/>
                <a:cs typeface="Franklin Gothic"/>
                <a:sym typeface="Franklin Gothic"/>
              </a:rPr>
              <a:t>Analytics</a:t>
            </a:r>
            <a:endParaRPr sz="1400" b="0" i="0" u="none" strike="noStrike" cap="none" dirty="0">
              <a:solidFill>
                <a:schemeClr val="bg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09AFCC96-BE83-542B-9CCC-87080BB160F3}"/>
              </a:ext>
            </a:extLst>
          </p:cNvPr>
          <p:cNvGrpSpPr/>
          <p:nvPr/>
        </p:nvGrpSpPr>
        <p:grpSpPr>
          <a:xfrm>
            <a:off x="11557889" y="135255"/>
            <a:ext cx="468744" cy="468742"/>
            <a:chOff x="11706853" y="287655"/>
            <a:chExt cx="468744" cy="468742"/>
          </a:xfrm>
        </p:grpSpPr>
        <p:sp>
          <p:nvSpPr>
            <p:cNvPr id="7" name="Google Shape;1401;p8">
              <a:extLst>
                <a:ext uri="{FF2B5EF4-FFF2-40B4-BE49-F238E27FC236}">
                  <a16:creationId xmlns:a16="http://schemas.microsoft.com/office/drawing/2014/main" id="{DBC55637-64F3-FE48-3197-779EE0DFB763}"/>
                </a:ext>
              </a:extLst>
            </p:cNvPr>
            <p:cNvSpPr/>
            <p:nvPr/>
          </p:nvSpPr>
          <p:spPr>
            <a:xfrm>
              <a:off x="11706853" y="287655"/>
              <a:ext cx="468744" cy="468742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000"/>
                <a:buFont typeface="Arial"/>
                <a:buNone/>
              </a:pPr>
              <a:endPara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8" name="Picture 7">
              <a:extLst>
                <a:ext uri="{FF2B5EF4-FFF2-40B4-BE49-F238E27FC236}">
                  <a16:creationId xmlns:a16="http://schemas.microsoft.com/office/drawing/2014/main" id="{E5781A32-B104-0582-4EE6-EBD87CB9F266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lum bright="70000" contrast="-70000"/>
              <a:alphaModFix/>
            </a:blip>
            <a:stretch>
              <a:fillRect/>
            </a:stretch>
          </p:blipFill>
          <p:spPr>
            <a:xfrm>
              <a:off x="11795074" y="375875"/>
              <a:ext cx="292302" cy="292302"/>
            </a:xfrm>
            <a:prstGeom prst="rect">
              <a:avLst/>
            </a:prstGeom>
            <a:noFill/>
            <a:ln>
              <a:noFill/>
            </a:ln>
          </p:spPr>
        </p:pic>
      </p:grpSp>
      <p:pic>
        <p:nvPicPr>
          <p:cNvPr id="9" name="Picture 8">
            <a:extLst>
              <a:ext uri="{FF2B5EF4-FFF2-40B4-BE49-F238E27FC236}">
                <a16:creationId xmlns:a16="http://schemas.microsoft.com/office/drawing/2014/main" id="{1747BE8D-D81A-1367-4689-8CBF95E5F43C}"/>
              </a:ext>
            </a:extLst>
          </p:cNvPr>
          <p:cNvPicPr>
            <a:picLocks noChangeAspect="1"/>
          </p:cNvPicPr>
          <p:nvPr/>
        </p:nvPicPr>
        <p:blipFill>
          <a:blip r:embed="rId9">
            <a:alphaModFix/>
            <a:duotone>
              <a:schemeClr val="accent2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3610028" y="2961242"/>
            <a:ext cx="450886" cy="450886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62947794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6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Object 18" hidden="1">
            <a:extLst>
              <a:ext uri="{FF2B5EF4-FFF2-40B4-BE49-F238E27FC236}">
                <a16:creationId xmlns:a16="http://schemas.microsoft.com/office/drawing/2014/main" id="{5A7CB2A6-9037-7E10-F556-6737AE2740A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697509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Google Shape;365;p1">
            <a:extLst>
              <a:ext uri="{FF2B5EF4-FFF2-40B4-BE49-F238E27FC236}">
                <a16:creationId xmlns:a16="http://schemas.microsoft.com/office/drawing/2014/main" id="{D97CB6FC-B86E-81F7-DFA4-8074CA7BA208}"/>
              </a:ext>
            </a:extLst>
          </p:cNvPr>
          <p:cNvSpPr/>
          <p:nvPr/>
        </p:nvSpPr>
        <p:spPr>
          <a:xfrm>
            <a:off x="4619136" y="1780656"/>
            <a:ext cx="1371600" cy="5029200"/>
          </a:xfrm>
          <a:prstGeom prst="rect">
            <a:avLst/>
          </a:prstGeom>
          <a:gradFill>
            <a:gsLst>
              <a:gs pos="0">
                <a:srgbClr val="B0CAE9"/>
              </a:gs>
              <a:gs pos="50000">
                <a:srgbClr val="A1C1E4"/>
              </a:gs>
              <a:gs pos="100000">
                <a:srgbClr val="90B8E4"/>
              </a:gs>
            </a:gsLst>
            <a:lin ang="5400000" scaled="0"/>
          </a:gradFill>
          <a:ln w="9525" cap="flat" cmpd="sng">
            <a:solidFill>
              <a:schemeClr val="accent5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63" name="Google Shape;363;p1"/>
          <p:cNvSpPr/>
          <p:nvPr/>
        </p:nvSpPr>
        <p:spPr>
          <a:xfrm>
            <a:off x="10559959" y="1772275"/>
            <a:ext cx="1371600" cy="50292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 cap="flat" cmpd="sng">
            <a:noFill/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64" name="Google Shape;364;p1"/>
          <p:cNvSpPr/>
          <p:nvPr/>
        </p:nvSpPr>
        <p:spPr>
          <a:xfrm>
            <a:off x="7687397" y="1772275"/>
            <a:ext cx="2743200" cy="5029200"/>
          </a:xfrm>
          <a:prstGeom prst="rect">
            <a:avLst/>
          </a:prstGeom>
          <a:gradFill>
            <a:gsLst>
              <a:gs pos="0">
                <a:srgbClr val="B0CAE9"/>
              </a:gs>
              <a:gs pos="50000">
                <a:srgbClr val="A1C1E4"/>
              </a:gs>
              <a:gs pos="100000">
                <a:srgbClr val="90B8E4"/>
              </a:gs>
            </a:gsLst>
            <a:lin ang="5400000" scaled="0"/>
          </a:gradFill>
          <a:ln w="9525" cap="flat" cmpd="sng">
            <a:solidFill>
              <a:schemeClr val="accent5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65" name="Google Shape;365;p1"/>
          <p:cNvSpPr/>
          <p:nvPr/>
        </p:nvSpPr>
        <p:spPr>
          <a:xfrm>
            <a:off x="6246321" y="1772275"/>
            <a:ext cx="1371600" cy="5029200"/>
          </a:xfrm>
          <a:prstGeom prst="rect">
            <a:avLst/>
          </a:prstGeom>
          <a:gradFill>
            <a:gsLst>
              <a:gs pos="0">
                <a:srgbClr val="B0CAE9"/>
              </a:gs>
              <a:gs pos="50000">
                <a:srgbClr val="A1C1E4"/>
              </a:gs>
              <a:gs pos="100000">
                <a:srgbClr val="90B8E4"/>
              </a:gs>
            </a:gsLst>
            <a:lin ang="5400000" scaled="0"/>
          </a:gradFill>
          <a:ln w="9525" cap="flat" cmpd="sng">
            <a:solidFill>
              <a:schemeClr val="accent5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67" name="Google Shape;367;p1"/>
          <p:cNvSpPr/>
          <p:nvPr/>
        </p:nvSpPr>
        <p:spPr>
          <a:xfrm>
            <a:off x="1623882" y="1789374"/>
            <a:ext cx="1371600" cy="5029200"/>
          </a:xfrm>
          <a:prstGeom prst="rect">
            <a:avLst/>
          </a:prstGeom>
          <a:gradFill>
            <a:gsLst>
              <a:gs pos="0">
                <a:srgbClr val="B0CAE9"/>
              </a:gs>
              <a:gs pos="50000">
                <a:srgbClr val="A1C1E4"/>
              </a:gs>
              <a:gs pos="100000">
                <a:srgbClr val="90B8E4"/>
              </a:gs>
            </a:gsLst>
            <a:lin ang="5400000" scaled="0"/>
          </a:gradFill>
          <a:ln w="9525" cap="flat" cmpd="sng">
            <a:solidFill>
              <a:schemeClr val="accent5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68" name="Google Shape;368;p1"/>
          <p:cNvSpPr/>
          <p:nvPr/>
        </p:nvSpPr>
        <p:spPr>
          <a:xfrm>
            <a:off x="191322" y="1780656"/>
            <a:ext cx="1371600" cy="5029200"/>
          </a:xfrm>
          <a:prstGeom prst="rect">
            <a:avLst/>
          </a:prstGeom>
          <a:gradFill>
            <a:gsLst>
              <a:gs pos="0">
                <a:srgbClr val="B0CAE9"/>
              </a:gs>
              <a:gs pos="50000">
                <a:srgbClr val="A1C1E4"/>
              </a:gs>
              <a:gs pos="100000">
                <a:srgbClr val="90B8E4"/>
              </a:gs>
            </a:gsLst>
            <a:lin ang="5400000" scaled="0"/>
          </a:gradFill>
          <a:ln w="9525" cap="flat" cmpd="sng">
            <a:solidFill>
              <a:schemeClr val="accent5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69" name="Google Shape;369;p1"/>
          <p:cNvSpPr/>
          <p:nvPr/>
        </p:nvSpPr>
        <p:spPr>
          <a:xfrm>
            <a:off x="235389" y="257269"/>
            <a:ext cx="5810975" cy="624689"/>
          </a:xfrm>
          <a:prstGeom prst="rect">
            <a:avLst/>
          </a:prstGeom>
          <a:solidFill>
            <a:srgbClr val="7030A0"/>
          </a:solidFill>
          <a:ln w="12700" cap="flat" cmpd="sng">
            <a:solidFill>
              <a:srgbClr val="31538F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800" b="0" i="0" u="none" strike="noStrike" cap="none" dirty="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Acquire &amp; Preparation</a:t>
            </a:r>
            <a:endParaRPr dirty="0"/>
          </a:p>
        </p:txBody>
      </p:sp>
      <p:sp>
        <p:nvSpPr>
          <p:cNvPr id="371" name="Google Shape;371;p1"/>
          <p:cNvSpPr/>
          <p:nvPr/>
        </p:nvSpPr>
        <p:spPr>
          <a:xfrm>
            <a:off x="6263511" y="248888"/>
            <a:ext cx="4125022" cy="624689"/>
          </a:xfrm>
          <a:prstGeom prst="rect">
            <a:avLst/>
          </a:prstGeom>
          <a:solidFill>
            <a:schemeClr val="accent6"/>
          </a:solidFill>
          <a:ln w="12700" cap="flat" cmpd="sng">
            <a:solidFill>
              <a:srgbClr val="31538F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Analyze</a:t>
            </a:r>
            <a:endParaRPr/>
          </a:p>
        </p:txBody>
      </p:sp>
      <p:sp>
        <p:nvSpPr>
          <p:cNvPr id="372" name="Google Shape;372;p1"/>
          <p:cNvSpPr/>
          <p:nvPr/>
        </p:nvSpPr>
        <p:spPr>
          <a:xfrm>
            <a:off x="10605679" y="257269"/>
            <a:ext cx="1280160" cy="624689"/>
          </a:xfrm>
          <a:prstGeom prst="rect">
            <a:avLst/>
          </a:prstGeom>
          <a:solidFill>
            <a:schemeClr val="accent3"/>
          </a:solidFill>
          <a:ln w="12700" cap="flat" cmpd="sng">
            <a:solidFill>
              <a:srgbClr val="31538F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Deliver</a:t>
            </a:r>
            <a:endParaRPr/>
          </a:p>
        </p:txBody>
      </p:sp>
      <p:sp>
        <p:nvSpPr>
          <p:cNvPr id="373" name="Google Shape;373;p1"/>
          <p:cNvSpPr/>
          <p:nvPr/>
        </p:nvSpPr>
        <p:spPr>
          <a:xfrm>
            <a:off x="235390" y="1059662"/>
            <a:ext cx="1280160" cy="624689"/>
          </a:xfrm>
          <a:prstGeom prst="rect">
            <a:avLst/>
          </a:prstGeom>
          <a:solidFill>
            <a:schemeClr val="accent1"/>
          </a:solidFill>
          <a:ln w="12700" cap="flat" cmpd="sng">
            <a:solidFill>
              <a:srgbClr val="31538F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050" b="0" i="0" u="none" strike="noStrike" cap="none" dirty="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Data Sources</a:t>
            </a:r>
            <a:endParaRPr dirty="0"/>
          </a:p>
        </p:txBody>
      </p:sp>
      <p:sp>
        <p:nvSpPr>
          <p:cNvPr id="376" name="Google Shape;376;p1"/>
          <p:cNvSpPr/>
          <p:nvPr/>
        </p:nvSpPr>
        <p:spPr>
          <a:xfrm>
            <a:off x="6263511" y="1051279"/>
            <a:ext cx="1280160" cy="624689"/>
          </a:xfrm>
          <a:prstGeom prst="rect">
            <a:avLst/>
          </a:prstGeom>
          <a:solidFill>
            <a:schemeClr val="accent1"/>
          </a:solidFill>
          <a:ln w="12700" cap="flat" cmpd="sng">
            <a:solidFill>
              <a:srgbClr val="31538F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050" b="0" i="0" u="none" strike="noStrike" cap="none" dirty="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Exploration &amp;</a:t>
            </a:r>
            <a:endParaRPr dirty="0"/>
          </a:p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050" b="0" i="0" u="none" strike="noStrike" cap="none" dirty="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Visualization</a:t>
            </a:r>
            <a:endParaRPr dirty="0"/>
          </a:p>
        </p:txBody>
      </p:sp>
      <p:sp>
        <p:nvSpPr>
          <p:cNvPr id="377" name="Google Shape;377;p1"/>
          <p:cNvSpPr/>
          <p:nvPr/>
        </p:nvSpPr>
        <p:spPr>
          <a:xfrm>
            <a:off x="7702882" y="1051279"/>
            <a:ext cx="2708100" cy="624689"/>
          </a:xfrm>
          <a:prstGeom prst="rect">
            <a:avLst/>
          </a:prstGeom>
          <a:solidFill>
            <a:schemeClr val="accent1"/>
          </a:solidFill>
          <a:ln w="12700" cap="flat" cmpd="sng">
            <a:solidFill>
              <a:srgbClr val="31538F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05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Modeling</a:t>
            </a:r>
            <a:endParaRPr/>
          </a:p>
        </p:txBody>
      </p:sp>
      <p:sp>
        <p:nvSpPr>
          <p:cNvPr id="378" name="Google Shape;378;p1"/>
          <p:cNvSpPr/>
          <p:nvPr/>
        </p:nvSpPr>
        <p:spPr>
          <a:xfrm>
            <a:off x="10605679" y="1008413"/>
            <a:ext cx="1280160" cy="624689"/>
          </a:xfrm>
          <a:prstGeom prst="rect">
            <a:avLst/>
          </a:prstGeom>
          <a:solidFill>
            <a:schemeClr val="accent1"/>
          </a:solidFill>
          <a:ln w="12700" cap="flat" cmpd="sng">
            <a:solidFill>
              <a:srgbClr val="31538F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050" b="0" i="0" u="none" strike="noStrike" cap="none" dirty="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Deployment</a:t>
            </a:r>
            <a:endParaRPr dirty="0"/>
          </a:p>
        </p:txBody>
      </p:sp>
      <p:sp>
        <p:nvSpPr>
          <p:cNvPr id="379" name="Google Shape;379;p1"/>
          <p:cNvSpPr/>
          <p:nvPr/>
        </p:nvSpPr>
        <p:spPr>
          <a:xfrm>
            <a:off x="1652312" y="1059660"/>
            <a:ext cx="1280160" cy="624689"/>
          </a:xfrm>
          <a:prstGeom prst="rect">
            <a:avLst/>
          </a:prstGeom>
          <a:solidFill>
            <a:schemeClr val="accent1"/>
          </a:solidFill>
          <a:ln w="12700" cap="flat" cmpd="sng">
            <a:solidFill>
              <a:srgbClr val="31538F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050" b="0" i="0" u="none" strike="noStrike" cap="none" dirty="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Integration</a:t>
            </a:r>
            <a:endParaRPr dirty="0"/>
          </a:p>
        </p:txBody>
      </p:sp>
      <p:sp>
        <p:nvSpPr>
          <p:cNvPr id="383" name="Google Shape;383;p1"/>
          <p:cNvSpPr/>
          <p:nvPr/>
        </p:nvSpPr>
        <p:spPr>
          <a:xfrm>
            <a:off x="1669602" y="2398474"/>
            <a:ext cx="1280160" cy="624689"/>
          </a:xfrm>
          <a:prstGeom prst="rect">
            <a:avLst/>
          </a:prstGeom>
          <a:solidFill>
            <a:schemeClr val="accent1"/>
          </a:solidFill>
          <a:ln w="12700" cap="flat" cmpd="sng">
            <a:solidFill>
              <a:srgbClr val="31538F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1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Batch Data Integration</a:t>
            </a:r>
            <a:endParaRPr/>
          </a:p>
        </p:txBody>
      </p:sp>
      <p:sp>
        <p:nvSpPr>
          <p:cNvPr id="384" name="Google Shape;384;p1"/>
          <p:cNvSpPr/>
          <p:nvPr/>
        </p:nvSpPr>
        <p:spPr>
          <a:xfrm>
            <a:off x="1669602" y="3956766"/>
            <a:ext cx="1280160" cy="624689"/>
          </a:xfrm>
          <a:prstGeom prst="rect">
            <a:avLst/>
          </a:prstGeom>
          <a:solidFill>
            <a:schemeClr val="accent1"/>
          </a:solidFill>
          <a:ln w="12700" cap="flat" cmpd="sng">
            <a:solidFill>
              <a:srgbClr val="31538F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1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Stream Ingestion Real time</a:t>
            </a:r>
            <a:endParaRPr/>
          </a:p>
        </p:txBody>
      </p:sp>
      <p:sp>
        <p:nvSpPr>
          <p:cNvPr id="385" name="Google Shape;385;p1"/>
          <p:cNvSpPr/>
          <p:nvPr/>
        </p:nvSpPr>
        <p:spPr>
          <a:xfrm>
            <a:off x="1669602" y="5515059"/>
            <a:ext cx="1280160" cy="624689"/>
          </a:xfrm>
          <a:prstGeom prst="rect">
            <a:avLst/>
          </a:prstGeom>
          <a:solidFill>
            <a:schemeClr val="accent1"/>
          </a:solidFill>
          <a:ln w="12700" cap="flat" cmpd="sng">
            <a:solidFill>
              <a:srgbClr val="31538F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1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Message Broker</a:t>
            </a:r>
            <a:endParaRPr/>
          </a:p>
        </p:txBody>
      </p:sp>
      <p:sp>
        <p:nvSpPr>
          <p:cNvPr id="386" name="Google Shape;386;p1"/>
          <p:cNvSpPr/>
          <p:nvPr/>
        </p:nvSpPr>
        <p:spPr>
          <a:xfrm>
            <a:off x="235390" y="1879809"/>
            <a:ext cx="1280160" cy="624689"/>
          </a:xfrm>
          <a:prstGeom prst="rect">
            <a:avLst/>
          </a:prstGeom>
          <a:solidFill>
            <a:schemeClr val="accent1"/>
          </a:solidFill>
          <a:ln w="12700" cap="flat" cmpd="sng">
            <a:solidFill>
              <a:srgbClr val="31538F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1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ERP</a:t>
            </a:r>
            <a:endParaRPr/>
          </a:p>
        </p:txBody>
      </p:sp>
      <p:sp>
        <p:nvSpPr>
          <p:cNvPr id="387" name="Google Shape;387;p1"/>
          <p:cNvSpPr/>
          <p:nvPr/>
        </p:nvSpPr>
        <p:spPr>
          <a:xfrm>
            <a:off x="235390" y="3958579"/>
            <a:ext cx="1280160" cy="624689"/>
          </a:xfrm>
          <a:prstGeom prst="rect">
            <a:avLst/>
          </a:prstGeom>
          <a:solidFill>
            <a:schemeClr val="accent1"/>
          </a:solidFill>
          <a:ln w="12700" cap="flat" cmpd="sng">
            <a:solidFill>
              <a:srgbClr val="31538F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1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Databases</a:t>
            </a:r>
            <a:endParaRPr/>
          </a:p>
        </p:txBody>
      </p:sp>
      <p:sp>
        <p:nvSpPr>
          <p:cNvPr id="388" name="Google Shape;388;p1"/>
          <p:cNvSpPr/>
          <p:nvPr/>
        </p:nvSpPr>
        <p:spPr>
          <a:xfrm>
            <a:off x="235390" y="4997964"/>
            <a:ext cx="1280160" cy="624689"/>
          </a:xfrm>
          <a:prstGeom prst="rect">
            <a:avLst/>
          </a:prstGeom>
          <a:solidFill>
            <a:schemeClr val="accent1"/>
          </a:solidFill>
          <a:ln w="12700" cap="flat" cmpd="sng">
            <a:solidFill>
              <a:srgbClr val="31538F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1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External Sources</a:t>
            </a:r>
            <a:endParaRPr/>
          </a:p>
        </p:txBody>
      </p:sp>
      <p:sp>
        <p:nvSpPr>
          <p:cNvPr id="389" name="Google Shape;389;p1"/>
          <p:cNvSpPr/>
          <p:nvPr/>
        </p:nvSpPr>
        <p:spPr>
          <a:xfrm>
            <a:off x="235390" y="2919194"/>
            <a:ext cx="1280160" cy="624689"/>
          </a:xfrm>
          <a:prstGeom prst="rect">
            <a:avLst/>
          </a:prstGeom>
          <a:solidFill>
            <a:schemeClr val="accent1"/>
          </a:solidFill>
          <a:ln w="12700" cap="flat" cmpd="sng">
            <a:solidFill>
              <a:srgbClr val="31538F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1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CRM</a:t>
            </a:r>
            <a:endParaRPr/>
          </a:p>
        </p:txBody>
      </p:sp>
      <p:sp>
        <p:nvSpPr>
          <p:cNvPr id="390" name="Google Shape;390;p1"/>
          <p:cNvSpPr/>
          <p:nvPr/>
        </p:nvSpPr>
        <p:spPr>
          <a:xfrm>
            <a:off x="235390" y="6037348"/>
            <a:ext cx="1280160" cy="624689"/>
          </a:xfrm>
          <a:prstGeom prst="rect">
            <a:avLst/>
          </a:prstGeom>
          <a:solidFill>
            <a:schemeClr val="accent1"/>
          </a:solidFill>
          <a:ln w="12700" cap="flat" cmpd="sng">
            <a:solidFill>
              <a:srgbClr val="31538F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1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Files</a:t>
            </a:r>
            <a:endParaRPr/>
          </a:p>
        </p:txBody>
      </p:sp>
      <p:sp>
        <p:nvSpPr>
          <p:cNvPr id="391" name="Google Shape;391;p1"/>
          <p:cNvSpPr/>
          <p:nvPr/>
        </p:nvSpPr>
        <p:spPr>
          <a:xfrm>
            <a:off x="7713900" y="4033942"/>
            <a:ext cx="1280160" cy="457200"/>
          </a:xfrm>
          <a:prstGeom prst="rect">
            <a:avLst/>
          </a:prstGeom>
          <a:solidFill>
            <a:schemeClr val="accent1"/>
          </a:solidFill>
          <a:ln w="12700" cap="flat" cmpd="sng">
            <a:solidFill>
              <a:srgbClr val="31538F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1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Machine Learning</a:t>
            </a:r>
            <a:endParaRPr/>
          </a:p>
        </p:txBody>
      </p:sp>
      <p:sp>
        <p:nvSpPr>
          <p:cNvPr id="392" name="Google Shape;392;p1"/>
          <p:cNvSpPr/>
          <p:nvPr/>
        </p:nvSpPr>
        <p:spPr>
          <a:xfrm>
            <a:off x="9130822" y="4730808"/>
            <a:ext cx="1280160" cy="457200"/>
          </a:xfrm>
          <a:prstGeom prst="rect">
            <a:avLst/>
          </a:prstGeom>
          <a:solidFill>
            <a:srgbClr val="1E4E79"/>
          </a:solidFill>
          <a:ln w="12700" cap="flat" cmpd="sng">
            <a:solidFill>
              <a:srgbClr val="31538F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1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Video/Image Analytics</a:t>
            </a:r>
            <a:endParaRPr/>
          </a:p>
        </p:txBody>
      </p:sp>
      <p:sp>
        <p:nvSpPr>
          <p:cNvPr id="393" name="Google Shape;393;p1"/>
          <p:cNvSpPr/>
          <p:nvPr/>
        </p:nvSpPr>
        <p:spPr>
          <a:xfrm>
            <a:off x="7713900" y="4754780"/>
            <a:ext cx="1280160" cy="457200"/>
          </a:xfrm>
          <a:prstGeom prst="rect">
            <a:avLst/>
          </a:prstGeom>
          <a:solidFill>
            <a:srgbClr val="1E4E79"/>
          </a:solidFill>
          <a:ln w="12700" cap="flat" cmpd="sng">
            <a:solidFill>
              <a:srgbClr val="31538F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1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Deep Learning</a:t>
            </a:r>
            <a:endParaRPr/>
          </a:p>
        </p:txBody>
      </p:sp>
      <p:sp>
        <p:nvSpPr>
          <p:cNvPr id="394" name="Google Shape;394;p1"/>
          <p:cNvSpPr/>
          <p:nvPr/>
        </p:nvSpPr>
        <p:spPr>
          <a:xfrm>
            <a:off x="9130822" y="4227857"/>
            <a:ext cx="1280160" cy="457200"/>
          </a:xfrm>
          <a:prstGeom prst="rect">
            <a:avLst/>
          </a:prstGeom>
          <a:solidFill>
            <a:srgbClr val="1E4E79"/>
          </a:solidFill>
          <a:ln w="12700" cap="flat" cmpd="sng">
            <a:solidFill>
              <a:srgbClr val="31538F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1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Speech Analytics</a:t>
            </a:r>
            <a:endParaRPr/>
          </a:p>
        </p:txBody>
      </p:sp>
      <p:sp>
        <p:nvSpPr>
          <p:cNvPr id="395" name="Google Shape;395;p1"/>
          <p:cNvSpPr/>
          <p:nvPr/>
        </p:nvSpPr>
        <p:spPr>
          <a:xfrm>
            <a:off x="9130822" y="5233758"/>
            <a:ext cx="1280160" cy="457200"/>
          </a:xfrm>
          <a:prstGeom prst="rect">
            <a:avLst/>
          </a:prstGeom>
          <a:solidFill>
            <a:srgbClr val="1E4E79"/>
          </a:solidFill>
          <a:ln w="12700" cap="flat" cmpd="sng">
            <a:solidFill>
              <a:srgbClr val="31538F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1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Text Analytics</a:t>
            </a:r>
            <a:endParaRPr/>
          </a:p>
        </p:txBody>
      </p:sp>
      <p:sp>
        <p:nvSpPr>
          <p:cNvPr id="396" name="Google Shape;396;p1"/>
          <p:cNvSpPr/>
          <p:nvPr/>
        </p:nvSpPr>
        <p:spPr>
          <a:xfrm>
            <a:off x="7713900" y="3313104"/>
            <a:ext cx="1280160" cy="457200"/>
          </a:xfrm>
          <a:prstGeom prst="rect">
            <a:avLst/>
          </a:prstGeom>
          <a:solidFill>
            <a:schemeClr val="accent1"/>
          </a:solidFill>
          <a:ln w="12700" cap="flat" cmpd="sng">
            <a:solidFill>
              <a:srgbClr val="31538F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1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Simulation</a:t>
            </a:r>
            <a:endParaRPr/>
          </a:p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1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and Optimization</a:t>
            </a:r>
            <a:endParaRPr/>
          </a:p>
        </p:txBody>
      </p:sp>
      <p:sp>
        <p:nvSpPr>
          <p:cNvPr id="397" name="Google Shape;397;p1"/>
          <p:cNvSpPr/>
          <p:nvPr/>
        </p:nvSpPr>
        <p:spPr>
          <a:xfrm>
            <a:off x="7702882" y="6196456"/>
            <a:ext cx="1280160" cy="457200"/>
          </a:xfrm>
          <a:prstGeom prst="rect">
            <a:avLst/>
          </a:prstGeom>
          <a:solidFill>
            <a:schemeClr val="accent1"/>
          </a:solidFill>
          <a:ln w="12700" cap="flat" cmpd="sng">
            <a:solidFill>
              <a:srgbClr val="31538F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1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Geospatial and</a:t>
            </a:r>
            <a:endParaRPr/>
          </a:p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1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Location Analytics</a:t>
            </a:r>
            <a:endParaRPr/>
          </a:p>
        </p:txBody>
      </p:sp>
      <p:sp>
        <p:nvSpPr>
          <p:cNvPr id="398" name="Google Shape;398;p1"/>
          <p:cNvSpPr/>
          <p:nvPr/>
        </p:nvSpPr>
        <p:spPr>
          <a:xfrm>
            <a:off x="7713900" y="2592266"/>
            <a:ext cx="1280160" cy="457200"/>
          </a:xfrm>
          <a:prstGeom prst="rect">
            <a:avLst/>
          </a:prstGeom>
          <a:solidFill>
            <a:srgbClr val="2F5496"/>
          </a:solidFill>
          <a:ln w="12700" cap="flat" cmpd="sng">
            <a:solidFill>
              <a:srgbClr val="31538F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1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Predictive Analytics</a:t>
            </a:r>
            <a:endParaRPr/>
          </a:p>
        </p:txBody>
      </p:sp>
      <p:sp>
        <p:nvSpPr>
          <p:cNvPr id="399" name="Google Shape;399;p1"/>
          <p:cNvSpPr/>
          <p:nvPr/>
        </p:nvSpPr>
        <p:spPr>
          <a:xfrm>
            <a:off x="7713900" y="5475618"/>
            <a:ext cx="1280160" cy="457200"/>
          </a:xfrm>
          <a:prstGeom prst="rect">
            <a:avLst/>
          </a:prstGeom>
          <a:solidFill>
            <a:schemeClr val="accent1"/>
          </a:solidFill>
          <a:ln w="12700" cap="flat" cmpd="sng">
            <a:solidFill>
              <a:srgbClr val="31538F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1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Graph Analytics</a:t>
            </a:r>
            <a:endParaRPr/>
          </a:p>
        </p:txBody>
      </p:sp>
      <p:sp>
        <p:nvSpPr>
          <p:cNvPr id="400" name="Google Shape;400;p1"/>
          <p:cNvSpPr/>
          <p:nvPr/>
        </p:nvSpPr>
        <p:spPr>
          <a:xfrm>
            <a:off x="7713900" y="1871428"/>
            <a:ext cx="1280160" cy="457200"/>
          </a:xfrm>
          <a:prstGeom prst="rect">
            <a:avLst/>
          </a:prstGeom>
          <a:solidFill>
            <a:srgbClr val="2F5496"/>
          </a:solidFill>
          <a:ln w="12700" cap="flat" cmpd="sng">
            <a:solidFill>
              <a:srgbClr val="31538F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1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Prescriptive Analytics</a:t>
            </a:r>
            <a:endParaRPr/>
          </a:p>
        </p:txBody>
      </p:sp>
      <p:sp>
        <p:nvSpPr>
          <p:cNvPr id="401" name="Google Shape;401;p1"/>
          <p:cNvSpPr/>
          <p:nvPr/>
        </p:nvSpPr>
        <p:spPr>
          <a:xfrm>
            <a:off x="6285960" y="1871428"/>
            <a:ext cx="1280160" cy="624689"/>
          </a:xfrm>
          <a:prstGeom prst="rect">
            <a:avLst/>
          </a:prstGeom>
          <a:solidFill>
            <a:schemeClr val="accent1"/>
          </a:solidFill>
          <a:ln w="12700" cap="flat" cmpd="sng">
            <a:solidFill>
              <a:srgbClr val="31538F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1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Statistics</a:t>
            </a:r>
            <a:endParaRPr/>
          </a:p>
        </p:txBody>
      </p:sp>
      <p:sp>
        <p:nvSpPr>
          <p:cNvPr id="402" name="Google Shape;402;p1"/>
          <p:cNvSpPr/>
          <p:nvPr/>
        </p:nvSpPr>
        <p:spPr>
          <a:xfrm>
            <a:off x="6292041" y="5014486"/>
            <a:ext cx="1280160" cy="624689"/>
          </a:xfrm>
          <a:prstGeom prst="rect">
            <a:avLst/>
          </a:prstGeom>
          <a:solidFill>
            <a:schemeClr val="accent1"/>
          </a:solidFill>
          <a:ln w="12700" cap="flat" cmpd="sng">
            <a:solidFill>
              <a:srgbClr val="31538F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1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Dashboard</a:t>
            </a:r>
            <a:endParaRPr/>
          </a:p>
        </p:txBody>
      </p:sp>
      <p:sp>
        <p:nvSpPr>
          <p:cNvPr id="403" name="Google Shape;403;p1"/>
          <p:cNvSpPr/>
          <p:nvPr/>
        </p:nvSpPr>
        <p:spPr>
          <a:xfrm>
            <a:off x="6263511" y="6096291"/>
            <a:ext cx="1280160" cy="624689"/>
          </a:xfrm>
          <a:prstGeom prst="rect">
            <a:avLst/>
          </a:prstGeom>
          <a:solidFill>
            <a:schemeClr val="accent1"/>
          </a:solidFill>
          <a:ln w="12700" cap="flat" cmpd="sng">
            <a:solidFill>
              <a:srgbClr val="31538F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1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Real time Reporting</a:t>
            </a:r>
            <a:endParaRPr/>
          </a:p>
        </p:txBody>
      </p:sp>
      <p:sp>
        <p:nvSpPr>
          <p:cNvPr id="404" name="Google Shape;404;p1"/>
          <p:cNvSpPr/>
          <p:nvPr/>
        </p:nvSpPr>
        <p:spPr>
          <a:xfrm>
            <a:off x="10605679" y="5528038"/>
            <a:ext cx="1280160" cy="365760"/>
          </a:xfrm>
          <a:prstGeom prst="rect">
            <a:avLst/>
          </a:prstGeom>
          <a:solidFill>
            <a:schemeClr val="accent1"/>
          </a:solidFill>
          <a:ln w="12700" cap="flat" cmpd="sng">
            <a:solidFill>
              <a:srgbClr val="31538F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05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Containerization</a:t>
            </a:r>
            <a:endParaRPr/>
          </a:p>
        </p:txBody>
      </p:sp>
      <p:sp>
        <p:nvSpPr>
          <p:cNvPr id="405" name="Google Shape;405;p1"/>
          <p:cNvSpPr/>
          <p:nvPr/>
        </p:nvSpPr>
        <p:spPr>
          <a:xfrm>
            <a:off x="10605679" y="4807216"/>
            <a:ext cx="1280160" cy="365760"/>
          </a:xfrm>
          <a:prstGeom prst="rect">
            <a:avLst/>
          </a:prstGeom>
          <a:solidFill>
            <a:schemeClr val="accent1"/>
          </a:solidFill>
          <a:ln w="12700" cap="flat" cmpd="sng">
            <a:solidFill>
              <a:srgbClr val="31538F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05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Security</a:t>
            </a:r>
            <a:endParaRPr/>
          </a:p>
        </p:txBody>
      </p:sp>
      <p:sp>
        <p:nvSpPr>
          <p:cNvPr id="406" name="Google Shape;406;p1"/>
          <p:cNvSpPr/>
          <p:nvPr/>
        </p:nvSpPr>
        <p:spPr>
          <a:xfrm>
            <a:off x="9130822" y="1881830"/>
            <a:ext cx="1280160" cy="457200"/>
          </a:xfrm>
          <a:prstGeom prst="rect">
            <a:avLst/>
          </a:prstGeom>
          <a:solidFill>
            <a:srgbClr val="2F5496"/>
          </a:solidFill>
          <a:ln w="12700" cap="flat" cmpd="sng">
            <a:solidFill>
              <a:srgbClr val="31538F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1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Recommendation Systems</a:t>
            </a:r>
            <a:endParaRPr/>
          </a:p>
        </p:txBody>
      </p:sp>
      <p:sp>
        <p:nvSpPr>
          <p:cNvPr id="407" name="Google Shape;407;p1"/>
          <p:cNvSpPr/>
          <p:nvPr/>
        </p:nvSpPr>
        <p:spPr>
          <a:xfrm>
            <a:off x="9130822" y="2422625"/>
            <a:ext cx="1280160" cy="457200"/>
          </a:xfrm>
          <a:prstGeom prst="rect">
            <a:avLst/>
          </a:prstGeom>
          <a:solidFill>
            <a:srgbClr val="2F5496"/>
          </a:solidFill>
          <a:ln w="12700" cap="flat" cmpd="sng">
            <a:solidFill>
              <a:srgbClr val="31538F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1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Time series</a:t>
            </a:r>
            <a:endParaRPr/>
          </a:p>
        </p:txBody>
      </p:sp>
      <p:sp>
        <p:nvSpPr>
          <p:cNvPr id="408" name="Google Shape;408;p1"/>
          <p:cNvSpPr/>
          <p:nvPr/>
        </p:nvSpPr>
        <p:spPr>
          <a:xfrm>
            <a:off x="9130822" y="2963419"/>
            <a:ext cx="1280160" cy="457200"/>
          </a:xfrm>
          <a:prstGeom prst="rect">
            <a:avLst/>
          </a:prstGeom>
          <a:solidFill>
            <a:srgbClr val="2F5496"/>
          </a:solidFill>
          <a:ln w="12700" cap="flat" cmpd="sng">
            <a:solidFill>
              <a:srgbClr val="31538F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1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Segmentation</a:t>
            </a:r>
            <a:endParaRPr/>
          </a:p>
        </p:txBody>
      </p:sp>
      <p:sp>
        <p:nvSpPr>
          <p:cNvPr id="409" name="Google Shape;409;p1"/>
          <p:cNvSpPr/>
          <p:nvPr/>
        </p:nvSpPr>
        <p:spPr>
          <a:xfrm>
            <a:off x="9130822" y="5739256"/>
            <a:ext cx="1280160" cy="457200"/>
          </a:xfrm>
          <a:prstGeom prst="rect">
            <a:avLst/>
          </a:prstGeom>
          <a:solidFill>
            <a:srgbClr val="1E4E79"/>
          </a:solidFill>
          <a:ln w="12700" cap="flat" cmpd="sng">
            <a:solidFill>
              <a:srgbClr val="31538F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1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Sentimental/ Behavioral Analytics</a:t>
            </a:r>
            <a:endParaRPr/>
          </a:p>
        </p:txBody>
      </p:sp>
      <p:sp>
        <p:nvSpPr>
          <p:cNvPr id="410" name="Google Shape;410;p1"/>
          <p:cNvSpPr/>
          <p:nvPr/>
        </p:nvSpPr>
        <p:spPr>
          <a:xfrm>
            <a:off x="3100670" y="1026887"/>
            <a:ext cx="1280160" cy="624689"/>
          </a:xfrm>
          <a:prstGeom prst="rect">
            <a:avLst/>
          </a:prstGeom>
          <a:solidFill>
            <a:schemeClr val="accent1"/>
          </a:solidFill>
          <a:ln w="12700" cap="flat" cmpd="sng">
            <a:solidFill>
              <a:srgbClr val="31538F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050" b="0" i="0" u="none" strike="noStrike" cap="none" dirty="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Storage</a:t>
            </a:r>
            <a:endParaRPr dirty="0"/>
          </a:p>
        </p:txBody>
      </p:sp>
      <p:sp>
        <p:nvSpPr>
          <p:cNvPr id="411" name="Google Shape;411;p1"/>
          <p:cNvSpPr/>
          <p:nvPr/>
        </p:nvSpPr>
        <p:spPr>
          <a:xfrm>
            <a:off x="6282201" y="3983860"/>
            <a:ext cx="1280160" cy="624689"/>
          </a:xfrm>
          <a:prstGeom prst="rect">
            <a:avLst/>
          </a:prstGeom>
          <a:solidFill>
            <a:schemeClr val="accent1"/>
          </a:solidFill>
          <a:ln w="12700" cap="flat" cmpd="sng">
            <a:solidFill>
              <a:srgbClr val="31538F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1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Reports</a:t>
            </a:r>
            <a:endParaRPr/>
          </a:p>
        </p:txBody>
      </p:sp>
      <p:sp>
        <p:nvSpPr>
          <p:cNvPr id="412" name="Google Shape;412;p1"/>
          <p:cNvSpPr/>
          <p:nvPr/>
        </p:nvSpPr>
        <p:spPr>
          <a:xfrm>
            <a:off x="3118174" y="1747885"/>
            <a:ext cx="1371600" cy="5029200"/>
          </a:xfrm>
          <a:prstGeom prst="rect">
            <a:avLst/>
          </a:prstGeom>
          <a:gradFill>
            <a:gsLst>
              <a:gs pos="0">
                <a:srgbClr val="B0CAE9"/>
              </a:gs>
              <a:gs pos="50000">
                <a:srgbClr val="A1C1E4"/>
              </a:gs>
              <a:gs pos="100000">
                <a:srgbClr val="90B8E4"/>
              </a:gs>
            </a:gsLst>
            <a:lin ang="5400000" scaled="0"/>
          </a:gradFill>
          <a:ln w="9525" cap="flat" cmpd="sng">
            <a:solidFill>
              <a:schemeClr val="accent5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13" name="Google Shape;413;p1"/>
          <p:cNvSpPr/>
          <p:nvPr/>
        </p:nvSpPr>
        <p:spPr>
          <a:xfrm>
            <a:off x="3163134" y="4622198"/>
            <a:ext cx="1280160" cy="624689"/>
          </a:xfrm>
          <a:prstGeom prst="rect">
            <a:avLst/>
          </a:prstGeom>
          <a:solidFill>
            <a:schemeClr val="accent1"/>
          </a:solidFill>
          <a:ln w="12700" cap="flat" cmpd="sng">
            <a:solidFill>
              <a:srgbClr val="31538F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1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Big Data/Distributed Environment</a:t>
            </a:r>
            <a:endParaRPr/>
          </a:p>
        </p:txBody>
      </p:sp>
      <p:sp>
        <p:nvSpPr>
          <p:cNvPr id="414" name="Google Shape;414;p1"/>
          <p:cNvSpPr/>
          <p:nvPr/>
        </p:nvSpPr>
        <p:spPr>
          <a:xfrm>
            <a:off x="3163134" y="3239819"/>
            <a:ext cx="1280160" cy="624689"/>
          </a:xfrm>
          <a:prstGeom prst="rect">
            <a:avLst/>
          </a:prstGeom>
          <a:solidFill>
            <a:schemeClr val="accent1"/>
          </a:solidFill>
          <a:ln w="12700" cap="flat" cmpd="sng">
            <a:solidFill>
              <a:srgbClr val="31538F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1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NOSQL Environment</a:t>
            </a:r>
            <a:endParaRPr/>
          </a:p>
        </p:txBody>
      </p:sp>
      <p:sp>
        <p:nvSpPr>
          <p:cNvPr id="415" name="Google Shape;415;p1"/>
          <p:cNvSpPr/>
          <p:nvPr/>
        </p:nvSpPr>
        <p:spPr>
          <a:xfrm>
            <a:off x="3152913" y="1857440"/>
            <a:ext cx="1280160" cy="624689"/>
          </a:xfrm>
          <a:prstGeom prst="rect">
            <a:avLst/>
          </a:prstGeom>
          <a:solidFill>
            <a:schemeClr val="accent1"/>
          </a:solidFill>
          <a:ln w="12700" cap="flat" cmpd="sng">
            <a:solidFill>
              <a:srgbClr val="31538F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1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Warehousing</a:t>
            </a:r>
            <a:endParaRPr/>
          </a:p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1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Environment</a:t>
            </a:r>
            <a:endParaRPr/>
          </a:p>
        </p:txBody>
      </p:sp>
      <p:sp>
        <p:nvSpPr>
          <p:cNvPr id="416" name="Google Shape;416;p1"/>
          <p:cNvSpPr/>
          <p:nvPr/>
        </p:nvSpPr>
        <p:spPr>
          <a:xfrm>
            <a:off x="10605679" y="4086394"/>
            <a:ext cx="1280160" cy="365760"/>
          </a:xfrm>
          <a:prstGeom prst="rect">
            <a:avLst/>
          </a:prstGeom>
          <a:solidFill>
            <a:schemeClr val="accent1"/>
          </a:solidFill>
          <a:ln w="12700" cap="flat" cmpd="sng">
            <a:solidFill>
              <a:srgbClr val="31538F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05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Orchestration</a:t>
            </a:r>
            <a:endParaRPr/>
          </a:p>
        </p:txBody>
      </p:sp>
      <p:sp>
        <p:nvSpPr>
          <p:cNvPr id="417" name="Google Shape;417;p1"/>
          <p:cNvSpPr/>
          <p:nvPr/>
        </p:nvSpPr>
        <p:spPr>
          <a:xfrm>
            <a:off x="10605679" y="2644750"/>
            <a:ext cx="1280160" cy="365760"/>
          </a:xfrm>
          <a:prstGeom prst="rect">
            <a:avLst/>
          </a:prstGeom>
          <a:solidFill>
            <a:schemeClr val="accent1"/>
          </a:solidFill>
          <a:ln w="12700" cap="flat" cmpd="sng">
            <a:solidFill>
              <a:srgbClr val="31538F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05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DS/ML Platforms</a:t>
            </a:r>
            <a:endParaRPr/>
          </a:p>
        </p:txBody>
      </p:sp>
      <p:sp>
        <p:nvSpPr>
          <p:cNvPr id="418" name="Google Shape;418;p1"/>
          <p:cNvSpPr/>
          <p:nvPr/>
        </p:nvSpPr>
        <p:spPr>
          <a:xfrm>
            <a:off x="10605679" y="3365572"/>
            <a:ext cx="1280160" cy="365760"/>
          </a:xfrm>
          <a:prstGeom prst="rect">
            <a:avLst/>
          </a:prstGeom>
          <a:solidFill>
            <a:schemeClr val="accent1"/>
          </a:solidFill>
          <a:ln w="12700" cap="flat" cmpd="sng">
            <a:solidFill>
              <a:srgbClr val="31538F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05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Version Control</a:t>
            </a:r>
            <a:endParaRPr/>
          </a:p>
        </p:txBody>
      </p:sp>
      <p:sp>
        <p:nvSpPr>
          <p:cNvPr id="419" name="Google Shape;419;p1"/>
          <p:cNvSpPr/>
          <p:nvPr/>
        </p:nvSpPr>
        <p:spPr>
          <a:xfrm>
            <a:off x="10605679" y="1923928"/>
            <a:ext cx="1280160" cy="365760"/>
          </a:xfrm>
          <a:prstGeom prst="rect">
            <a:avLst/>
          </a:prstGeom>
          <a:solidFill>
            <a:schemeClr val="accent1"/>
          </a:solidFill>
          <a:ln w="12700" cap="flat" cmpd="sng">
            <a:solidFill>
              <a:srgbClr val="31538F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05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Model Monitoring</a:t>
            </a:r>
            <a:endParaRPr/>
          </a:p>
        </p:txBody>
      </p:sp>
      <p:sp>
        <p:nvSpPr>
          <p:cNvPr id="421" name="Google Shape;421;p1"/>
          <p:cNvSpPr/>
          <p:nvPr/>
        </p:nvSpPr>
        <p:spPr>
          <a:xfrm>
            <a:off x="3163134" y="6004577"/>
            <a:ext cx="1280160" cy="624689"/>
          </a:xfrm>
          <a:prstGeom prst="rect">
            <a:avLst/>
          </a:prstGeom>
          <a:solidFill>
            <a:schemeClr val="accent1"/>
          </a:solidFill>
          <a:ln w="12700" cap="flat" cmpd="sng">
            <a:solidFill>
              <a:srgbClr val="31538F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1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Cloud </a:t>
            </a:r>
            <a:endParaRPr/>
          </a:p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1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Environment</a:t>
            </a:r>
            <a:endParaRPr/>
          </a:p>
        </p:txBody>
      </p:sp>
      <p:sp>
        <p:nvSpPr>
          <p:cNvPr id="7" name="Google Shape;411;p1">
            <a:extLst>
              <a:ext uri="{FF2B5EF4-FFF2-40B4-BE49-F238E27FC236}">
                <a16:creationId xmlns:a16="http://schemas.microsoft.com/office/drawing/2014/main" id="{7133BFED-4148-BCDB-D31C-FC8339581814}"/>
              </a:ext>
            </a:extLst>
          </p:cNvPr>
          <p:cNvSpPr/>
          <p:nvPr/>
        </p:nvSpPr>
        <p:spPr>
          <a:xfrm>
            <a:off x="6277875" y="2953233"/>
            <a:ext cx="1280160" cy="624689"/>
          </a:xfrm>
          <a:prstGeom prst="rect">
            <a:avLst/>
          </a:prstGeom>
          <a:solidFill>
            <a:schemeClr val="accent1"/>
          </a:solidFill>
          <a:ln w="12700" cap="flat" cmpd="sng">
            <a:solidFill>
              <a:srgbClr val="31538F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100" dirty="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Feature Engineering</a:t>
            </a:r>
            <a:endParaRPr dirty="0"/>
          </a:p>
        </p:txBody>
      </p:sp>
      <p:sp>
        <p:nvSpPr>
          <p:cNvPr id="8" name="Google Shape;416;p1">
            <a:extLst>
              <a:ext uri="{FF2B5EF4-FFF2-40B4-BE49-F238E27FC236}">
                <a16:creationId xmlns:a16="http://schemas.microsoft.com/office/drawing/2014/main" id="{0CAB4694-3282-35AC-B632-BCD0B8480B91}"/>
              </a:ext>
            </a:extLst>
          </p:cNvPr>
          <p:cNvSpPr/>
          <p:nvPr/>
        </p:nvSpPr>
        <p:spPr>
          <a:xfrm>
            <a:off x="10605679" y="6190527"/>
            <a:ext cx="1280160" cy="365760"/>
          </a:xfrm>
          <a:prstGeom prst="rect">
            <a:avLst/>
          </a:prstGeom>
          <a:solidFill>
            <a:schemeClr val="accent1"/>
          </a:solidFill>
          <a:ln w="12700" cap="flat" cmpd="sng">
            <a:solidFill>
              <a:srgbClr val="31538F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050" b="0" i="0" u="none" strike="noStrike" cap="none" dirty="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Interfacing</a:t>
            </a:r>
            <a:endParaRPr dirty="0"/>
          </a:p>
        </p:txBody>
      </p:sp>
      <p:sp>
        <p:nvSpPr>
          <p:cNvPr id="16" name="Google Shape;410;p1">
            <a:extLst>
              <a:ext uri="{FF2B5EF4-FFF2-40B4-BE49-F238E27FC236}">
                <a16:creationId xmlns:a16="http://schemas.microsoft.com/office/drawing/2014/main" id="{44557591-22D3-7A85-DB45-CDD3C787F4F8}"/>
              </a:ext>
            </a:extLst>
          </p:cNvPr>
          <p:cNvSpPr/>
          <p:nvPr/>
        </p:nvSpPr>
        <p:spPr>
          <a:xfrm>
            <a:off x="4648330" y="1026887"/>
            <a:ext cx="1280160" cy="624689"/>
          </a:xfrm>
          <a:prstGeom prst="rect">
            <a:avLst/>
          </a:prstGeom>
          <a:solidFill>
            <a:schemeClr val="accent1"/>
          </a:solidFill>
          <a:ln w="12700" cap="flat" cmpd="sng">
            <a:solidFill>
              <a:srgbClr val="31538F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050" b="0" i="0" u="none" strike="noStrike" cap="none" dirty="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Preparation</a:t>
            </a:r>
            <a:endParaRPr dirty="0"/>
          </a:p>
        </p:txBody>
      </p:sp>
      <p:sp>
        <p:nvSpPr>
          <p:cNvPr id="17" name="Google Shape;411;p1">
            <a:extLst>
              <a:ext uri="{FF2B5EF4-FFF2-40B4-BE49-F238E27FC236}">
                <a16:creationId xmlns:a16="http://schemas.microsoft.com/office/drawing/2014/main" id="{8B0E31F8-E750-7D49-CF99-25F977563BCF}"/>
              </a:ext>
            </a:extLst>
          </p:cNvPr>
          <p:cNvSpPr/>
          <p:nvPr/>
        </p:nvSpPr>
        <p:spPr>
          <a:xfrm>
            <a:off x="4648330" y="2379406"/>
            <a:ext cx="1280160" cy="624689"/>
          </a:xfrm>
          <a:prstGeom prst="rect">
            <a:avLst/>
          </a:prstGeom>
          <a:solidFill>
            <a:schemeClr val="accent1"/>
          </a:solidFill>
          <a:ln w="12700" cap="flat" cmpd="sng">
            <a:solidFill>
              <a:srgbClr val="31538F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100" dirty="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Data Quality</a:t>
            </a:r>
            <a:endParaRPr dirty="0"/>
          </a:p>
        </p:txBody>
      </p:sp>
      <p:sp>
        <p:nvSpPr>
          <p:cNvPr id="20" name="Google Shape;411;p1">
            <a:extLst>
              <a:ext uri="{FF2B5EF4-FFF2-40B4-BE49-F238E27FC236}">
                <a16:creationId xmlns:a16="http://schemas.microsoft.com/office/drawing/2014/main" id="{F3BEB6DE-8059-08BE-D87F-E8945D57A258}"/>
              </a:ext>
            </a:extLst>
          </p:cNvPr>
          <p:cNvSpPr/>
          <p:nvPr/>
        </p:nvSpPr>
        <p:spPr>
          <a:xfrm>
            <a:off x="4664856" y="3974254"/>
            <a:ext cx="1280160" cy="538733"/>
          </a:xfrm>
          <a:prstGeom prst="rect">
            <a:avLst/>
          </a:prstGeom>
          <a:solidFill>
            <a:schemeClr val="accent1"/>
          </a:solidFill>
          <a:ln w="12700" cap="flat" cmpd="sng">
            <a:solidFill>
              <a:srgbClr val="31538F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100" dirty="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Data Cleaning</a:t>
            </a:r>
            <a:endParaRPr dirty="0"/>
          </a:p>
        </p:txBody>
      </p:sp>
      <p:sp>
        <p:nvSpPr>
          <p:cNvPr id="21" name="Google Shape;411;p1">
            <a:extLst>
              <a:ext uri="{FF2B5EF4-FFF2-40B4-BE49-F238E27FC236}">
                <a16:creationId xmlns:a16="http://schemas.microsoft.com/office/drawing/2014/main" id="{146D5E4D-33FC-FE8D-FFB1-B643A37CA265}"/>
              </a:ext>
            </a:extLst>
          </p:cNvPr>
          <p:cNvSpPr/>
          <p:nvPr/>
        </p:nvSpPr>
        <p:spPr>
          <a:xfrm>
            <a:off x="4664856" y="5421591"/>
            <a:ext cx="1280160" cy="538733"/>
          </a:xfrm>
          <a:prstGeom prst="rect">
            <a:avLst/>
          </a:prstGeom>
          <a:solidFill>
            <a:schemeClr val="accent1"/>
          </a:solidFill>
          <a:ln w="12700" cap="flat" cmpd="sng">
            <a:solidFill>
              <a:srgbClr val="31538F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100" dirty="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Data Transformation</a:t>
            </a:r>
            <a:endParaRPr dirty="0"/>
          </a:p>
        </p:txBody>
      </p: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6" name="Google Shape;426;p2"/>
          <p:cNvSpPr txBox="1">
            <a:spLocks noGrp="1"/>
          </p:cNvSpPr>
          <p:nvPr>
            <p:ph type="title"/>
          </p:nvPr>
        </p:nvSpPr>
        <p:spPr>
          <a:xfrm>
            <a:off x="531813" y="560588"/>
            <a:ext cx="11089972" cy="4431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3200"/>
              <a:buNone/>
            </a:pPr>
            <a:r>
              <a:rPr lang="en-US" dirty="0"/>
              <a:t>Technologies Infomineo can be handling  </a:t>
            </a:r>
            <a:endParaRPr dirty="0"/>
          </a:p>
        </p:txBody>
      </p:sp>
      <p:sp>
        <p:nvSpPr>
          <p:cNvPr id="427" name="Google Shape;427;p2"/>
          <p:cNvSpPr/>
          <p:nvPr/>
        </p:nvSpPr>
        <p:spPr>
          <a:xfrm>
            <a:off x="4997541" y="4128836"/>
            <a:ext cx="2006175" cy="1933435"/>
          </a:xfrm>
          <a:custGeom>
            <a:avLst/>
            <a:gdLst/>
            <a:ahLst/>
            <a:cxnLst/>
            <a:rect l="l" t="t" r="r" b="b"/>
            <a:pathLst>
              <a:path w="2006175" h="1933435" extrusionOk="0">
                <a:moveTo>
                  <a:pt x="2006054" y="1298911"/>
                </a:moveTo>
                <a:cubicBezTo>
                  <a:pt x="2003736" y="1204378"/>
                  <a:pt x="1980317" y="1115091"/>
                  <a:pt x="1940187" y="1035623"/>
                </a:cubicBezTo>
                <a:cubicBezTo>
                  <a:pt x="1936832" y="1028975"/>
                  <a:pt x="1933355" y="1022389"/>
                  <a:pt x="1929757" y="1015924"/>
                </a:cubicBezTo>
                <a:lnTo>
                  <a:pt x="1930001" y="1015375"/>
                </a:lnTo>
                <a:cubicBezTo>
                  <a:pt x="1925549" y="1010435"/>
                  <a:pt x="1921280" y="1005373"/>
                  <a:pt x="1917072" y="1000311"/>
                </a:cubicBezTo>
                <a:cubicBezTo>
                  <a:pt x="1915974" y="998969"/>
                  <a:pt x="1914876" y="997688"/>
                  <a:pt x="1913778" y="996347"/>
                </a:cubicBezTo>
                <a:cubicBezTo>
                  <a:pt x="1909997" y="991711"/>
                  <a:pt x="1906277" y="987076"/>
                  <a:pt x="1902678" y="982380"/>
                </a:cubicBezTo>
                <a:cubicBezTo>
                  <a:pt x="1902251" y="981831"/>
                  <a:pt x="1901824" y="981343"/>
                  <a:pt x="1901459" y="980794"/>
                </a:cubicBezTo>
                <a:cubicBezTo>
                  <a:pt x="1897495" y="975610"/>
                  <a:pt x="1893713" y="970426"/>
                  <a:pt x="1889932" y="965120"/>
                </a:cubicBezTo>
                <a:cubicBezTo>
                  <a:pt x="1888956" y="963778"/>
                  <a:pt x="1888041" y="962437"/>
                  <a:pt x="1887065" y="961034"/>
                </a:cubicBezTo>
                <a:cubicBezTo>
                  <a:pt x="1883894" y="956521"/>
                  <a:pt x="1880783" y="951947"/>
                  <a:pt x="1877734" y="947312"/>
                </a:cubicBezTo>
                <a:cubicBezTo>
                  <a:pt x="1877124" y="946397"/>
                  <a:pt x="1876514" y="945543"/>
                  <a:pt x="1875965" y="944628"/>
                </a:cubicBezTo>
                <a:cubicBezTo>
                  <a:pt x="1872489" y="939261"/>
                  <a:pt x="1869135" y="933894"/>
                  <a:pt x="1865841" y="928466"/>
                </a:cubicBezTo>
                <a:cubicBezTo>
                  <a:pt x="1865049" y="927124"/>
                  <a:pt x="1864256" y="925783"/>
                  <a:pt x="1863463" y="924441"/>
                </a:cubicBezTo>
                <a:cubicBezTo>
                  <a:pt x="1860718" y="919867"/>
                  <a:pt x="1858096" y="915293"/>
                  <a:pt x="1855534" y="910657"/>
                </a:cubicBezTo>
                <a:cubicBezTo>
                  <a:pt x="1854924" y="909499"/>
                  <a:pt x="1854253" y="908401"/>
                  <a:pt x="1853583" y="907242"/>
                </a:cubicBezTo>
                <a:cubicBezTo>
                  <a:pt x="1850533" y="901692"/>
                  <a:pt x="1847606" y="896142"/>
                  <a:pt x="1844800" y="890531"/>
                </a:cubicBezTo>
                <a:cubicBezTo>
                  <a:pt x="1844130" y="889250"/>
                  <a:pt x="1843519" y="887970"/>
                  <a:pt x="1842910" y="886689"/>
                </a:cubicBezTo>
                <a:cubicBezTo>
                  <a:pt x="1840592" y="881993"/>
                  <a:pt x="1838336" y="877297"/>
                  <a:pt x="1836140" y="872601"/>
                </a:cubicBezTo>
                <a:cubicBezTo>
                  <a:pt x="1835530" y="871259"/>
                  <a:pt x="1834859" y="869917"/>
                  <a:pt x="1834249" y="868575"/>
                </a:cubicBezTo>
                <a:cubicBezTo>
                  <a:pt x="1831688" y="862904"/>
                  <a:pt x="1829187" y="857171"/>
                  <a:pt x="1826748" y="851438"/>
                </a:cubicBezTo>
                <a:cubicBezTo>
                  <a:pt x="1826260" y="850279"/>
                  <a:pt x="1825833" y="849181"/>
                  <a:pt x="1825345" y="848022"/>
                </a:cubicBezTo>
                <a:cubicBezTo>
                  <a:pt x="1823332" y="843143"/>
                  <a:pt x="1821442" y="838264"/>
                  <a:pt x="1819551" y="833324"/>
                </a:cubicBezTo>
                <a:cubicBezTo>
                  <a:pt x="1819002" y="831860"/>
                  <a:pt x="1818453" y="830397"/>
                  <a:pt x="1817904" y="828933"/>
                </a:cubicBezTo>
                <a:cubicBezTo>
                  <a:pt x="1815770" y="823078"/>
                  <a:pt x="1813696" y="817223"/>
                  <a:pt x="1811684" y="811368"/>
                </a:cubicBezTo>
                <a:cubicBezTo>
                  <a:pt x="1811378" y="810514"/>
                  <a:pt x="1811135" y="809599"/>
                  <a:pt x="1810830" y="808746"/>
                </a:cubicBezTo>
                <a:cubicBezTo>
                  <a:pt x="1809122" y="803562"/>
                  <a:pt x="1807536" y="798378"/>
                  <a:pt x="1805951" y="793193"/>
                </a:cubicBezTo>
                <a:cubicBezTo>
                  <a:pt x="1805463" y="791669"/>
                  <a:pt x="1805036" y="790083"/>
                  <a:pt x="1804609" y="788558"/>
                </a:cubicBezTo>
                <a:cubicBezTo>
                  <a:pt x="1802901" y="782581"/>
                  <a:pt x="1801254" y="776605"/>
                  <a:pt x="1799730" y="770628"/>
                </a:cubicBezTo>
                <a:cubicBezTo>
                  <a:pt x="1799608" y="770140"/>
                  <a:pt x="1799486" y="769652"/>
                  <a:pt x="1799364" y="769225"/>
                </a:cubicBezTo>
                <a:cubicBezTo>
                  <a:pt x="1797961" y="763614"/>
                  <a:pt x="1796619" y="758003"/>
                  <a:pt x="1795399" y="752331"/>
                </a:cubicBezTo>
                <a:cubicBezTo>
                  <a:pt x="1795033" y="750745"/>
                  <a:pt x="1794729" y="749160"/>
                  <a:pt x="1794363" y="747574"/>
                </a:cubicBezTo>
                <a:cubicBezTo>
                  <a:pt x="1793143" y="741719"/>
                  <a:pt x="1791923" y="735864"/>
                  <a:pt x="1790886" y="729948"/>
                </a:cubicBezTo>
                <a:cubicBezTo>
                  <a:pt x="1790886" y="729705"/>
                  <a:pt x="1790765" y="729461"/>
                  <a:pt x="1790765" y="729217"/>
                </a:cubicBezTo>
                <a:cubicBezTo>
                  <a:pt x="1790215" y="726228"/>
                  <a:pt x="1789789" y="723301"/>
                  <a:pt x="1789301" y="720312"/>
                </a:cubicBezTo>
                <a:cubicBezTo>
                  <a:pt x="1788813" y="717141"/>
                  <a:pt x="1788325" y="714030"/>
                  <a:pt x="1787837" y="710859"/>
                </a:cubicBezTo>
                <a:cubicBezTo>
                  <a:pt x="1787593" y="709273"/>
                  <a:pt x="1787349" y="707626"/>
                  <a:pt x="1787166" y="706041"/>
                </a:cubicBezTo>
                <a:cubicBezTo>
                  <a:pt x="1786434" y="700613"/>
                  <a:pt x="1785702" y="695185"/>
                  <a:pt x="1785153" y="689696"/>
                </a:cubicBezTo>
                <a:cubicBezTo>
                  <a:pt x="1785092" y="688903"/>
                  <a:pt x="1784971" y="688110"/>
                  <a:pt x="1784910" y="687317"/>
                </a:cubicBezTo>
                <a:cubicBezTo>
                  <a:pt x="1784239" y="681219"/>
                  <a:pt x="1783751" y="675059"/>
                  <a:pt x="1783263" y="668960"/>
                </a:cubicBezTo>
                <a:cubicBezTo>
                  <a:pt x="1783141" y="667374"/>
                  <a:pt x="1783019" y="665849"/>
                  <a:pt x="1782958" y="664264"/>
                </a:cubicBezTo>
                <a:cubicBezTo>
                  <a:pt x="1782592" y="659080"/>
                  <a:pt x="1782348" y="653835"/>
                  <a:pt x="1782104" y="648590"/>
                </a:cubicBezTo>
                <a:cubicBezTo>
                  <a:pt x="1782104" y="647492"/>
                  <a:pt x="1781982" y="646333"/>
                  <a:pt x="1781982" y="645235"/>
                </a:cubicBezTo>
                <a:cubicBezTo>
                  <a:pt x="1781799" y="639136"/>
                  <a:pt x="1781677" y="632977"/>
                  <a:pt x="1781616" y="626878"/>
                </a:cubicBezTo>
                <a:cubicBezTo>
                  <a:pt x="1781616" y="625414"/>
                  <a:pt x="1781616" y="623950"/>
                  <a:pt x="1781616" y="622425"/>
                </a:cubicBezTo>
                <a:cubicBezTo>
                  <a:pt x="1781616" y="617302"/>
                  <a:pt x="1781738" y="612179"/>
                  <a:pt x="1781860" y="607056"/>
                </a:cubicBezTo>
                <a:cubicBezTo>
                  <a:pt x="1781860" y="605715"/>
                  <a:pt x="1781921" y="604373"/>
                  <a:pt x="1781982" y="603031"/>
                </a:cubicBezTo>
                <a:cubicBezTo>
                  <a:pt x="1782226" y="596932"/>
                  <a:pt x="1782531" y="590773"/>
                  <a:pt x="1782958" y="584674"/>
                </a:cubicBezTo>
                <a:cubicBezTo>
                  <a:pt x="1783019" y="583332"/>
                  <a:pt x="1783141" y="582051"/>
                  <a:pt x="1783263" y="580709"/>
                </a:cubicBezTo>
                <a:cubicBezTo>
                  <a:pt x="1783629" y="575586"/>
                  <a:pt x="1784056" y="570463"/>
                  <a:pt x="1784605" y="565401"/>
                </a:cubicBezTo>
                <a:cubicBezTo>
                  <a:pt x="1784726" y="563937"/>
                  <a:pt x="1784910" y="562474"/>
                  <a:pt x="1785032" y="561010"/>
                </a:cubicBezTo>
                <a:cubicBezTo>
                  <a:pt x="1785702" y="554911"/>
                  <a:pt x="1786434" y="548812"/>
                  <a:pt x="1787288" y="542714"/>
                </a:cubicBezTo>
                <a:cubicBezTo>
                  <a:pt x="1787471" y="541616"/>
                  <a:pt x="1787593" y="540518"/>
                  <a:pt x="1787776" y="539359"/>
                </a:cubicBezTo>
                <a:cubicBezTo>
                  <a:pt x="1788508" y="534175"/>
                  <a:pt x="1789362" y="528991"/>
                  <a:pt x="1790215" y="523868"/>
                </a:cubicBezTo>
                <a:cubicBezTo>
                  <a:pt x="1790459" y="522343"/>
                  <a:pt x="1790765" y="520758"/>
                  <a:pt x="1791008" y="519233"/>
                </a:cubicBezTo>
                <a:cubicBezTo>
                  <a:pt x="1792106" y="513195"/>
                  <a:pt x="1793265" y="507096"/>
                  <a:pt x="1794546" y="501058"/>
                </a:cubicBezTo>
                <a:cubicBezTo>
                  <a:pt x="1794729" y="500265"/>
                  <a:pt x="1794912" y="499473"/>
                  <a:pt x="1795094" y="498741"/>
                </a:cubicBezTo>
                <a:cubicBezTo>
                  <a:pt x="1796253" y="493374"/>
                  <a:pt x="1797473" y="488007"/>
                  <a:pt x="1798815" y="482640"/>
                </a:cubicBezTo>
                <a:cubicBezTo>
                  <a:pt x="1799181" y="481054"/>
                  <a:pt x="1799608" y="479468"/>
                  <a:pt x="1799974" y="477944"/>
                </a:cubicBezTo>
                <a:cubicBezTo>
                  <a:pt x="1801498" y="471906"/>
                  <a:pt x="1803084" y="465868"/>
                  <a:pt x="1804792" y="459891"/>
                </a:cubicBezTo>
                <a:cubicBezTo>
                  <a:pt x="1804853" y="459647"/>
                  <a:pt x="1804914" y="459403"/>
                  <a:pt x="1805036" y="459159"/>
                </a:cubicBezTo>
                <a:cubicBezTo>
                  <a:pt x="1806682" y="453365"/>
                  <a:pt x="1808451" y="447632"/>
                  <a:pt x="1810281" y="441960"/>
                </a:cubicBezTo>
                <a:cubicBezTo>
                  <a:pt x="1810769" y="440375"/>
                  <a:pt x="1811318" y="438850"/>
                  <a:pt x="1811805" y="437264"/>
                </a:cubicBezTo>
                <a:cubicBezTo>
                  <a:pt x="1813635" y="431714"/>
                  <a:pt x="1815526" y="426225"/>
                  <a:pt x="1817477" y="420736"/>
                </a:cubicBezTo>
                <a:cubicBezTo>
                  <a:pt x="1817660" y="420309"/>
                  <a:pt x="1817782" y="419882"/>
                  <a:pt x="1817965" y="419456"/>
                </a:cubicBezTo>
                <a:cubicBezTo>
                  <a:pt x="1820100" y="413601"/>
                  <a:pt x="1822357" y="407746"/>
                  <a:pt x="1824674" y="401952"/>
                </a:cubicBezTo>
                <a:cubicBezTo>
                  <a:pt x="1825284" y="400427"/>
                  <a:pt x="1825894" y="398963"/>
                  <a:pt x="1826504" y="397439"/>
                </a:cubicBezTo>
                <a:cubicBezTo>
                  <a:pt x="1828577" y="392377"/>
                  <a:pt x="1830712" y="387376"/>
                  <a:pt x="1832907" y="382375"/>
                </a:cubicBezTo>
                <a:cubicBezTo>
                  <a:pt x="1833212" y="381704"/>
                  <a:pt x="1833457" y="381033"/>
                  <a:pt x="1833761" y="380423"/>
                </a:cubicBezTo>
                <a:cubicBezTo>
                  <a:pt x="1833822" y="380240"/>
                  <a:pt x="1833944" y="380057"/>
                  <a:pt x="1834005" y="379935"/>
                </a:cubicBezTo>
                <a:cubicBezTo>
                  <a:pt x="1837298" y="372616"/>
                  <a:pt x="1840714" y="365359"/>
                  <a:pt x="1844312" y="358162"/>
                </a:cubicBezTo>
                <a:cubicBezTo>
                  <a:pt x="1844800" y="357186"/>
                  <a:pt x="1845288" y="356150"/>
                  <a:pt x="1845776" y="355174"/>
                </a:cubicBezTo>
                <a:cubicBezTo>
                  <a:pt x="1849313" y="348160"/>
                  <a:pt x="1852973" y="341268"/>
                  <a:pt x="1856754" y="334377"/>
                </a:cubicBezTo>
                <a:cubicBezTo>
                  <a:pt x="1857364" y="333218"/>
                  <a:pt x="1858035" y="332120"/>
                  <a:pt x="1858644" y="330961"/>
                </a:cubicBezTo>
                <a:cubicBezTo>
                  <a:pt x="1862487" y="324191"/>
                  <a:pt x="1866451" y="317422"/>
                  <a:pt x="1870537" y="310774"/>
                </a:cubicBezTo>
                <a:cubicBezTo>
                  <a:pt x="1871208" y="309676"/>
                  <a:pt x="1871879" y="308578"/>
                  <a:pt x="1872611" y="307481"/>
                </a:cubicBezTo>
                <a:cubicBezTo>
                  <a:pt x="1876819" y="300772"/>
                  <a:pt x="1881149" y="294063"/>
                  <a:pt x="1885602" y="287476"/>
                </a:cubicBezTo>
                <a:cubicBezTo>
                  <a:pt x="1886211" y="286562"/>
                  <a:pt x="1886822" y="285708"/>
                  <a:pt x="1887431" y="284793"/>
                </a:cubicBezTo>
                <a:cubicBezTo>
                  <a:pt x="1892127" y="277962"/>
                  <a:pt x="1896945" y="271253"/>
                  <a:pt x="1901886" y="264606"/>
                </a:cubicBezTo>
                <a:cubicBezTo>
                  <a:pt x="1902190" y="264179"/>
                  <a:pt x="1902556" y="263752"/>
                  <a:pt x="1902861" y="263325"/>
                </a:cubicBezTo>
                <a:cubicBezTo>
                  <a:pt x="1907923" y="256616"/>
                  <a:pt x="1913168" y="249968"/>
                  <a:pt x="1918535" y="243443"/>
                </a:cubicBezTo>
                <a:cubicBezTo>
                  <a:pt x="1918841" y="243077"/>
                  <a:pt x="1919145" y="242711"/>
                  <a:pt x="1919450" y="242284"/>
                </a:cubicBezTo>
                <a:cubicBezTo>
                  <a:pt x="1924817" y="235819"/>
                  <a:pt x="1930367" y="229476"/>
                  <a:pt x="1935978" y="223194"/>
                </a:cubicBezTo>
                <a:cubicBezTo>
                  <a:pt x="1936710" y="222401"/>
                  <a:pt x="1937442" y="221609"/>
                  <a:pt x="1938113" y="220755"/>
                </a:cubicBezTo>
                <a:cubicBezTo>
                  <a:pt x="1942626" y="215815"/>
                  <a:pt x="1947261" y="210875"/>
                  <a:pt x="1951957" y="206057"/>
                </a:cubicBezTo>
                <a:cubicBezTo>
                  <a:pt x="1951591" y="206422"/>
                  <a:pt x="1951225" y="206788"/>
                  <a:pt x="1950798" y="207154"/>
                </a:cubicBezTo>
                <a:lnTo>
                  <a:pt x="1942199" y="207459"/>
                </a:lnTo>
                <a:lnTo>
                  <a:pt x="594352" y="207459"/>
                </a:lnTo>
                <a:lnTo>
                  <a:pt x="594352" y="98"/>
                </a:lnTo>
                <a:lnTo>
                  <a:pt x="219272" y="98"/>
                </a:lnTo>
                <a:cubicBezTo>
                  <a:pt x="119007" y="-2158"/>
                  <a:pt x="63507" y="34740"/>
                  <a:pt x="33440" y="82433"/>
                </a:cubicBezTo>
                <a:cubicBezTo>
                  <a:pt x="33074" y="83043"/>
                  <a:pt x="32708" y="83652"/>
                  <a:pt x="32281" y="84262"/>
                </a:cubicBezTo>
                <a:cubicBezTo>
                  <a:pt x="-18400" y="166902"/>
                  <a:pt x="5751" y="280646"/>
                  <a:pt x="5751" y="280646"/>
                </a:cubicBezTo>
                <a:lnTo>
                  <a:pt x="5751" y="1927337"/>
                </a:lnTo>
                <a:cubicBezTo>
                  <a:pt x="5751" y="1927337"/>
                  <a:pt x="5629" y="1933314"/>
                  <a:pt x="5629" y="1933436"/>
                </a:cubicBezTo>
                <a:lnTo>
                  <a:pt x="1387142" y="1933436"/>
                </a:lnTo>
                <a:cubicBezTo>
                  <a:pt x="1729044" y="1933436"/>
                  <a:pt x="2006176" y="1656304"/>
                  <a:pt x="2006176" y="1314402"/>
                </a:cubicBezTo>
                <a:cubicBezTo>
                  <a:pt x="2006176" y="1309279"/>
                  <a:pt x="2006054" y="1304217"/>
                  <a:pt x="2005932" y="1299155"/>
                </a:cubicBezTo>
                <a:close/>
              </a:path>
            </a:pathLst>
          </a:custGeom>
          <a:solidFill>
            <a:schemeClr val="accent6">
              <a:lumMod val="75000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28" name="Google Shape;428;p2"/>
          <p:cNvSpPr/>
          <p:nvPr/>
        </p:nvSpPr>
        <p:spPr>
          <a:xfrm>
            <a:off x="6831730" y="4997350"/>
            <a:ext cx="1890" cy="4025"/>
          </a:xfrm>
          <a:custGeom>
            <a:avLst/>
            <a:gdLst/>
            <a:ahLst/>
            <a:cxnLst/>
            <a:rect l="l" t="t" r="r" b="b"/>
            <a:pathLst>
              <a:path w="1890" h="4025" extrusionOk="0">
                <a:moveTo>
                  <a:pt x="0" y="0"/>
                </a:moveTo>
                <a:cubicBezTo>
                  <a:pt x="610" y="1342"/>
                  <a:pt x="1219" y="2684"/>
                  <a:pt x="1891" y="4025"/>
                </a:cubicBezTo>
                <a:cubicBezTo>
                  <a:pt x="1281" y="2684"/>
                  <a:pt x="610" y="1342"/>
                  <a:pt x="0" y="0"/>
                </a:cubicBezTo>
                <a:close/>
              </a:path>
            </a:pathLst>
          </a:custGeom>
          <a:solidFill>
            <a:srgbClr val="00B9FF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29" name="Google Shape;429;p2"/>
          <p:cNvSpPr/>
          <p:nvPr/>
        </p:nvSpPr>
        <p:spPr>
          <a:xfrm>
            <a:off x="6808371" y="4937520"/>
            <a:ext cx="853" cy="2622"/>
          </a:xfrm>
          <a:custGeom>
            <a:avLst/>
            <a:gdLst/>
            <a:ahLst/>
            <a:cxnLst/>
            <a:rect l="l" t="t" r="r" b="b"/>
            <a:pathLst>
              <a:path w="853" h="2622" extrusionOk="0">
                <a:moveTo>
                  <a:pt x="0" y="0"/>
                </a:moveTo>
                <a:cubicBezTo>
                  <a:pt x="305" y="854"/>
                  <a:pt x="549" y="1769"/>
                  <a:pt x="854" y="2622"/>
                </a:cubicBezTo>
                <a:cubicBezTo>
                  <a:pt x="549" y="1769"/>
                  <a:pt x="305" y="854"/>
                  <a:pt x="0" y="0"/>
                </a:cubicBezTo>
                <a:close/>
              </a:path>
            </a:pathLst>
          </a:custGeom>
          <a:solidFill>
            <a:srgbClr val="00B9FF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30" name="Google Shape;430;p2"/>
          <p:cNvSpPr/>
          <p:nvPr/>
        </p:nvSpPr>
        <p:spPr>
          <a:xfrm>
            <a:off x="6802150" y="4917272"/>
            <a:ext cx="1341" cy="4635"/>
          </a:xfrm>
          <a:custGeom>
            <a:avLst/>
            <a:gdLst/>
            <a:ahLst/>
            <a:cxnLst/>
            <a:rect l="l" t="t" r="r" b="b"/>
            <a:pathLst>
              <a:path w="1341" h="4635" extrusionOk="0">
                <a:moveTo>
                  <a:pt x="0" y="0"/>
                </a:moveTo>
                <a:cubicBezTo>
                  <a:pt x="427" y="1525"/>
                  <a:pt x="915" y="3110"/>
                  <a:pt x="1342" y="4635"/>
                </a:cubicBezTo>
                <a:cubicBezTo>
                  <a:pt x="854" y="3110"/>
                  <a:pt x="427" y="1525"/>
                  <a:pt x="0" y="0"/>
                </a:cubicBezTo>
                <a:close/>
              </a:path>
            </a:pathLst>
          </a:custGeom>
          <a:solidFill>
            <a:srgbClr val="00B9FF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31" name="Google Shape;431;p2"/>
          <p:cNvSpPr/>
          <p:nvPr/>
        </p:nvSpPr>
        <p:spPr>
          <a:xfrm>
            <a:off x="6815446" y="4957707"/>
            <a:ext cx="1646" cy="4391"/>
          </a:xfrm>
          <a:custGeom>
            <a:avLst/>
            <a:gdLst/>
            <a:ahLst/>
            <a:cxnLst/>
            <a:rect l="l" t="t" r="r" b="b"/>
            <a:pathLst>
              <a:path w="1646" h="4391" extrusionOk="0">
                <a:moveTo>
                  <a:pt x="0" y="0"/>
                </a:moveTo>
                <a:cubicBezTo>
                  <a:pt x="549" y="1464"/>
                  <a:pt x="1098" y="2928"/>
                  <a:pt x="1647" y="4391"/>
                </a:cubicBezTo>
                <a:cubicBezTo>
                  <a:pt x="1098" y="2928"/>
                  <a:pt x="549" y="1464"/>
                  <a:pt x="0" y="0"/>
                </a:cubicBezTo>
                <a:close/>
              </a:path>
            </a:pathLst>
          </a:custGeom>
          <a:solidFill>
            <a:srgbClr val="00B9FF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32" name="Google Shape;432;p2"/>
          <p:cNvSpPr/>
          <p:nvPr/>
        </p:nvSpPr>
        <p:spPr>
          <a:xfrm>
            <a:off x="6822886" y="4976797"/>
            <a:ext cx="1402" cy="3415"/>
          </a:xfrm>
          <a:custGeom>
            <a:avLst/>
            <a:gdLst/>
            <a:ahLst/>
            <a:cxnLst/>
            <a:rect l="l" t="t" r="r" b="b"/>
            <a:pathLst>
              <a:path w="1402" h="3415" extrusionOk="0">
                <a:moveTo>
                  <a:pt x="0" y="0"/>
                </a:moveTo>
                <a:cubicBezTo>
                  <a:pt x="488" y="1159"/>
                  <a:pt x="915" y="2257"/>
                  <a:pt x="1403" y="3415"/>
                </a:cubicBezTo>
                <a:cubicBezTo>
                  <a:pt x="915" y="2257"/>
                  <a:pt x="488" y="1159"/>
                  <a:pt x="0" y="0"/>
                </a:cubicBezTo>
                <a:close/>
              </a:path>
            </a:pathLst>
          </a:custGeom>
          <a:solidFill>
            <a:srgbClr val="00B9FF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33" name="Google Shape;433;p2"/>
          <p:cNvSpPr/>
          <p:nvPr/>
        </p:nvSpPr>
        <p:spPr>
          <a:xfrm rot="-5385600">
            <a:off x="4800439" y="5216302"/>
            <a:ext cx="403256" cy="3049"/>
          </a:xfrm>
          <a:custGeom>
            <a:avLst/>
            <a:gdLst/>
            <a:ahLst/>
            <a:cxnLst/>
            <a:rect l="l" t="t" r="r" b="b"/>
            <a:pathLst>
              <a:path w="403256" h="3049" extrusionOk="0">
                <a:moveTo>
                  <a:pt x="0" y="0"/>
                </a:moveTo>
                <a:lnTo>
                  <a:pt x="403256" y="0"/>
                </a:lnTo>
                <a:lnTo>
                  <a:pt x="403256" y="3049"/>
                </a:lnTo>
                <a:lnTo>
                  <a:pt x="0" y="3049"/>
                </a:lnTo>
                <a:close/>
              </a:path>
            </a:pathLst>
          </a:custGeom>
          <a:solidFill>
            <a:srgbClr val="00B9FF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34" name="Google Shape;434;p2"/>
          <p:cNvSpPr/>
          <p:nvPr/>
        </p:nvSpPr>
        <p:spPr>
          <a:xfrm>
            <a:off x="6791904" y="4876227"/>
            <a:ext cx="1036" cy="4757"/>
          </a:xfrm>
          <a:custGeom>
            <a:avLst/>
            <a:gdLst/>
            <a:ahLst/>
            <a:cxnLst/>
            <a:rect l="l" t="t" r="r" b="b"/>
            <a:pathLst>
              <a:path w="1036" h="4757" extrusionOk="0">
                <a:moveTo>
                  <a:pt x="0" y="0"/>
                </a:moveTo>
                <a:cubicBezTo>
                  <a:pt x="366" y="1586"/>
                  <a:pt x="671" y="3171"/>
                  <a:pt x="1037" y="4757"/>
                </a:cubicBezTo>
                <a:cubicBezTo>
                  <a:pt x="671" y="3171"/>
                  <a:pt x="366" y="1586"/>
                  <a:pt x="0" y="0"/>
                </a:cubicBezTo>
                <a:close/>
              </a:path>
            </a:pathLst>
          </a:custGeom>
          <a:solidFill>
            <a:srgbClr val="00B9FF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35" name="Google Shape;435;p2"/>
          <p:cNvSpPr/>
          <p:nvPr/>
        </p:nvSpPr>
        <p:spPr>
          <a:xfrm>
            <a:off x="6796905" y="4897878"/>
            <a:ext cx="365" cy="1402"/>
          </a:xfrm>
          <a:custGeom>
            <a:avLst/>
            <a:gdLst/>
            <a:ahLst/>
            <a:cxnLst/>
            <a:rect l="l" t="t" r="r" b="b"/>
            <a:pathLst>
              <a:path w="365" h="1402" extrusionOk="0">
                <a:moveTo>
                  <a:pt x="0" y="0"/>
                </a:moveTo>
                <a:cubicBezTo>
                  <a:pt x="122" y="488"/>
                  <a:pt x="244" y="976"/>
                  <a:pt x="366" y="1403"/>
                </a:cubicBezTo>
                <a:cubicBezTo>
                  <a:pt x="244" y="915"/>
                  <a:pt x="122" y="427"/>
                  <a:pt x="0" y="0"/>
                </a:cubicBezTo>
                <a:close/>
              </a:path>
            </a:pathLst>
          </a:custGeom>
          <a:solidFill>
            <a:srgbClr val="00B9FF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36" name="Google Shape;436;p2"/>
          <p:cNvSpPr/>
          <p:nvPr/>
        </p:nvSpPr>
        <p:spPr>
          <a:xfrm>
            <a:off x="6788306" y="4857869"/>
            <a:ext cx="121" cy="731"/>
          </a:xfrm>
          <a:custGeom>
            <a:avLst/>
            <a:gdLst/>
            <a:ahLst/>
            <a:cxnLst/>
            <a:rect l="l" t="t" r="r" b="b"/>
            <a:pathLst>
              <a:path w="121" h="731" extrusionOk="0">
                <a:moveTo>
                  <a:pt x="0" y="0"/>
                </a:moveTo>
                <a:cubicBezTo>
                  <a:pt x="0" y="0"/>
                  <a:pt x="122" y="488"/>
                  <a:pt x="122" y="732"/>
                </a:cubicBezTo>
                <a:cubicBezTo>
                  <a:pt x="122" y="488"/>
                  <a:pt x="0" y="244"/>
                  <a:pt x="0" y="0"/>
                </a:cubicBezTo>
                <a:close/>
              </a:path>
            </a:pathLst>
          </a:custGeom>
          <a:solidFill>
            <a:srgbClr val="00B9FF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37" name="Google Shape;437;p2"/>
          <p:cNvSpPr/>
          <p:nvPr/>
        </p:nvSpPr>
        <p:spPr>
          <a:xfrm>
            <a:off x="5000365" y="5419330"/>
            <a:ext cx="3049" cy="642697"/>
          </a:xfrm>
          <a:custGeom>
            <a:avLst/>
            <a:gdLst/>
            <a:ahLst/>
            <a:cxnLst/>
            <a:rect l="l" t="t" r="r" b="b"/>
            <a:pathLst>
              <a:path w="3049" h="642697" extrusionOk="0">
                <a:moveTo>
                  <a:pt x="0" y="642698"/>
                </a:moveTo>
                <a:lnTo>
                  <a:pt x="2927" y="642698"/>
                </a:lnTo>
                <a:cubicBezTo>
                  <a:pt x="2927" y="642698"/>
                  <a:pt x="3049" y="636599"/>
                  <a:pt x="3049" y="636599"/>
                </a:cubicBezTo>
                <a:lnTo>
                  <a:pt x="3049" y="0"/>
                </a:lnTo>
                <a:lnTo>
                  <a:pt x="0" y="0"/>
                </a:lnTo>
                <a:cubicBezTo>
                  <a:pt x="0" y="0"/>
                  <a:pt x="0" y="642698"/>
                  <a:pt x="0" y="642698"/>
                </a:cubicBezTo>
                <a:close/>
              </a:path>
            </a:pathLst>
          </a:custGeom>
          <a:solidFill>
            <a:srgbClr val="00B9FF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38" name="Google Shape;438;p2"/>
          <p:cNvSpPr/>
          <p:nvPr/>
        </p:nvSpPr>
        <p:spPr>
          <a:xfrm>
            <a:off x="6841732" y="4483704"/>
            <a:ext cx="1464" cy="2988"/>
          </a:xfrm>
          <a:custGeom>
            <a:avLst/>
            <a:gdLst/>
            <a:ahLst/>
            <a:cxnLst/>
            <a:rect l="l" t="t" r="r" b="b"/>
            <a:pathLst>
              <a:path w="1464" h="2988" extrusionOk="0">
                <a:moveTo>
                  <a:pt x="1464" y="0"/>
                </a:moveTo>
                <a:cubicBezTo>
                  <a:pt x="976" y="976"/>
                  <a:pt x="488" y="2013"/>
                  <a:pt x="0" y="2989"/>
                </a:cubicBezTo>
                <a:cubicBezTo>
                  <a:pt x="488" y="2013"/>
                  <a:pt x="976" y="976"/>
                  <a:pt x="1464" y="0"/>
                </a:cubicBezTo>
                <a:close/>
              </a:path>
            </a:pathLst>
          </a:custGeom>
          <a:solidFill>
            <a:srgbClr val="00B9FF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39" name="Google Shape;439;p2"/>
          <p:cNvSpPr/>
          <p:nvPr/>
        </p:nvSpPr>
        <p:spPr>
          <a:xfrm>
            <a:off x="6780377" y="4709484"/>
            <a:ext cx="305" cy="3964"/>
          </a:xfrm>
          <a:custGeom>
            <a:avLst/>
            <a:gdLst/>
            <a:ahLst/>
            <a:cxnLst/>
            <a:rect l="l" t="t" r="r" b="b"/>
            <a:pathLst>
              <a:path w="305" h="3964" extrusionOk="0">
                <a:moveTo>
                  <a:pt x="305" y="0"/>
                </a:moveTo>
                <a:cubicBezTo>
                  <a:pt x="183" y="1342"/>
                  <a:pt x="122" y="2622"/>
                  <a:pt x="0" y="3964"/>
                </a:cubicBezTo>
                <a:cubicBezTo>
                  <a:pt x="61" y="2622"/>
                  <a:pt x="183" y="1342"/>
                  <a:pt x="305" y="0"/>
                </a:cubicBezTo>
                <a:close/>
              </a:path>
            </a:pathLst>
          </a:custGeom>
          <a:solidFill>
            <a:srgbClr val="00B9FF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40" name="Google Shape;440;p2"/>
          <p:cNvSpPr/>
          <p:nvPr/>
        </p:nvSpPr>
        <p:spPr>
          <a:xfrm>
            <a:off x="8410519" y="4689667"/>
            <a:ext cx="914" cy="1158"/>
          </a:xfrm>
          <a:custGeom>
            <a:avLst/>
            <a:gdLst/>
            <a:ahLst/>
            <a:cxnLst/>
            <a:rect l="l" t="t" r="r" b="b"/>
            <a:pathLst>
              <a:path w="914" h="1158" extrusionOk="0">
                <a:moveTo>
                  <a:pt x="915" y="0"/>
                </a:moveTo>
                <a:cubicBezTo>
                  <a:pt x="610" y="366"/>
                  <a:pt x="305" y="732"/>
                  <a:pt x="0" y="1159"/>
                </a:cubicBezTo>
                <a:cubicBezTo>
                  <a:pt x="305" y="793"/>
                  <a:pt x="610" y="427"/>
                  <a:pt x="915" y="0"/>
                </a:cubicBezTo>
                <a:close/>
              </a:path>
            </a:pathLst>
          </a:custGeom>
          <a:solidFill>
            <a:srgbClr val="00B9FF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41" name="Google Shape;441;p2"/>
          <p:cNvSpPr/>
          <p:nvPr/>
        </p:nvSpPr>
        <p:spPr>
          <a:xfrm>
            <a:off x="8427962" y="4668139"/>
            <a:ext cx="2134" cy="2439"/>
          </a:xfrm>
          <a:custGeom>
            <a:avLst/>
            <a:gdLst/>
            <a:ahLst/>
            <a:cxnLst/>
            <a:rect l="l" t="t" r="r" b="b"/>
            <a:pathLst>
              <a:path w="2134" h="2439" extrusionOk="0">
                <a:moveTo>
                  <a:pt x="2134" y="0"/>
                </a:moveTo>
                <a:cubicBezTo>
                  <a:pt x="1403" y="793"/>
                  <a:pt x="671" y="1586"/>
                  <a:pt x="0" y="2440"/>
                </a:cubicBezTo>
                <a:cubicBezTo>
                  <a:pt x="732" y="1647"/>
                  <a:pt x="1464" y="854"/>
                  <a:pt x="2134" y="0"/>
                </a:cubicBezTo>
                <a:close/>
              </a:path>
            </a:pathLst>
          </a:custGeom>
          <a:solidFill>
            <a:srgbClr val="00B9FF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42" name="Google Shape;442;p2"/>
          <p:cNvSpPr/>
          <p:nvPr/>
        </p:nvSpPr>
        <p:spPr>
          <a:xfrm>
            <a:off x="6796173" y="4606657"/>
            <a:ext cx="1158" cy="4696"/>
          </a:xfrm>
          <a:custGeom>
            <a:avLst/>
            <a:gdLst/>
            <a:ahLst/>
            <a:cxnLst/>
            <a:rect l="l" t="t" r="r" b="b"/>
            <a:pathLst>
              <a:path w="1158" h="4696" extrusionOk="0">
                <a:moveTo>
                  <a:pt x="1159" y="0"/>
                </a:moveTo>
                <a:cubicBezTo>
                  <a:pt x="732" y="1586"/>
                  <a:pt x="366" y="3172"/>
                  <a:pt x="0" y="4696"/>
                </a:cubicBezTo>
                <a:cubicBezTo>
                  <a:pt x="366" y="3110"/>
                  <a:pt x="793" y="1525"/>
                  <a:pt x="1159" y="0"/>
                </a:cubicBezTo>
                <a:close/>
              </a:path>
            </a:pathLst>
          </a:custGeom>
          <a:solidFill>
            <a:srgbClr val="00B9FF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43" name="Google Shape;443;p2"/>
          <p:cNvSpPr/>
          <p:nvPr/>
        </p:nvSpPr>
        <p:spPr>
          <a:xfrm>
            <a:off x="6962367" y="4318181"/>
            <a:ext cx="3781" cy="3598"/>
          </a:xfrm>
          <a:custGeom>
            <a:avLst/>
            <a:gdLst/>
            <a:ahLst/>
            <a:cxnLst/>
            <a:rect l="l" t="t" r="r" b="b"/>
            <a:pathLst>
              <a:path w="3781" h="3598" extrusionOk="0">
                <a:moveTo>
                  <a:pt x="3781" y="0"/>
                </a:moveTo>
                <a:cubicBezTo>
                  <a:pt x="2500" y="1220"/>
                  <a:pt x="1281" y="2440"/>
                  <a:pt x="0" y="3598"/>
                </a:cubicBezTo>
                <a:cubicBezTo>
                  <a:pt x="1281" y="2378"/>
                  <a:pt x="2500" y="1159"/>
                  <a:pt x="3781" y="0"/>
                </a:cubicBezTo>
                <a:close/>
              </a:path>
            </a:pathLst>
          </a:custGeom>
          <a:solidFill>
            <a:srgbClr val="00B9FF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44" name="Google Shape;444;p2"/>
          <p:cNvSpPr/>
          <p:nvPr/>
        </p:nvSpPr>
        <p:spPr>
          <a:xfrm>
            <a:off x="6791904" y="4627454"/>
            <a:ext cx="549" cy="2317"/>
          </a:xfrm>
          <a:custGeom>
            <a:avLst/>
            <a:gdLst/>
            <a:ahLst/>
            <a:cxnLst/>
            <a:rect l="l" t="t" r="r" b="b"/>
            <a:pathLst>
              <a:path w="549" h="2317" extrusionOk="0">
                <a:moveTo>
                  <a:pt x="549" y="0"/>
                </a:moveTo>
                <a:cubicBezTo>
                  <a:pt x="366" y="793"/>
                  <a:pt x="183" y="1586"/>
                  <a:pt x="0" y="2318"/>
                </a:cubicBezTo>
                <a:cubicBezTo>
                  <a:pt x="183" y="1525"/>
                  <a:pt x="366" y="732"/>
                  <a:pt x="549" y="0"/>
                </a:cubicBezTo>
                <a:close/>
              </a:path>
            </a:pathLst>
          </a:custGeom>
          <a:solidFill>
            <a:srgbClr val="00B9FF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45" name="Google Shape;445;p2"/>
          <p:cNvSpPr/>
          <p:nvPr/>
        </p:nvSpPr>
        <p:spPr>
          <a:xfrm>
            <a:off x="6802150" y="4587873"/>
            <a:ext cx="244" cy="731"/>
          </a:xfrm>
          <a:custGeom>
            <a:avLst/>
            <a:gdLst/>
            <a:ahLst/>
            <a:cxnLst/>
            <a:rect l="l" t="t" r="r" b="b"/>
            <a:pathLst>
              <a:path w="244" h="731" extrusionOk="0">
                <a:moveTo>
                  <a:pt x="244" y="0"/>
                </a:moveTo>
                <a:cubicBezTo>
                  <a:pt x="244" y="0"/>
                  <a:pt x="122" y="488"/>
                  <a:pt x="0" y="732"/>
                </a:cubicBezTo>
                <a:cubicBezTo>
                  <a:pt x="61" y="488"/>
                  <a:pt x="122" y="244"/>
                  <a:pt x="244" y="0"/>
                </a:cubicBezTo>
                <a:close/>
              </a:path>
            </a:pathLst>
          </a:custGeom>
          <a:solidFill>
            <a:srgbClr val="00B9FF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46" name="Google Shape;446;p2"/>
          <p:cNvSpPr/>
          <p:nvPr/>
        </p:nvSpPr>
        <p:spPr>
          <a:xfrm>
            <a:off x="6814836" y="4548047"/>
            <a:ext cx="488" cy="1280"/>
          </a:xfrm>
          <a:custGeom>
            <a:avLst/>
            <a:gdLst/>
            <a:ahLst/>
            <a:cxnLst/>
            <a:rect l="l" t="t" r="r" b="b"/>
            <a:pathLst>
              <a:path w="488" h="1280" extrusionOk="0">
                <a:moveTo>
                  <a:pt x="488" y="0"/>
                </a:moveTo>
                <a:cubicBezTo>
                  <a:pt x="305" y="427"/>
                  <a:pt x="183" y="854"/>
                  <a:pt x="0" y="1281"/>
                </a:cubicBezTo>
                <a:cubicBezTo>
                  <a:pt x="183" y="854"/>
                  <a:pt x="305" y="427"/>
                  <a:pt x="488" y="0"/>
                </a:cubicBezTo>
                <a:close/>
              </a:path>
            </a:pathLst>
          </a:custGeom>
          <a:solidFill>
            <a:srgbClr val="00B9FF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47" name="Google Shape;447;p2"/>
          <p:cNvSpPr/>
          <p:nvPr/>
        </p:nvSpPr>
        <p:spPr>
          <a:xfrm>
            <a:off x="6779340" y="4731806"/>
            <a:ext cx="122" cy="4025"/>
          </a:xfrm>
          <a:custGeom>
            <a:avLst/>
            <a:gdLst/>
            <a:ahLst/>
            <a:cxnLst/>
            <a:rect l="l" t="t" r="r" b="b"/>
            <a:pathLst>
              <a:path w="122" h="4025" extrusionOk="0">
                <a:moveTo>
                  <a:pt x="122" y="0"/>
                </a:moveTo>
                <a:cubicBezTo>
                  <a:pt x="122" y="1342"/>
                  <a:pt x="61" y="2683"/>
                  <a:pt x="0" y="4025"/>
                </a:cubicBezTo>
                <a:cubicBezTo>
                  <a:pt x="0" y="2683"/>
                  <a:pt x="61" y="1342"/>
                  <a:pt x="122" y="0"/>
                </a:cubicBezTo>
                <a:close/>
              </a:path>
            </a:pathLst>
          </a:custGeom>
          <a:solidFill>
            <a:srgbClr val="00B9FF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48" name="Google Shape;448;p2"/>
          <p:cNvSpPr/>
          <p:nvPr/>
        </p:nvSpPr>
        <p:spPr>
          <a:xfrm>
            <a:off x="8393808" y="4710648"/>
            <a:ext cx="976" cy="1280"/>
          </a:xfrm>
          <a:custGeom>
            <a:avLst/>
            <a:gdLst/>
            <a:ahLst/>
            <a:cxnLst/>
            <a:rect l="l" t="t" r="r" b="b"/>
            <a:pathLst>
              <a:path w="976" h="1280" extrusionOk="0">
                <a:moveTo>
                  <a:pt x="976" y="0"/>
                </a:moveTo>
                <a:cubicBezTo>
                  <a:pt x="671" y="427"/>
                  <a:pt x="305" y="854"/>
                  <a:pt x="0" y="1281"/>
                </a:cubicBezTo>
                <a:cubicBezTo>
                  <a:pt x="305" y="854"/>
                  <a:pt x="671" y="427"/>
                  <a:pt x="976" y="0"/>
                </a:cubicBezTo>
                <a:close/>
              </a:path>
            </a:pathLst>
          </a:custGeom>
          <a:solidFill>
            <a:srgbClr val="00B9FF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49" name="Google Shape;449;p2"/>
          <p:cNvSpPr/>
          <p:nvPr/>
        </p:nvSpPr>
        <p:spPr>
          <a:xfrm>
            <a:off x="6782024" y="4689724"/>
            <a:ext cx="426" cy="4391"/>
          </a:xfrm>
          <a:custGeom>
            <a:avLst/>
            <a:gdLst/>
            <a:ahLst/>
            <a:cxnLst/>
            <a:rect l="l" t="t" r="r" b="b"/>
            <a:pathLst>
              <a:path w="426" h="4391" extrusionOk="0">
                <a:moveTo>
                  <a:pt x="427" y="0"/>
                </a:moveTo>
                <a:cubicBezTo>
                  <a:pt x="244" y="1464"/>
                  <a:pt x="122" y="2928"/>
                  <a:pt x="0" y="4391"/>
                </a:cubicBezTo>
                <a:cubicBezTo>
                  <a:pt x="122" y="2928"/>
                  <a:pt x="305" y="1464"/>
                  <a:pt x="427" y="0"/>
                </a:cubicBezTo>
                <a:close/>
              </a:path>
            </a:pathLst>
          </a:custGeom>
          <a:solidFill>
            <a:srgbClr val="00B9FF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50" name="Google Shape;450;p2"/>
          <p:cNvSpPr/>
          <p:nvPr/>
        </p:nvSpPr>
        <p:spPr>
          <a:xfrm>
            <a:off x="6782329" y="4816031"/>
            <a:ext cx="244" cy="2378"/>
          </a:xfrm>
          <a:custGeom>
            <a:avLst/>
            <a:gdLst/>
            <a:ahLst/>
            <a:cxnLst/>
            <a:rect l="l" t="t" r="r" b="b"/>
            <a:pathLst>
              <a:path w="244" h="2378" extrusionOk="0">
                <a:moveTo>
                  <a:pt x="0" y="0"/>
                </a:moveTo>
                <a:cubicBezTo>
                  <a:pt x="61" y="793"/>
                  <a:pt x="183" y="1586"/>
                  <a:pt x="244" y="2378"/>
                </a:cubicBezTo>
                <a:cubicBezTo>
                  <a:pt x="183" y="1586"/>
                  <a:pt x="61" y="793"/>
                  <a:pt x="0" y="0"/>
                </a:cubicBezTo>
                <a:close/>
              </a:path>
            </a:pathLst>
          </a:custGeom>
          <a:solidFill>
            <a:srgbClr val="00B9FF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51" name="Google Shape;451;p2"/>
          <p:cNvSpPr/>
          <p:nvPr/>
        </p:nvSpPr>
        <p:spPr>
          <a:xfrm>
            <a:off x="6780377" y="4792977"/>
            <a:ext cx="305" cy="4696"/>
          </a:xfrm>
          <a:custGeom>
            <a:avLst/>
            <a:gdLst/>
            <a:ahLst/>
            <a:cxnLst/>
            <a:rect l="l" t="t" r="r" b="b"/>
            <a:pathLst>
              <a:path w="305" h="4696" extrusionOk="0">
                <a:moveTo>
                  <a:pt x="0" y="0"/>
                </a:moveTo>
                <a:cubicBezTo>
                  <a:pt x="122" y="1586"/>
                  <a:pt x="183" y="3110"/>
                  <a:pt x="305" y="4696"/>
                </a:cubicBezTo>
                <a:cubicBezTo>
                  <a:pt x="183" y="3110"/>
                  <a:pt x="61" y="1586"/>
                  <a:pt x="0" y="0"/>
                </a:cubicBezTo>
                <a:close/>
              </a:path>
            </a:pathLst>
          </a:custGeom>
          <a:solidFill>
            <a:srgbClr val="00B9FF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52" name="Google Shape;452;p2"/>
          <p:cNvSpPr/>
          <p:nvPr/>
        </p:nvSpPr>
        <p:spPr>
          <a:xfrm>
            <a:off x="6854173" y="4459492"/>
            <a:ext cx="1890" cy="3415"/>
          </a:xfrm>
          <a:custGeom>
            <a:avLst/>
            <a:gdLst/>
            <a:ahLst/>
            <a:cxnLst/>
            <a:rect l="l" t="t" r="r" b="b"/>
            <a:pathLst>
              <a:path w="1890" h="3415" extrusionOk="0">
                <a:moveTo>
                  <a:pt x="1891" y="0"/>
                </a:moveTo>
                <a:cubicBezTo>
                  <a:pt x="1281" y="1159"/>
                  <a:pt x="610" y="2257"/>
                  <a:pt x="0" y="3415"/>
                </a:cubicBezTo>
                <a:cubicBezTo>
                  <a:pt x="610" y="2257"/>
                  <a:pt x="1281" y="1159"/>
                  <a:pt x="1891" y="0"/>
                </a:cubicBezTo>
                <a:close/>
              </a:path>
            </a:pathLst>
          </a:custGeom>
          <a:solidFill>
            <a:srgbClr val="00B9FF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53" name="Google Shape;453;p2"/>
          <p:cNvSpPr/>
          <p:nvPr/>
        </p:nvSpPr>
        <p:spPr>
          <a:xfrm>
            <a:off x="6867957" y="4435950"/>
            <a:ext cx="2073" cy="3293"/>
          </a:xfrm>
          <a:custGeom>
            <a:avLst/>
            <a:gdLst/>
            <a:ahLst/>
            <a:cxnLst/>
            <a:rect l="l" t="t" r="r" b="b"/>
            <a:pathLst>
              <a:path w="2073" h="3293" extrusionOk="0">
                <a:moveTo>
                  <a:pt x="2073" y="0"/>
                </a:moveTo>
                <a:cubicBezTo>
                  <a:pt x="1403" y="1098"/>
                  <a:pt x="671" y="2195"/>
                  <a:pt x="0" y="3293"/>
                </a:cubicBezTo>
                <a:cubicBezTo>
                  <a:pt x="671" y="2195"/>
                  <a:pt x="1342" y="1098"/>
                  <a:pt x="2073" y="0"/>
                </a:cubicBezTo>
                <a:close/>
              </a:path>
            </a:pathLst>
          </a:custGeom>
          <a:solidFill>
            <a:srgbClr val="00B9FF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54" name="Google Shape;454;p2"/>
          <p:cNvSpPr/>
          <p:nvPr/>
        </p:nvSpPr>
        <p:spPr>
          <a:xfrm>
            <a:off x="6784707" y="4668134"/>
            <a:ext cx="488" cy="3354"/>
          </a:xfrm>
          <a:custGeom>
            <a:avLst/>
            <a:gdLst/>
            <a:ahLst/>
            <a:cxnLst/>
            <a:rect l="l" t="t" r="r" b="b"/>
            <a:pathLst>
              <a:path w="488" h="3354" extrusionOk="0">
                <a:moveTo>
                  <a:pt x="488" y="0"/>
                </a:moveTo>
                <a:cubicBezTo>
                  <a:pt x="305" y="1098"/>
                  <a:pt x="122" y="2195"/>
                  <a:pt x="0" y="3354"/>
                </a:cubicBezTo>
                <a:cubicBezTo>
                  <a:pt x="183" y="2257"/>
                  <a:pt x="305" y="1159"/>
                  <a:pt x="488" y="0"/>
                </a:cubicBezTo>
                <a:close/>
              </a:path>
            </a:pathLst>
          </a:custGeom>
          <a:solidFill>
            <a:srgbClr val="00B9FF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55" name="Google Shape;455;p2"/>
          <p:cNvSpPr/>
          <p:nvPr/>
        </p:nvSpPr>
        <p:spPr>
          <a:xfrm>
            <a:off x="6883082" y="4413324"/>
            <a:ext cx="1829" cy="2683"/>
          </a:xfrm>
          <a:custGeom>
            <a:avLst/>
            <a:gdLst/>
            <a:ahLst/>
            <a:cxnLst/>
            <a:rect l="l" t="t" r="r" b="b"/>
            <a:pathLst>
              <a:path w="1829" h="2683" extrusionOk="0">
                <a:moveTo>
                  <a:pt x="1830" y="0"/>
                </a:moveTo>
                <a:cubicBezTo>
                  <a:pt x="1220" y="915"/>
                  <a:pt x="610" y="1769"/>
                  <a:pt x="0" y="2683"/>
                </a:cubicBezTo>
                <a:cubicBezTo>
                  <a:pt x="610" y="1769"/>
                  <a:pt x="1220" y="915"/>
                  <a:pt x="1830" y="0"/>
                </a:cubicBezTo>
                <a:close/>
              </a:path>
            </a:pathLst>
          </a:custGeom>
          <a:solidFill>
            <a:srgbClr val="00B9FF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56" name="Google Shape;456;p2"/>
          <p:cNvSpPr/>
          <p:nvPr/>
        </p:nvSpPr>
        <p:spPr>
          <a:xfrm>
            <a:off x="6822032" y="4526030"/>
            <a:ext cx="1829" cy="4513"/>
          </a:xfrm>
          <a:custGeom>
            <a:avLst/>
            <a:gdLst/>
            <a:ahLst/>
            <a:cxnLst/>
            <a:rect l="l" t="t" r="r" b="b"/>
            <a:pathLst>
              <a:path w="1829" h="4513" extrusionOk="0">
                <a:moveTo>
                  <a:pt x="1830" y="0"/>
                </a:moveTo>
                <a:cubicBezTo>
                  <a:pt x="1220" y="1525"/>
                  <a:pt x="610" y="2989"/>
                  <a:pt x="0" y="4513"/>
                </a:cubicBezTo>
                <a:cubicBezTo>
                  <a:pt x="610" y="2989"/>
                  <a:pt x="1220" y="1525"/>
                  <a:pt x="1830" y="0"/>
                </a:cubicBezTo>
                <a:close/>
              </a:path>
            </a:pathLst>
          </a:custGeom>
          <a:solidFill>
            <a:srgbClr val="00B9FF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57" name="Google Shape;457;p2"/>
          <p:cNvSpPr/>
          <p:nvPr/>
        </p:nvSpPr>
        <p:spPr>
          <a:xfrm>
            <a:off x="6779401" y="4773949"/>
            <a:ext cx="122" cy="3354"/>
          </a:xfrm>
          <a:custGeom>
            <a:avLst/>
            <a:gdLst/>
            <a:ahLst/>
            <a:cxnLst/>
            <a:rect l="l" t="t" r="r" b="b"/>
            <a:pathLst>
              <a:path w="122" h="3354" extrusionOk="0">
                <a:moveTo>
                  <a:pt x="0" y="0"/>
                </a:moveTo>
                <a:cubicBezTo>
                  <a:pt x="0" y="1159"/>
                  <a:pt x="122" y="2257"/>
                  <a:pt x="122" y="3354"/>
                </a:cubicBezTo>
                <a:cubicBezTo>
                  <a:pt x="122" y="2257"/>
                  <a:pt x="0" y="1098"/>
                  <a:pt x="0" y="0"/>
                </a:cubicBezTo>
                <a:close/>
              </a:path>
            </a:pathLst>
          </a:custGeom>
          <a:solidFill>
            <a:srgbClr val="00B9FF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58" name="Google Shape;458;p2"/>
          <p:cNvSpPr/>
          <p:nvPr/>
        </p:nvSpPr>
        <p:spPr>
          <a:xfrm>
            <a:off x="6807639" y="4565917"/>
            <a:ext cx="1524" cy="4696"/>
          </a:xfrm>
          <a:custGeom>
            <a:avLst/>
            <a:gdLst/>
            <a:ahLst/>
            <a:cxnLst/>
            <a:rect l="l" t="t" r="r" b="b"/>
            <a:pathLst>
              <a:path w="1524" h="4696" extrusionOk="0">
                <a:moveTo>
                  <a:pt x="1525" y="0"/>
                </a:moveTo>
                <a:cubicBezTo>
                  <a:pt x="1037" y="1586"/>
                  <a:pt x="488" y="3110"/>
                  <a:pt x="0" y="4696"/>
                </a:cubicBezTo>
                <a:cubicBezTo>
                  <a:pt x="488" y="3110"/>
                  <a:pt x="1037" y="1586"/>
                  <a:pt x="1525" y="0"/>
                </a:cubicBezTo>
                <a:close/>
              </a:path>
            </a:pathLst>
          </a:custGeom>
          <a:solidFill>
            <a:srgbClr val="00B9FF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59" name="Google Shape;459;p2"/>
          <p:cNvSpPr/>
          <p:nvPr/>
        </p:nvSpPr>
        <p:spPr>
          <a:xfrm>
            <a:off x="6787635" y="4647947"/>
            <a:ext cx="792" cy="4635"/>
          </a:xfrm>
          <a:custGeom>
            <a:avLst/>
            <a:gdLst/>
            <a:ahLst/>
            <a:cxnLst/>
            <a:rect l="l" t="t" r="r" b="b"/>
            <a:pathLst>
              <a:path w="792" h="4635" extrusionOk="0">
                <a:moveTo>
                  <a:pt x="793" y="0"/>
                </a:moveTo>
                <a:cubicBezTo>
                  <a:pt x="488" y="1525"/>
                  <a:pt x="244" y="3110"/>
                  <a:pt x="0" y="4635"/>
                </a:cubicBezTo>
                <a:cubicBezTo>
                  <a:pt x="244" y="3110"/>
                  <a:pt x="549" y="1525"/>
                  <a:pt x="793" y="0"/>
                </a:cubicBezTo>
                <a:close/>
              </a:path>
            </a:pathLst>
          </a:custGeom>
          <a:solidFill>
            <a:srgbClr val="00B9FF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60" name="Google Shape;460;p2"/>
          <p:cNvSpPr/>
          <p:nvPr/>
        </p:nvSpPr>
        <p:spPr>
          <a:xfrm>
            <a:off x="6784646" y="4834755"/>
            <a:ext cx="670" cy="4818"/>
          </a:xfrm>
          <a:custGeom>
            <a:avLst/>
            <a:gdLst/>
            <a:ahLst/>
            <a:cxnLst/>
            <a:rect l="l" t="t" r="r" b="b"/>
            <a:pathLst>
              <a:path w="670" h="4818" extrusionOk="0">
                <a:moveTo>
                  <a:pt x="0" y="0"/>
                </a:moveTo>
                <a:cubicBezTo>
                  <a:pt x="244" y="1586"/>
                  <a:pt x="427" y="3232"/>
                  <a:pt x="671" y="4818"/>
                </a:cubicBezTo>
                <a:cubicBezTo>
                  <a:pt x="427" y="3232"/>
                  <a:pt x="183" y="1586"/>
                  <a:pt x="0" y="0"/>
                </a:cubicBezTo>
                <a:close/>
              </a:path>
            </a:pathLst>
          </a:custGeom>
          <a:solidFill>
            <a:srgbClr val="00B9FF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61" name="Google Shape;461;p2"/>
          <p:cNvSpPr/>
          <p:nvPr/>
        </p:nvSpPr>
        <p:spPr>
          <a:xfrm>
            <a:off x="6779097" y="4751139"/>
            <a:ext cx="6098" cy="4452"/>
          </a:xfrm>
          <a:custGeom>
            <a:avLst/>
            <a:gdLst/>
            <a:ahLst/>
            <a:cxnLst/>
            <a:rect l="l" t="t" r="r" b="b"/>
            <a:pathLst>
              <a:path w="6098" h="4452" extrusionOk="0">
                <a:moveTo>
                  <a:pt x="0" y="4452"/>
                </a:moveTo>
                <a:cubicBezTo>
                  <a:pt x="0" y="2988"/>
                  <a:pt x="0" y="1525"/>
                  <a:pt x="0" y="0"/>
                </a:cubicBezTo>
                <a:cubicBezTo>
                  <a:pt x="0" y="1464"/>
                  <a:pt x="0" y="2928"/>
                  <a:pt x="0" y="4452"/>
                </a:cubicBezTo>
                <a:close/>
              </a:path>
            </a:pathLst>
          </a:custGeom>
          <a:solidFill>
            <a:srgbClr val="00B9FF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62" name="Google Shape;462;p2"/>
          <p:cNvSpPr/>
          <p:nvPr/>
        </p:nvSpPr>
        <p:spPr>
          <a:xfrm>
            <a:off x="6830266" y="4508466"/>
            <a:ext cx="1098" cy="2500"/>
          </a:xfrm>
          <a:custGeom>
            <a:avLst/>
            <a:gdLst/>
            <a:ahLst/>
            <a:cxnLst/>
            <a:rect l="l" t="t" r="r" b="b"/>
            <a:pathLst>
              <a:path w="1098" h="2500" extrusionOk="0">
                <a:moveTo>
                  <a:pt x="0" y="2501"/>
                </a:moveTo>
                <a:cubicBezTo>
                  <a:pt x="366" y="1647"/>
                  <a:pt x="732" y="854"/>
                  <a:pt x="1098" y="0"/>
                </a:cubicBezTo>
                <a:cubicBezTo>
                  <a:pt x="1037" y="183"/>
                  <a:pt x="915" y="366"/>
                  <a:pt x="854" y="488"/>
                </a:cubicBezTo>
                <a:cubicBezTo>
                  <a:pt x="549" y="1159"/>
                  <a:pt x="305" y="1830"/>
                  <a:pt x="0" y="2440"/>
                </a:cubicBezTo>
                <a:close/>
              </a:path>
            </a:pathLst>
          </a:custGeom>
          <a:solidFill>
            <a:srgbClr val="00B9FF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63" name="Google Shape;463;p2"/>
          <p:cNvSpPr/>
          <p:nvPr/>
        </p:nvSpPr>
        <p:spPr>
          <a:xfrm>
            <a:off x="6809225" y="4940143"/>
            <a:ext cx="6220" cy="17564"/>
          </a:xfrm>
          <a:custGeom>
            <a:avLst/>
            <a:gdLst/>
            <a:ahLst/>
            <a:cxnLst/>
            <a:rect l="l" t="t" r="r" b="b"/>
            <a:pathLst>
              <a:path w="6220" h="17564" extrusionOk="0">
                <a:moveTo>
                  <a:pt x="0" y="0"/>
                </a:moveTo>
                <a:cubicBezTo>
                  <a:pt x="1952" y="5855"/>
                  <a:pt x="4025" y="11710"/>
                  <a:pt x="6221" y="17565"/>
                </a:cubicBezTo>
                <a:cubicBezTo>
                  <a:pt x="4086" y="11710"/>
                  <a:pt x="2012" y="5855"/>
                  <a:pt x="0" y="0"/>
                </a:cubicBezTo>
                <a:close/>
              </a:path>
            </a:pathLst>
          </a:custGeom>
          <a:solidFill>
            <a:srgbClr val="B7E5FF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64" name="Google Shape;464;p2"/>
          <p:cNvSpPr/>
          <p:nvPr/>
        </p:nvSpPr>
        <p:spPr>
          <a:xfrm>
            <a:off x="6803553" y="4921968"/>
            <a:ext cx="4879" cy="15552"/>
          </a:xfrm>
          <a:custGeom>
            <a:avLst/>
            <a:gdLst/>
            <a:ahLst/>
            <a:cxnLst/>
            <a:rect l="l" t="t" r="r" b="b"/>
            <a:pathLst>
              <a:path w="4879" h="15552" extrusionOk="0">
                <a:moveTo>
                  <a:pt x="0" y="0"/>
                </a:moveTo>
                <a:cubicBezTo>
                  <a:pt x="1525" y="5184"/>
                  <a:pt x="3171" y="10368"/>
                  <a:pt x="4879" y="15552"/>
                </a:cubicBezTo>
                <a:cubicBezTo>
                  <a:pt x="3171" y="10368"/>
                  <a:pt x="1585" y="5184"/>
                  <a:pt x="0" y="0"/>
                </a:cubicBezTo>
                <a:close/>
              </a:path>
            </a:pathLst>
          </a:custGeom>
          <a:solidFill>
            <a:srgbClr val="B7E5FF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65" name="Google Shape;465;p2"/>
          <p:cNvSpPr/>
          <p:nvPr/>
        </p:nvSpPr>
        <p:spPr>
          <a:xfrm>
            <a:off x="6788428" y="4858601"/>
            <a:ext cx="3476" cy="17625"/>
          </a:xfrm>
          <a:custGeom>
            <a:avLst/>
            <a:gdLst/>
            <a:ahLst/>
            <a:cxnLst/>
            <a:rect l="l" t="t" r="r" b="b"/>
            <a:pathLst>
              <a:path w="3476" h="17625" extrusionOk="0">
                <a:moveTo>
                  <a:pt x="0" y="0"/>
                </a:moveTo>
                <a:cubicBezTo>
                  <a:pt x="1037" y="5916"/>
                  <a:pt x="2257" y="11771"/>
                  <a:pt x="3476" y="17626"/>
                </a:cubicBezTo>
                <a:cubicBezTo>
                  <a:pt x="2257" y="11771"/>
                  <a:pt x="1037" y="5916"/>
                  <a:pt x="0" y="0"/>
                </a:cubicBezTo>
                <a:close/>
              </a:path>
            </a:pathLst>
          </a:custGeom>
          <a:solidFill>
            <a:srgbClr val="B7E5FF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66" name="Google Shape;466;p2"/>
          <p:cNvSpPr/>
          <p:nvPr/>
        </p:nvSpPr>
        <p:spPr>
          <a:xfrm>
            <a:off x="6797271" y="4899341"/>
            <a:ext cx="4879" cy="17930"/>
          </a:xfrm>
          <a:custGeom>
            <a:avLst/>
            <a:gdLst/>
            <a:ahLst/>
            <a:cxnLst/>
            <a:rect l="l" t="t" r="r" b="b"/>
            <a:pathLst>
              <a:path w="4879" h="17930" extrusionOk="0">
                <a:moveTo>
                  <a:pt x="0" y="0"/>
                </a:moveTo>
                <a:cubicBezTo>
                  <a:pt x="1525" y="6038"/>
                  <a:pt x="3172" y="12015"/>
                  <a:pt x="4879" y="17931"/>
                </a:cubicBezTo>
                <a:cubicBezTo>
                  <a:pt x="3172" y="11954"/>
                  <a:pt x="1525" y="5977"/>
                  <a:pt x="0" y="0"/>
                </a:cubicBezTo>
                <a:close/>
              </a:path>
            </a:pathLst>
          </a:custGeom>
          <a:solidFill>
            <a:srgbClr val="B7E5FF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67" name="Google Shape;467;p2"/>
          <p:cNvSpPr/>
          <p:nvPr/>
        </p:nvSpPr>
        <p:spPr>
          <a:xfrm>
            <a:off x="6786842" y="4848782"/>
            <a:ext cx="1464" cy="9087"/>
          </a:xfrm>
          <a:custGeom>
            <a:avLst/>
            <a:gdLst/>
            <a:ahLst/>
            <a:cxnLst/>
            <a:rect l="l" t="t" r="r" b="b"/>
            <a:pathLst>
              <a:path w="1464" h="9087" extrusionOk="0">
                <a:moveTo>
                  <a:pt x="1464" y="9087"/>
                </a:moveTo>
                <a:cubicBezTo>
                  <a:pt x="915" y="6038"/>
                  <a:pt x="488" y="2988"/>
                  <a:pt x="0" y="0"/>
                </a:cubicBezTo>
                <a:cubicBezTo>
                  <a:pt x="0" y="61"/>
                  <a:pt x="0" y="122"/>
                  <a:pt x="0" y="183"/>
                </a:cubicBezTo>
                <a:cubicBezTo>
                  <a:pt x="488" y="3171"/>
                  <a:pt x="976" y="6099"/>
                  <a:pt x="1464" y="9087"/>
                </a:cubicBezTo>
                <a:close/>
              </a:path>
            </a:pathLst>
          </a:custGeom>
          <a:solidFill>
            <a:srgbClr val="B7E5FF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68" name="Google Shape;468;p2"/>
          <p:cNvSpPr/>
          <p:nvPr/>
        </p:nvSpPr>
        <p:spPr>
          <a:xfrm>
            <a:off x="6817092" y="4962099"/>
            <a:ext cx="5793" cy="14698"/>
          </a:xfrm>
          <a:custGeom>
            <a:avLst/>
            <a:gdLst/>
            <a:ahLst/>
            <a:cxnLst/>
            <a:rect l="l" t="t" r="r" b="b"/>
            <a:pathLst>
              <a:path w="5793" h="14698" extrusionOk="0">
                <a:moveTo>
                  <a:pt x="0" y="0"/>
                </a:moveTo>
                <a:cubicBezTo>
                  <a:pt x="1830" y="4940"/>
                  <a:pt x="3781" y="9819"/>
                  <a:pt x="5794" y="14698"/>
                </a:cubicBezTo>
                <a:cubicBezTo>
                  <a:pt x="3781" y="9819"/>
                  <a:pt x="1891" y="4940"/>
                  <a:pt x="0" y="0"/>
                </a:cubicBezTo>
                <a:close/>
              </a:path>
            </a:pathLst>
          </a:custGeom>
          <a:solidFill>
            <a:srgbClr val="B7E5FF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69" name="Google Shape;469;p2"/>
          <p:cNvSpPr/>
          <p:nvPr/>
        </p:nvSpPr>
        <p:spPr>
          <a:xfrm>
            <a:off x="6792941" y="4881045"/>
            <a:ext cx="3964" cy="16893"/>
          </a:xfrm>
          <a:custGeom>
            <a:avLst/>
            <a:gdLst/>
            <a:ahLst/>
            <a:cxnLst/>
            <a:rect l="l" t="t" r="r" b="b"/>
            <a:pathLst>
              <a:path w="3964" h="16893" extrusionOk="0">
                <a:moveTo>
                  <a:pt x="0" y="0"/>
                </a:moveTo>
                <a:cubicBezTo>
                  <a:pt x="1220" y="5672"/>
                  <a:pt x="2562" y="11283"/>
                  <a:pt x="3964" y="16894"/>
                </a:cubicBezTo>
                <a:cubicBezTo>
                  <a:pt x="2562" y="11283"/>
                  <a:pt x="1220" y="5672"/>
                  <a:pt x="0" y="0"/>
                </a:cubicBezTo>
                <a:close/>
              </a:path>
            </a:pathLst>
          </a:custGeom>
          <a:solidFill>
            <a:srgbClr val="B7E5FF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70" name="Google Shape;470;p2"/>
          <p:cNvSpPr/>
          <p:nvPr/>
        </p:nvSpPr>
        <p:spPr>
          <a:xfrm>
            <a:off x="6824289" y="4980151"/>
            <a:ext cx="7501" cy="17137"/>
          </a:xfrm>
          <a:custGeom>
            <a:avLst/>
            <a:gdLst/>
            <a:ahLst/>
            <a:cxnLst/>
            <a:rect l="l" t="t" r="r" b="b"/>
            <a:pathLst>
              <a:path w="7501" h="17137" extrusionOk="0">
                <a:moveTo>
                  <a:pt x="0" y="0"/>
                </a:moveTo>
                <a:cubicBezTo>
                  <a:pt x="2379" y="5733"/>
                  <a:pt x="4879" y="11466"/>
                  <a:pt x="7501" y="17138"/>
                </a:cubicBezTo>
                <a:cubicBezTo>
                  <a:pt x="4940" y="11466"/>
                  <a:pt x="2440" y="5733"/>
                  <a:pt x="0" y="0"/>
                </a:cubicBezTo>
                <a:close/>
              </a:path>
            </a:pathLst>
          </a:custGeom>
          <a:solidFill>
            <a:srgbClr val="B7E5FF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71" name="Google Shape;471;p2"/>
          <p:cNvSpPr/>
          <p:nvPr/>
        </p:nvSpPr>
        <p:spPr>
          <a:xfrm>
            <a:off x="6809164" y="4549389"/>
            <a:ext cx="5671" cy="16527"/>
          </a:xfrm>
          <a:custGeom>
            <a:avLst/>
            <a:gdLst/>
            <a:ahLst/>
            <a:cxnLst/>
            <a:rect l="l" t="t" r="r" b="b"/>
            <a:pathLst>
              <a:path w="5671" h="16527" extrusionOk="0">
                <a:moveTo>
                  <a:pt x="5672" y="0"/>
                </a:moveTo>
                <a:cubicBezTo>
                  <a:pt x="3659" y="5489"/>
                  <a:pt x="1769" y="11039"/>
                  <a:pt x="0" y="16528"/>
                </a:cubicBezTo>
                <a:cubicBezTo>
                  <a:pt x="1830" y="10978"/>
                  <a:pt x="3720" y="5489"/>
                  <a:pt x="5672" y="0"/>
                </a:cubicBezTo>
                <a:close/>
              </a:path>
            </a:pathLst>
          </a:custGeom>
          <a:solidFill>
            <a:srgbClr val="B7E5FF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72" name="Google Shape;472;p2"/>
          <p:cNvSpPr/>
          <p:nvPr/>
        </p:nvSpPr>
        <p:spPr>
          <a:xfrm>
            <a:off x="6815324" y="4530605"/>
            <a:ext cx="6708" cy="17503"/>
          </a:xfrm>
          <a:custGeom>
            <a:avLst/>
            <a:gdLst/>
            <a:ahLst/>
            <a:cxnLst/>
            <a:rect l="l" t="t" r="r" b="b"/>
            <a:pathLst>
              <a:path w="6708" h="17503" extrusionOk="0">
                <a:moveTo>
                  <a:pt x="6709" y="0"/>
                </a:moveTo>
                <a:cubicBezTo>
                  <a:pt x="4391" y="5794"/>
                  <a:pt x="2134" y="11649"/>
                  <a:pt x="0" y="17504"/>
                </a:cubicBezTo>
                <a:cubicBezTo>
                  <a:pt x="2134" y="11649"/>
                  <a:pt x="4391" y="5794"/>
                  <a:pt x="6709" y="0"/>
                </a:cubicBezTo>
                <a:close/>
              </a:path>
            </a:pathLst>
          </a:custGeom>
          <a:solidFill>
            <a:srgbClr val="B7E5FF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73" name="Google Shape;473;p2"/>
          <p:cNvSpPr/>
          <p:nvPr/>
        </p:nvSpPr>
        <p:spPr>
          <a:xfrm>
            <a:off x="6884912" y="4393136"/>
            <a:ext cx="14454" cy="20187"/>
          </a:xfrm>
          <a:custGeom>
            <a:avLst/>
            <a:gdLst/>
            <a:ahLst/>
            <a:cxnLst/>
            <a:rect l="l" t="t" r="r" b="b"/>
            <a:pathLst>
              <a:path w="14454" h="20187" extrusionOk="0">
                <a:moveTo>
                  <a:pt x="14454" y="0"/>
                </a:moveTo>
                <a:cubicBezTo>
                  <a:pt x="9453" y="6648"/>
                  <a:pt x="4635" y="13357"/>
                  <a:pt x="0" y="20187"/>
                </a:cubicBezTo>
                <a:cubicBezTo>
                  <a:pt x="4696" y="13418"/>
                  <a:pt x="9514" y="6648"/>
                  <a:pt x="14454" y="0"/>
                </a:cubicBezTo>
                <a:close/>
              </a:path>
            </a:pathLst>
          </a:custGeom>
          <a:solidFill>
            <a:srgbClr val="B7E5FF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74" name="Google Shape;474;p2"/>
          <p:cNvSpPr/>
          <p:nvPr/>
        </p:nvSpPr>
        <p:spPr>
          <a:xfrm>
            <a:off x="8411434" y="4670517"/>
            <a:ext cx="16528" cy="19089"/>
          </a:xfrm>
          <a:custGeom>
            <a:avLst/>
            <a:gdLst/>
            <a:ahLst/>
            <a:cxnLst/>
            <a:rect l="l" t="t" r="r" b="b"/>
            <a:pathLst>
              <a:path w="16528" h="19089" extrusionOk="0">
                <a:moveTo>
                  <a:pt x="16528" y="0"/>
                </a:moveTo>
                <a:cubicBezTo>
                  <a:pt x="10856" y="6282"/>
                  <a:pt x="5306" y="12625"/>
                  <a:pt x="0" y="19089"/>
                </a:cubicBezTo>
                <a:cubicBezTo>
                  <a:pt x="5367" y="12625"/>
                  <a:pt x="10917" y="6282"/>
                  <a:pt x="16528" y="0"/>
                </a:cubicBezTo>
                <a:close/>
              </a:path>
            </a:pathLst>
          </a:custGeom>
          <a:solidFill>
            <a:srgbClr val="B7E5FF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75" name="Google Shape;475;p2"/>
          <p:cNvSpPr/>
          <p:nvPr/>
        </p:nvSpPr>
        <p:spPr>
          <a:xfrm>
            <a:off x="6870091" y="4415946"/>
            <a:ext cx="12990" cy="20004"/>
          </a:xfrm>
          <a:custGeom>
            <a:avLst/>
            <a:gdLst/>
            <a:ahLst/>
            <a:cxnLst/>
            <a:rect l="l" t="t" r="r" b="b"/>
            <a:pathLst>
              <a:path w="12990" h="20004" extrusionOk="0">
                <a:moveTo>
                  <a:pt x="12991" y="0"/>
                </a:moveTo>
                <a:cubicBezTo>
                  <a:pt x="8477" y="6587"/>
                  <a:pt x="4147" y="13234"/>
                  <a:pt x="0" y="20004"/>
                </a:cubicBezTo>
                <a:cubicBezTo>
                  <a:pt x="4208" y="13295"/>
                  <a:pt x="8539" y="6587"/>
                  <a:pt x="12991" y="0"/>
                </a:cubicBezTo>
                <a:close/>
              </a:path>
            </a:pathLst>
          </a:custGeom>
          <a:solidFill>
            <a:srgbClr val="B7E5FF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76" name="Google Shape;476;p2"/>
          <p:cNvSpPr/>
          <p:nvPr/>
        </p:nvSpPr>
        <p:spPr>
          <a:xfrm>
            <a:off x="6843196" y="4462907"/>
            <a:ext cx="10977" cy="20797"/>
          </a:xfrm>
          <a:custGeom>
            <a:avLst/>
            <a:gdLst/>
            <a:ahLst/>
            <a:cxnLst/>
            <a:rect l="l" t="t" r="r" b="b"/>
            <a:pathLst>
              <a:path w="10977" h="20797" extrusionOk="0">
                <a:moveTo>
                  <a:pt x="10978" y="0"/>
                </a:moveTo>
                <a:cubicBezTo>
                  <a:pt x="7197" y="6892"/>
                  <a:pt x="3476" y="13783"/>
                  <a:pt x="0" y="20797"/>
                </a:cubicBezTo>
                <a:cubicBezTo>
                  <a:pt x="3537" y="13783"/>
                  <a:pt x="7197" y="6892"/>
                  <a:pt x="10978" y="0"/>
                </a:cubicBezTo>
                <a:close/>
              </a:path>
            </a:pathLst>
          </a:custGeom>
          <a:solidFill>
            <a:srgbClr val="B7E5FF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77" name="Google Shape;477;p2"/>
          <p:cNvSpPr/>
          <p:nvPr/>
        </p:nvSpPr>
        <p:spPr>
          <a:xfrm>
            <a:off x="6856064" y="4439244"/>
            <a:ext cx="11892" cy="20187"/>
          </a:xfrm>
          <a:custGeom>
            <a:avLst/>
            <a:gdLst/>
            <a:ahLst/>
            <a:cxnLst/>
            <a:rect l="l" t="t" r="r" b="b"/>
            <a:pathLst>
              <a:path w="11892" h="20187" extrusionOk="0">
                <a:moveTo>
                  <a:pt x="11893" y="0"/>
                </a:moveTo>
                <a:cubicBezTo>
                  <a:pt x="7806" y="6648"/>
                  <a:pt x="3842" y="13417"/>
                  <a:pt x="0" y="20187"/>
                </a:cubicBezTo>
                <a:cubicBezTo>
                  <a:pt x="3842" y="13417"/>
                  <a:pt x="7806" y="6648"/>
                  <a:pt x="11893" y="0"/>
                </a:cubicBezTo>
                <a:close/>
              </a:path>
            </a:pathLst>
          </a:custGeom>
          <a:solidFill>
            <a:srgbClr val="B7E5FF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78" name="Google Shape;478;p2"/>
          <p:cNvSpPr/>
          <p:nvPr/>
        </p:nvSpPr>
        <p:spPr>
          <a:xfrm>
            <a:off x="8394845" y="4690765"/>
            <a:ext cx="15674" cy="19882"/>
          </a:xfrm>
          <a:custGeom>
            <a:avLst/>
            <a:gdLst/>
            <a:ahLst/>
            <a:cxnLst/>
            <a:rect l="l" t="t" r="r" b="b"/>
            <a:pathLst>
              <a:path w="15674" h="19882" extrusionOk="0">
                <a:moveTo>
                  <a:pt x="15674" y="0"/>
                </a:moveTo>
                <a:cubicBezTo>
                  <a:pt x="10307" y="6526"/>
                  <a:pt x="5062" y="13173"/>
                  <a:pt x="0" y="19882"/>
                </a:cubicBezTo>
                <a:cubicBezTo>
                  <a:pt x="5062" y="13173"/>
                  <a:pt x="10307" y="6526"/>
                  <a:pt x="15674" y="0"/>
                </a:cubicBezTo>
                <a:close/>
              </a:path>
            </a:pathLst>
          </a:custGeom>
          <a:solidFill>
            <a:srgbClr val="B7E5FF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79" name="Google Shape;479;p2"/>
          <p:cNvSpPr/>
          <p:nvPr/>
        </p:nvSpPr>
        <p:spPr>
          <a:xfrm>
            <a:off x="6831364" y="4486693"/>
            <a:ext cx="10307" cy="21772"/>
          </a:xfrm>
          <a:custGeom>
            <a:avLst/>
            <a:gdLst/>
            <a:ahLst/>
            <a:cxnLst/>
            <a:rect l="l" t="t" r="r" b="b"/>
            <a:pathLst>
              <a:path w="10307" h="21772" extrusionOk="0">
                <a:moveTo>
                  <a:pt x="10307" y="0"/>
                </a:moveTo>
                <a:cubicBezTo>
                  <a:pt x="6709" y="7197"/>
                  <a:pt x="3293" y="14454"/>
                  <a:pt x="0" y="21773"/>
                </a:cubicBezTo>
                <a:cubicBezTo>
                  <a:pt x="3293" y="14454"/>
                  <a:pt x="6709" y="7197"/>
                  <a:pt x="10307" y="0"/>
                </a:cubicBezTo>
                <a:close/>
              </a:path>
            </a:pathLst>
          </a:custGeom>
          <a:solidFill>
            <a:srgbClr val="B7E5FF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80" name="Google Shape;480;p2"/>
          <p:cNvSpPr/>
          <p:nvPr/>
        </p:nvSpPr>
        <p:spPr>
          <a:xfrm>
            <a:off x="6823862" y="4510966"/>
            <a:ext cx="6403" cy="15064"/>
          </a:xfrm>
          <a:custGeom>
            <a:avLst/>
            <a:gdLst/>
            <a:ahLst/>
            <a:cxnLst/>
            <a:rect l="l" t="t" r="r" b="b"/>
            <a:pathLst>
              <a:path w="6403" h="15064" extrusionOk="0">
                <a:moveTo>
                  <a:pt x="6404" y="0"/>
                </a:moveTo>
                <a:cubicBezTo>
                  <a:pt x="4208" y="5001"/>
                  <a:pt x="2074" y="10002"/>
                  <a:pt x="0" y="15064"/>
                </a:cubicBezTo>
                <a:cubicBezTo>
                  <a:pt x="2074" y="10002"/>
                  <a:pt x="4208" y="5001"/>
                  <a:pt x="6404" y="0"/>
                </a:cubicBezTo>
                <a:close/>
              </a:path>
            </a:pathLst>
          </a:custGeom>
          <a:solidFill>
            <a:srgbClr val="B7E5FF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81" name="Google Shape;481;p2"/>
          <p:cNvSpPr/>
          <p:nvPr/>
        </p:nvSpPr>
        <p:spPr>
          <a:xfrm>
            <a:off x="6785195" y="4652582"/>
            <a:ext cx="2439" cy="15491"/>
          </a:xfrm>
          <a:custGeom>
            <a:avLst/>
            <a:gdLst/>
            <a:ahLst/>
            <a:cxnLst/>
            <a:rect l="l" t="t" r="r" b="b"/>
            <a:pathLst>
              <a:path w="2439" h="15491" extrusionOk="0">
                <a:moveTo>
                  <a:pt x="2439" y="0"/>
                </a:moveTo>
                <a:cubicBezTo>
                  <a:pt x="1586" y="5184"/>
                  <a:pt x="732" y="10307"/>
                  <a:pt x="0" y="15491"/>
                </a:cubicBezTo>
                <a:cubicBezTo>
                  <a:pt x="732" y="10307"/>
                  <a:pt x="1586" y="5123"/>
                  <a:pt x="2439" y="0"/>
                </a:cubicBezTo>
                <a:close/>
              </a:path>
            </a:pathLst>
          </a:custGeom>
          <a:solidFill>
            <a:srgbClr val="B7E5FF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82" name="Google Shape;482;p2"/>
          <p:cNvSpPr/>
          <p:nvPr/>
        </p:nvSpPr>
        <p:spPr>
          <a:xfrm>
            <a:off x="6780743" y="4797674"/>
            <a:ext cx="1646" cy="18357"/>
          </a:xfrm>
          <a:custGeom>
            <a:avLst/>
            <a:gdLst/>
            <a:ahLst/>
            <a:cxnLst/>
            <a:rect l="l" t="t" r="r" b="b"/>
            <a:pathLst>
              <a:path w="1646" h="18357" extrusionOk="0">
                <a:moveTo>
                  <a:pt x="0" y="0"/>
                </a:moveTo>
                <a:cubicBezTo>
                  <a:pt x="427" y="6160"/>
                  <a:pt x="976" y="12259"/>
                  <a:pt x="1647" y="18358"/>
                </a:cubicBezTo>
                <a:cubicBezTo>
                  <a:pt x="976" y="12259"/>
                  <a:pt x="488" y="6099"/>
                  <a:pt x="0" y="0"/>
                </a:cubicBezTo>
                <a:close/>
              </a:path>
            </a:pathLst>
          </a:custGeom>
          <a:solidFill>
            <a:srgbClr val="B7E5FF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83" name="Google Shape;483;p2"/>
          <p:cNvSpPr/>
          <p:nvPr/>
        </p:nvSpPr>
        <p:spPr>
          <a:xfrm>
            <a:off x="6782634" y="4818410"/>
            <a:ext cx="2012" cy="16344"/>
          </a:xfrm>
          <a:custGeom>
            <a:avLst/>
            <a:gdLst/>
            <a:ahLst/>
            <a:cxnLst/>
            <a:rect l="l" t="t" r="r" b="b"/>
            <a:pathLst>
              <a:path w="2012" h="16344" extrusionOk="0">
                <a:moveTo>
                  <a:pt x="0" y="0"/>
                </a:moveTo>
                <a:cubicBezTo>
                  <a:pt x="610" y="5428"/>
                  <a:pt x="1281" y="10917"/>
                  <a:pt x="2013" y="16345"/>
                </a:cubicBezTo>
                <a:cubicBezTo>
                  <a:pt x="1281" y="10917"/>
                  <a:pt x="549" y="5489"/>
                  <a:pt x="0" y="0"/>
                </a:cubicBezTo>
                <a:close/>
              </a:path>
            </a:pathLst>
          </a:custGeom>
          <a:solidFill>
            <a:srgbClr val="B7E5FF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84" name="Google Shape;484;p2"/>
          <p:cNvSpPr/>
          <p:nvPr/>
        </p:nvSpPr>
        <p:spPr>
          <a:xfrm>
            <a:off x="6802394" y="4570613"/>
            <a:ext cx="5244" cy="17198"/>
          </a:xfrm>
          <a:custGeom>
            <a:avLst/>
            <a:gdLst/>
            <a:ahLst/>
            <a:cxnLst/>
            <a:rect l="l" t="t" r="r" b="b"/>
            <a:pathLst>
              <a:path w="5244" h="17198" extrusionOk="0">
                <a:moveTo>
                  <a:pt x="5245" y="0"/>
                </a:moveTo>
                <a:cubicBezTo>
                  <a:pt x="3415" y="5733"/>
                  <a:pt x="1646" y="11466"/>
                  <a:pt x="0" y="17199"/>
                </a:cubicBezTo>
                <a:cubicBezTo>
                  <a:pt x="1646" y="11405"/>
                  <a:pt x="3415" y="5672"/>
                  <a:pt x="5245" y="0"/>
                </a:cubicBezTo>
                <a:close/>
              </a:path>
            </a:pathLst>
          </a:custGeom>
          <a:solidFill>
            <a:srgbClr val="B7E5FF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85" name="Google Shape;485;p2"/>
          <p:cNvSpPr/>
          <p:nvPr/>
        </p:nvSpPr>
        <p:spPr>
          <a:xfrm>
            <a:off x="6785378" y="4839512"/>
            <a:ext cx="1463" cy="9453"/>
          </a:xfrm>
          <a:custGeom>
            <a:avLst/>
            <a:gdLst/>
            <a:ahLst/>
            <a:cxnLst/>
            <a:rect l="l" t="t" r="r" b="b"/>
            <a:pathLst>
              <a:path w="1463" h="9453" extrusionOk="0">
                <a:moveTo>
                  <a:pt x="1464" y="9453"/>
                </a:moveTo>
                <a:cubicBezTo>
                  <a:pt x="1464" y="9453"/>
                  <a:pt x="1464" y="9331"/>
                  <a:pt x="1464" y="9270"/>
                </a:cubicBezTo>
                <a:cubicBezTo>
                  <a:pt x="976" y="6160"/>
                  <a:pt x="427" y="3110"/>
                  <a:pt x="0" y="0"/>
                </a:cubicBezTo>
                <a:cubicBezTo>
                  <a:pt x="488" y="3172"/>
                  <a:pt x="976" y="6282"/>
                  <a:pt x="1464" y="9453"/>
                </a:cubicBezTo>
                <a:close/>
              </a:path>
            </a:pathLst>
          </a:custGeom>
          <a:solidFill>
            <a:srgbClr val="B7E5FF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86" name="Google Shape;486;p2"/>
          <p:cNvSpPr/>
          <p:nvPr/>
        </p:nvSpPr>
        <p:spPr>
          <a:xfrm>
            <a:off x="6779036" y="4755591"/>
            <a:ext cx="365" cy="18357"/>
          </a:xfrm>
          <a:custGeom>
            <a:avLst/>
            <a:gdLst/>
            <a:ahLst/>
            <a:cxnLst/>
            <a:rect l="l" t="t" r="r" b="b"/>
            <a:pathLst>
              <a:path w="365" h="18357" extrusionOk="0">
                <a:moveTo>
                  <a:pt x="366" y="18357"/>
                </a:moveTo>
                <a:cubicBezTo>
                  <a:pt x="183" y="12259"/>
                  <a:pt x="61" y="6099"/>
                  <a:pt x="0" y="0"/>
                </a:cubicBezTo>
                <a:cubicBezTo>
                  <a:pt x="0" y="6099"/>
                  <a:pt x="122" y="12259"/>
                  <a:pt x="366" y="18357"/>
                </a:cubicBezTo>
                <a:close/>
              </a:path>
            </a:pathLst>
          </a:custGeom>
          <a:solidFill>
            <a:srgbClr val="B7E5FF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87" name="Google Shape;487;p2"/>
          <p:cNvSpPr/>
          <p:nvPr/>
        </p:nvSpPr>
        <p:spPr>
          <a:xfrm>
            <a:off x="6779097" y="4735770"/>
            <a:ext cx="243" cy="15369"/>
          </a:xfrm>
          <a:custGeom>
            <a:avLst/>
            <a:gdLst/>
            <a:ahLst/>
            <a:cxnLst/>
            <a:rect l="l" t="t" r="r" b="b"/>
            <a:pathLst>
              <a:path w="243" h="15369" extrusionOk="0">
                <a:moveTo>
                  <a:pt x="244" y="0"/>
                </a:moveTo>
                <a:cubicBezTo>
                  <a:pt x="122" y="5123"/>
                  <a:pt x="0" y="10246"/>
                  <a:pt x="0" y="15369"/>
                </a:cubicBezTo>
                <a:cubicBezTo>
                  <a:pt x="0" y="10246"/>
                  <a:pt x="122" y="5123"/>
                  <a:pt x="244" y="0"/>
                </a:cubicBezTo>
                <a:close/>
              </a:path>
            </a:pathLst>
          </a:custGeom>
          <a:solidFill>
            <a:srgbClr val="B7E5FF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88" name="Google Shape;488;p2"/>
          <p:cNvSpPr/>
          <p:nvPr/>
        </p:nvSpPr>
        <p:spPr>
          <a:xfrm>
            <a:off x="6935654" y="4332392"/>
            <a:ext cx="16101" cy="16954"/>
          </a:xfrm>
          <a:custGeom>
            <a:avLst/>
            <a:gdLst/>
            <a:ahLst/>
            <a:cxnLst/>
            <a:rect l="l" t="t" r="r" b="b"/>
            <a:pathLst>
              <a:path w="16101" h="16954" extrusionOk="0">
                <a:moveTo>
                  <a:pt x="0" y="16955"/>
                </a:moveTo>
                <a:cubicBezTo>
                  <a:pt x="5245" y="11222"/>
                  <a:pt x="10612" y="5550"/>
                  <a:pt x="16101" y="0"/>
                </a:cubicBezTo>
                <a:cubicBezTo>
                  <a:pt x="15369" y="732"/>
                  <a:pt x="14576" y="1525"/>
                  <a:pt x="13845" y="2257"/>
                </a:cubicBezTo>
                <a:cubicBezTo>
                  <a:pt x="9148" y="7075"/>
                  <a:pt x="4513" y="12015"/>
                  <a:pt x="0" y="16955"/>
                </a:cubicBezTo>
                <a:close/>
              </a:path>
            </a:pathLst>
          </a:custGeom>
          <a:solidFill>
            <a:srgbClr val="B7E5FF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89" name="Google Shape;489;p2"/>
          <p:cNvSpPr/>
          <p:nvPr/>
        </p:nvSpPr>
        <p:spPr>
          <a:xfrm>
            <a:off x="6779584" y="4777303"/>
            <a:ext cx="853" cy="15674"/>
          </a:xfrm>
          <a:custGeom>
            <a:avLst/>
            <a:gdLst/>
            <a:ahLst/>
            <a:cxnLst/>
            <a:rect l="l" t="t" r="r" b="b"/>
            <a:pathLst>
              <a:path w="853" h="15674" extrusionOk="0">
                <a:moveTo>
                  <a:pt x="0" y="0"/>
                </a:moveTo>
                <a:cubicBezTo>
                  <a:pt x="183" y="5245"/>
                  <a:pt x="488" y="10429"/>
                  <a:pt x="854" y="15674"/>
                </a:cubicBezTo>
                <a:cubicBezTo>
                  <a:pt x="488" y="10490"/>
                  <a:pt x="244" y="5245"/>
                  <a:pt x="0" y="0"/>
                </a:cubicBezTo>
                <a:close/>
              </a:path>
            </a:pathLst>
          </a:custGeom>
          <a:solidFill>
            <a:srgbClr val="B7E5FF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90" name="Google Shape;490;p2"/>
          <p:cNvSpPr/>
          <p:nvPr/>
        </p:nvSpPr>
        <p:spPr>
          <a:xfrm>
            <a:off x="6788428" y="4629772"/>
            <a:ext cx="3537" cy="18174"/>
          </a:xfrm>
          <a:custGeom>
            <a:avLst/>
            <a:gdLst/>
            <a:ahLst/>
            <a:cxnLst/>
            <a:rect l="l" t="t" r="r" b="b"/>
            <a:pathLst>
              <a:path w="3537" h="18174" extrusionOk="0">
                <a:moveTo>
                  <a:pt x="3537" y="0"/>
                </a:moveTo>
                <a:cubicBezTo>
                  <a:pt x="2257" y="6038"/>
                  <a:pt x="1098" y="12076"/>
                  <a:pt x="0" y="18175"/>
                </a:cubicBezTo>
                <a:cubicBezTo>
                  <a:pt x="1098" y="12137"/>
                  <a:pt x="2257" y="6038"/>
                  <a:pt x="3537" y="0"/>
                </a:cubicBezTo>
                <a:close/>
              </a:path>
            </a:pathLst>
          </a:custGeom>
          <a:solidFill>
            <a:srgbClr val="B7E5FF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91" name="Google Shape;491;p2"/>
          <p:cNvSpPr/>
          <p:nvPr/>
        </p:nvSpPr>
        <p:spPr>
          <a:xfrm>
            <a:off x="6797332" y="4588605"/>
            <a:ext cx="4817" cy="18052"/>
          </a:xfrm>
          <a:custGeom>
            <a:avLst/>
            <a:gdLst/>
            <a:ahLst/>
            <a:cxnLst/>
            <a:rect l="l" t="t" r="r" b="b"/>
            <a:pathLst>
              <a:path w="4817" h="18052" extrusionOk="0">
                <a:moveTo>
                  <a:pt x="4818" y="0"/>
                </a:moveTo>
                <a:cubicBezTo>
                  <a:pt x="3110" y="5977"/>
                  <a:pt x="1525" y="12015"/>
                  <a:pt x="0" y="18053"/>
                </a:cubicBezTo>
                <a:cubicBezTo>
                  <a:pt x="1525" y="12015"/>
                  <a:pt x="3110" y="5977"/>
                  <a:pt x="4818" y="0"/>
                </a:cubicBezTo>
                <a:close/>
              </a:path>
            </a:pathLst>
          </a:custGeom>
          <a:solidFill>
            <a:srgbClr val="B7E5FF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92" name="Google Shape;492;p2"/>
          <p:cNvSpPr/>
          <p:nvPr/>
        </p:nvSpPr>
        <p:spPr>
          <a:xfrm>
            <a:off x="6779401" y="4713448"/>
            <a:ext cx="975" cy="18357"/>
          </a:xfrm>
          <a:custGeom>
            <a:avLst/>
            <a:gdLst/>
            <a:ahLst/>
            <a:cxnLst/>
            <a:rect l="l" t="t" r="r" b="b"/>
            <a:pathLst>
              <a:path w="975" h="18357" extrusionOk="0">
                <a:moveTo>
                  <a:pt x="976" y="0"/>
                </a:moveTo>
                <a:cubicBezTo>
                  <a:pt x="549" y="6099"/>
                  <a:pt x="244" y="12198"/>
                  <a:pt x="0" y="18358"/>
                </a:cubicBezTo>
                <a:cubicBezTo>
                  <a:pt x="244" y="12259"/>
                  <a:pt x="549" y="6099"/>
                  <a:pt x="976" y="0"/>
                </a:cubicBezTo>
                <a:close/>
              </a:path>
            </a:pathLst>
          </a:custGeom>
          <a:solidFill>
            <a:srgbClr val="B7E5FF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93" name="Google Shape;493;p2"/>
          <p:cNvSpPr/>
          <p:nvPr/>
        </p:nvSpPr>
        <p:spPr>
          <a:xfrm>
            <a:off x="6792453" y="4611354"/>
            <a:ext cx="3720" cy="16100"/>
          </a:xfrm>
          <a:custGeom>
            <a:avLst/>
            <a:gdLst/>
            <a:ahLst/>
            <a:cxnLst/>
            <a:rect l="l" t="t" r="r" b="b"/>
            <a:pathLst>
              <a:path w="3720" h="16100" extrusionOk="0">
                <a:moveTo>
                  <a:pt x="3720" y="0"/>
                </a:moveTo>
                <a:cubicBezTo>
                  <a:pt x="2439" y="5367"/>
                  <a:pt x="1159" y="10734"/>
                  <a:pt x="0" y="16101"/>
                </a:cubicBezTo>
                <a:cubicBezTo>
                  <a:pt x="1159" y="10734"/>
                  <a:pt x="2378" y="5367"/>
                  <a:pt x="3720" y="0"/>
                </a:cubicBezTo>
                <a:close/>
              </a:path>
            </a:pathLst>
          </a:custGeom>
          <a:solidFill>
            <a:srgbClr val="B7E5FF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94" name="Google Shape;494;p2"/>
          <p:cNvSpPr/>
          <p:nvPr/>
        </p:nvSpPr>
        <p:spPr>
          <a:xfrm>
            <a:off x="6780682" y="4694115"/>
            <a:ext cx="1341" cy="15308"/>
          </a:xfrm>
          <a:custGeom>
            <a:avLst/>
            <a:gdLst/>
            <a:ahLst/>
            <a:cxnLst/>
            <a:rect l="l" t="t" r="r" b="b"/>
            <a:pathLst>
              <a:path w="1341" h="15308" extrusionOk="0">
                <a:moveTo>
                  <a:pt x="1342" y="0"/>
                </a:moveTo>
                <a:cubicBezTo>
                  <a:pt x="854" y="5123"/>
                  <a:pt x="366" y="10246"/>
                  <a:pt x="0" y="15308"/>
                </a:cubicBezTo>
                <a:cubicBezTo>
                  <a:pt x="366" y="10185"/>
                  <a:pt x="793" y="5062"/>
                  <a:pt x="1342" y="0"/>
                </a:cubicBezTo>
                <a:close/>
              </a:path>
            </a:pathLst>
          </a:custGeom>
          <a:solidFill>
            <a:srgbClr val="B7E5FF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95" name="Google Shape;495;p2"/>
          <p:cNvSpPr/>
          <p:nvPr/>
        </p:nvSpPr>
        <p:spPr>
          <a:xfrm>
            <a:off x="6782451" y="4671427"/>
            <a:ext cx="2256" cy="18296"/>
          </a:xfrm>
          <a:custGeom>
            <a:avLst/>
            <a:gdLst/>
            <a:ahLst/>
            <a:cxnLst/>
            <a:rect l="l" t="t" r="r" b="b"/>
            <a:pathLst>
              <a:path w="2256" h="18296" extrusionOk="0">
                <a:moveTo>
                  <a:pt x="2257" y="0"/>
                </a:moveTo>
                <a:cubicBezTo>
                  <a:pt x="1403" y="6099"/>
                  <a:pt x="671" y="12198"/>
                  <a:pt x="0" y="18297"/>
                </a:cubicBezTo>
                <a:cubicBezTo>
                  <a:pt x="671" y="12198"/>
                  <a:pt x="1403" y="6099"/>
                  <a:pt x="2257" y="0"/>
                </a:cubicBezTo>
                <a:close/>
              </a:path>
            </a:pathLst>
          </a:custGeom>
          <a:solidFill>
            <a:srgbClr val="B7E5FF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96" name="Google Shape;496;p2"/>
          <p:cNvSpPr/>
          <p:nvPr/>
        </p:nvSpPr>
        <p:spPr>
          <a:xfrm>
            <a:off x="6966148" y="4304520"/>
            <a:ext cx="14759" cy="13661"/>
          </a:xfrm>
          <a:custGeom>
            <a:avLst/>
            <a:gdLst/>
            <a:ahLst/>
            <a:cxnLst/>
            <a:rect l="l" t="t" r="r" b="b"/>
            <a:pathLst>
              <a:path w="14759" h="13661" extrusionOk="0">
                <a:moveTo>
                  <a:pt x="14759" y="0"/>
                </a:moveTo>
                <a:cubicBezTo>
                  <a:pt x="9697" y="4513"/>
                  <a:pt x="4818" y="9087"/>
                  <a:pt x="0" y="13662"/>
                </a:cubicBezTo>
                <a:cubicBezTo>
                  <a:pt x="4818" y="9026"/>
                  <a:pt x="9758" y="4452"/>
                  <a:pt x="14759" y="0"/>
                </a:cubicBezTo>
                <a:close/>
              </a:path>
            </a:pathLst>
          </a:custGeom>
          <a:solidFill>
            <a:srgbClr val="3B6AFF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97" name="Google Shape;497;p2"/>
          <p:cNvSpPr/>
          <p:nvPr/>
        </p:nvSpPr>
        <p:spPr>
          <a:xfrm>
            <a:off x="6951816" y="4321780"/>
            <a:ext cx="10550" cy="10551"/>
          </a:xfrm>
          <a:custGeom>
            <a:avLst/>
            <a:gdLst/>
            <a:ahLst/>
            <a:cxnLst/>
            <a:rect l="l" t="t" r="r" b="b"/>
            <a:pathLst>
              <a:path w="10550" h="10551" extrusionOk="0">
                <a:moveTo>
                  <a:pt x="793" y="9697"/>
                </a:moveTo>
                <a:cubicBezTo>
                  <a:pt x="793" y="9697"/>
                  <a:pt x="244" y="10246"/>
                  <a:pt x="0" y="10551"/>
                </a:cubicBezTo>
                <a:cubicBezTo>
                  <a:pt x="3476" y="7014"/>
                  <a:pt x="7013" y="3476"/>
                  <a:pt x="10551" y="0"/>
                </a:cubicBezTo>
                <a:cubicBezTo>
                  <a:pt x="7258" y="3171"/>
                  <a:pt x="4025" y="6404"/>
                  <a:pt x="793" y="9636"/>
                </a:cubicBezTo>
                <a:close/>
              </a:path>
            </a:pathLst>
          </a:custGeom>
          <a:solidFill>
            <a:srgbClr val="3B6AFF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98" name="Google Shape;498;p2"/>
          <p:cNvSpPr/>
          <p:nvPr/>
        </p:nvSpPr>
        <p:spPr>
          <a:xfrm>
            <a:off x="6949438" y="4331477"/>
            <a:ext cx="3110" cy="3110"/>
          </a:xfrm>
          <a:custGeom>
            <a:avLst/>
            <a:gdLst/>
            <a:ahLst/>
            <a:cxnLst/>
            <a:rect l="l" t="t" r="r" b="b"/>
            <a:pathLst>
              <a:path w="3110" h="3110" extrusionOk="0">
                <a:moveTo>
                  <a:pt x="61" y="3110"/>
                </a:moveTo>
                <a:cubicBezTo>
                  <a:pt x="793" y="2318"/>
                  <a:pt x="1586" y="1586"/>
                  <a:pt x="2318" y="854"/>
                </a:cubicBezTo>
                <a:cubicBezTo>
                  <a:pt x="2622" y="549"/>
                  <a:pt x="2866" y="305"/>
                  <a:pt x="3110" y="0"/>
                </a:cubicBezTo>
                <a:cubicBezTo>
                  <a:pt x="2073" y="1037"/>
                  <a:pt x="1037" y="2074"/>
                  <a:pt x="0" y="3110"/>
                </a:cubicBezTo>
                <a:close/>
              </a:path>
            </a:pathLst>
          </a:custGeom>
          <a:solidFill>
            <a:srgbClr val="3B6AFF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99" name="Google Shape;499;p2"/>
          <p:cNvSpPr/>
          <p:nvPr/>
        </p:nvSpPr>
        <p:spPr>
          <a:xfrm>
            <a:off x="6887839" y="4329891"/>
            <a:ext cx="66416" cy="6220"/>
          </a:xfrm>
          <a:custGeom>
            <a:avLst/>
            <a:gdLst/>
            <a:ahLst/>
            <a:cxnLst/>
            <a:rect l="l" t="t" r="r" b="b"/>
            <a:pathLst>
              <a:path w="66416" h="6220" extrusionOk="0">
                <a:moveTo>
                  <a:pt x="60562" y="5855"/>
                </a:moveTo>
                <a:cubicBezTo>
                  <a:pt x="60928" y="5489"/>
                  <a:pt x="61294" y="5123"/>
                  <a:pt x="61721" y="4757"/>
                </a:cubicBezTo>
                <a:cubicBezTo>
                  <a:pt x="62757" y="3720"/>
                  <a:pt x="63794" y="2684"/>
                  <a:pt x="64831" y="1647"/>
                </a:cubicBezTo>
                <a:cubicBezTo>
                  <a:pt x="65380" y="1098"/>
                  <a:pt x="65868" y="549"/>
                  <a:pt x="66417" y="0"/>
                </a:cubicBezTo>
                <a:lnTo>
                  <a:pt x="64221" y="122"/>
                </a:lnTo>
                <a:lnTo>
                  <a:pt x="5550" y="122"/>
                </a:lnTo>
                <a:cubicBezTo>
                  <a:pt x="3660" y="2135"/>
                  <a:pt x="1830" y="4147"/>
                  <a:pt x="0" y="6221"/>
                </a:cubicBezTo>
                <a:lnTo>
                  <a:pt x="52023" y="6221"/>
                </a:lnTo>
                <a:lnTo>
                  <a:pt x="60623" y="5916"/>
                </a:lnTo>
                <a:close/>
              </a:path>
            </a:pathLst>
          </a:custGeom>
          <a:solidFill>
            <a:srgbClr val="3B6AFF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00" name="Google Shape;500;p2"/>
          <p:cNvSpPr/>
          <p:nvPr/>
        </p:nvSpPr>
        <p:spPr>
          <a:xfrm>
            <a:off x="6327709" y="5910768"/>
            <a:ext cx="68414" cy="69975"/>
          </a:xfrm>
          <a:prstGeom prst="ellipse">
            <a:avLst/>
          </a:prstGeom>
          <a:solidFill>
            <a:schemeClr val="dk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01" name="Google Shape;501;p2"/>
          <p:cNvSpPr/>
          <p:nvPr/>
        </p:nvSpPr>
        <p:spPr>
          <a:xfrm>
            <a:off x="2454032" y="5442994"/>
            <a:ext cx="4549746" cy="765406"/>
          </a:xfrm>
          <a:custGeom>
            <a:avLst/>
            <a:gdLst/>
            <a:ahLst/>
            <a:cxnLst/>
            <a:rect l="l" t="t" r="r" b="b"/>
            <a:pathLst>
              <a:path w="4549746" h="765406" extrusionOk="0">
                <a:moveTo>
                  <a:pt x="3930774" y="619034"/>
                </a:moveTo>
                <a:lnTo>
                  <a:pt x="2546333" y="619034"/>
                </a:lnTo>
                <a:lnTo>
                  <a:pt x="2546333" y="624523"/>
                </a:lnTo>
                <a:lnTo>
                  <a:pt x="1225260" y="624523"/>
                </a:lnTo>
                <a:lnTo>
                  <a:pt x="1225260" y="625133"/>
                </a:lnTo>
                <a:lnTo>
                  <a:pt x="626718" y="625133"/>
                </a:lnTo>
                <a:cubicBezTo>
                  <a:pt x="307016" y="625133"/>
                  <a:pt x="42753" y="388070"/>
                  <a:pt x="0" y="80200"/>
                </a:cubicBezTo>
                <a:lnTo>
                  <a:pt x="0" y="146373"/>
                </a:lnTo>
                <a:cubicBezTo>
                  <a:pt x="0" y="488274"/>
                  <a:pt x="277132" y="765407"/>
                  <a:pt x="619034" y="765407"/>
                </a:cubicBezTo>
                <a:lnTo>
                  <a:pt x="3930713" y="765407"/>
                </a:lnTo>
                <a:cubicBezTo>
                  <a:pt x="4272614" y="765407"/>
                  <a:pt x="4549747" y="488274"/>
                  <a:pt x="4549747" y="146373"/>
                </a:cubicBezTo>
                <a:lnTo>
                  <a:pt x="4549747" y="0"/>
                </a:lnTo>
                <a:cubicBezTo>
                  <a:pt x="4549747" y="341902"/>
                  <a:pt x="4272614" y="619034"/>
                  <a:pt x="3930713" y="619034"/>
                </a:cubicBezTo>
                <a:close/>
              </a:path>
            </a:pathLst>
          </a:custGeom>
          <a:solidFill>
            <a:srgbClr val="0F47F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02" name="Google Shape;502;p2"/>
          <p:cNvSpPr/>
          <p:nvPr/>
        </p:nvSpPr>
        <p:spPr>
          <a:xfrm>
            <a:off x="6779279" y="3187331"/>
            <a:ext cx="1554232" cy="1661389"/>
          </a:xfrm>
          <a:custGeom>
            <a:avLst/>
            <a:gdLst/>
            <a:ahLst/>
            <a:cxnLst/>
            <a:rect l="l" t="t" r="r" b="b"/>
            <a:pathLst>
              <a:path w="1554232" h="1661389" extrusionOk="0">
                <a:moveTo>
                  <a:pt x="1547646" y="61"/>
                </a:moveTo>
                <a:cubicBezTo>
                  <a:pt x="1533558" y="534138"/>
                  <a:pt x="1100844" y="962705"/>
                  <a:pt x="569146" y="962705"/>
                </a:cubicBezTo>
                <a:lnTo>
                  <a:pt x="561461" y="965266"/>
                </a:lnTo>
                <a:cubicBezTo>
                  <a:pt x="432897" y="974048"/>
                  <a:pt x="305797" y="1024303"/>
                  <a:pt x="201689" y="1117189"/>
                </a:cubicBezTo>
                <a:cubicBezTo>
                  <a:pt x="196627" y="1121702"/>
                  <a:pt x="191748" y="1126276"/>
                  <a:pt x="186930" y="1130850"/>
                </a:cubicBezTo>
                <a:cubicBezTo>
                  <a:pt x="185649" y="1132070"/>
                  <a:pt x="184429" y="1133290"/>
                  <a:pt x="183149" y="1134448"/>
                </a:cubicBezTo>
                <a:cubicBezTo>
                  <a:pt x="179550" y="1137925"/>
                  <a:pt x="176074" y="1141462"/>
                  <a:pt x="172598" y="1145000"/>
                </a:cubicBezTo>
                <a:cubicBezTo>
                  <a:pt x="167109" y="1150610"/>
                  <a:pt x="161681" y="1156221"/>
                  <a:pt x="156497" y="1161954"/>
                </a:cubicBezTo>
                <a:cubicBezTo>
                  <a:pt x="155765" y="1162747"/>
                  <a:pt x="155033" y="1163540"/>
                  <a:pt x="154362" y="1164394"/>
                </a:cubicBezTo>
                <a:cubicBezTo>
                  <a:pt x="148690" y="1170676"/>
                  <a:pt x="143140" y="1177019"/>
                  <a:pt x="137834" y="1183483"/>
                </a:cubicBezTo>
                <a:cubicBezTo>
                  <a:pt x="137529" y="1183849"/>
                  <a:pt x="137224" y="1184215"/>
                  <a:pt x="136919" y="1184642"/>
                </a:cubicBezTo>
                <a:cubicBezTo>
                  <a:pt x="131552" y="1191168"/>
                  <a:pt x="126307" y="1197815"/>
                  <a:pt x="121245" y="1204524"/>
                </a:cubicBezTo>
                <a:cubicBezTo>
                  <a:pt x="120940" y="1204951"/>
                  <a:pt x="120575" y="1205378"/>
                  <a:pt x="120270" y="1205805"/>
                </a:cubicBezTo>
                <a:cubicBezTo>
                  <a:pt x="115269" y="1212453"/>
                  <a:pt x="110450" y="1219161"/>
                  <a:pt x="105815" y="1225992"/>
                </a:cubicBezTo>
                <a:cubicBezTo>
                  <a:pt x="105205" y="1226907"/>
                  <a:pt x="104596" y="1227761"/>
                  <a:pt x="103985" y="1228676"/>
                </a:cubicBezTo>
                <a:cubicBezTo>
                  <a:pt x="99472" y="1235263"/>
                  <a:pt x="95142" y="1241910"/>
                  <a:pt x="90995" y="1248680"/>
                </a:cubicBezTo>
                <a:cubicBezTo>
                  <a:pt x="90324" y="1249778"/>
                  <a:pt x="89592" y="1250876"/>
                  <a:pt x="88921" y="1251973"/>
                </a:cubicBezTo>
                <a:cubicBezTo>
                  <a:pt x="84835" y="1258621"/>
                  <a:pt x="80871" y="1265391"/>
                  <a:pt x="77029" y="1272161"/>
                </a:cubicBezTo>
                <a:cubicBezTo>
                  <a:pt x="76419" y="1273319"/>
                  <a:pt x="75748" y="1274417"/>
                  <a:pt x="75138" y="1275576"/>
                </a:cubicBezTo>
                <a:cubicBezTo>
                  <a:pt x="71357" y="1282468"/>
                  <a:pt x="67636" y="1289359"/>
                  <a:pt x="64160" y="1296373"/>
                </a:cubicBezTo>
                <a:cubicBezTo>
                  <a:pt x="63672" y="1297349"/>
                  <a:pt x="63184" y="1298386"/>
                  <a:pt x="62696" y="1299362"/>
                </a:cubicBezTo>
                <a:cubicBezTo>
                  <a:pt x="59098" y="1306558"/>
                  <a:pt x="55683" y="1313816"/>
                  <a:pt x="52389" y="1321134"/>
                </a:cubicBezTo>
                <a:cubicBezTo>
                  <a:pt x="52023" y="1321988"/>
                  <a:pt x="51658" y="1322781"/>
                  <a:pt x="51292" y="1323635"/>
                </a:cubicBezTo>
                <a:cubicBezTo>
                  <a:pt x="49096" y="1328636"/>
                  <a:pt x="46961" y="1333637"/>
                  <a:pt x="44887" y="1338699"/>
                </a:cubicBezTo>
                <a:cubicBezTo>
                  <a:pt x="44278" y="1340224"/>
                  <a:pt x="43668" y="1341688"/>
                  <a:pt x="43058" y="1343212"/>
                </a:cubicBezTo>
                <a:cubicBezTo>
                  <a:pt x="40740" y="1349006"/>
                  <a:pt x="38484" y="1354861"/>
                  <a:pt x="36349" y="1360716"/>
                </a:cubicBezTo>
                <a:cubicBezTo>
                  <a:pt x="36166" y="1361143"/>
                  <a:pt x="36044" y="1361570"/>
                  <a:pt x="35861" y="1361997"/>
                </a:cubicBezTo>
                <a:cubicBezTo>
                  <a:pt x="33849" y="1367486"/>
                  <a:pt x="32019" y="1373036"/>
                  <a:pt x="30189" y="1378525"/>
                </a:cubicBezTo>
                <a:cubicBezTo>
                  <a:pt x="29701" y="1380110"/>
                  <a:pt x="29153" y="1381635"/>
                  <a:pt x="28665" y="1383221"/>
                </a:cubicBezTo>
                <a:cubicBezTo>
                  <a:pt x="26835" y="1388954"/>
                  <a:pt x="25066" y="1394687"/>
                  <a:pt x="23420" y="1400420"/>
                </a:cubicBezTo>
                <a:cubicBezTo>
                  <a:pt x="23359" y="1400664"/>
                  <a:pt x="23298" y="1400908"/>
                  <a:pt x="23176" y="1401152"/>
                </a:cubicBezTo>
                <a:cubicBezTo>
                  <a:pt x="21468" y="1407128"/>
                  <a:pt x="19882" y="1413166"/>
                  <a:pt x="18358" y="1419204"/>
                </a:cubicBezTo>
                <a:cubicBezTo>
                  <a:pt x="17931" y="1420790"/>
                  <a:pt x="17565" y="1422375"/>
                  <a:pt x="17199" y="1423900"/>
                </a:cubicBezTo>
                <a:cubicBezTo>
                  <a:pt x="15918" y="1429267"/>
                  <a:pt x="14637" y="1434634"/>
                  <a:pt x="13479" y="1440001"/>
                </a:cubicBezTo>
                <a:cubicBezTo>
                  <a:pt x="13295" y="1440794"/>
                  <a:pt x="13113" y="1441587"/>
                  <a:pt x="12930" y="1442319"/>
                </a:cubicBezTo>
                <a:cubicBezTo>
                  <a:pt x="11649" y="1448357"/>
                  <a:pt x="10490" y="1454394"/>
                  <a:pt x="9392" y="1460493"/>
                </a:cubicBezTo>
                <a:cubicBezTo>
                  <a:pt x="9087" y="1462018"/>
                  <a:pt x="8843" y="1463604"/>
                  <a:pt x="8600" y="1465128"/>
                </a:cubicBezTo>
                <a:cubicBezTo>
                  <a:pt x="7746" y="1470313"/>
                  <a:pt x="6892" y="1475436"/>
                  <a:pt x="6160" y="1480620"/>
                </a:cubicBezTo>
                <a:cubicBezTo>
                  <a:pt x="5977" y="1481717"/>
                  <a:pt x="5794" y="1482815"/>
                  <a:pt x="5672" y="1483974"/>
                </a:cubicBezTo>
                <a:cubicBezTo>
                  <a:pt x="4818" y="1490073"/>
                  <a:pt x="4087" y="1496172"/>
                  <a:pt x="3415" y="1502270"/>
                </a:cubicBezTo>
                <a:cubicBezTo>
                  <a:pt x="3233" y="1503734"/>
                  <a:pt x="3110" y="1505198"/>
                  <a:pt x="2988" y="1506662"/>
                </a:cubicBezTo>
                <a:cubicBezTo>
                  <a:pt x="2501" y="1511785"/>
                  <a:pt x="2013" y="1516908"/>
                  <a:pt x="1647" y="1521970"/>
                </a:cubicBezTo>
                <a:cubicBezTo>
                  <a:pt x="1525" y="1523312"/>
                  <a:pt x="1464" y="1524592"/>
                  <a:pt x="1342" y="1525934"/>
                </a:cubicBezTo>
                <a:cubicBezTo>
                  <a:pt x="915" y="1532033"/>
                  <a:pt x="610" y="1538132"/>
                  <a:pt x="366" y="1544292"/>
                </a:cubicBezTo>
                <a:cubicBezTo>
                  <a:pt x="366" y="1545633"/>
                  <a:pt x="305" y="1546975"/>
                  <a:pt x="244" y="1548317"/>
                </a:cubicBezTo>
                <a:cubicBezTo>
                  <a:pt x="122" y="1553440"/>
                  <a:pt x="0" y="1558563"/>
                  <a:pt x="0" y="1563686"/>
                </a:cubicBezTo>
                <a:cubicBezTo>
                  <a:pt x="0" y="1565150"/>
                  <a:pt x="0" y="1566613"/>
                  <a:pt x="0" y="1568138"/>
                </a:cubicBezTo>
                <a:cubicBezTo>
                  <a:pt x="0" y="1574237"/>
                  <a:pt x="122" y="1580397"/>
                  <a:pt x="366" y="1586496"/>
                </a:cubicBezTo>
                <a:cubicBezTo>
                  <a:pt x="366" y="1587654"/>
                  <a:pt x="488" y="1588752"/>
                  <a:pt x="488" y="1589850"/>
                </a:cubicBezTo>
                <a:cubicBezTo>
                  <a:pt x="671" y="1595095"/>
                  <a:pt x="976" y="1600279"/>
                  <a:pt x="1342" y="1605524"/>
                </a:cubicBezTo>
                <a:cubicBezTo>
                  <a:pt x="1464" y="1607110"/>
                  <a:pt x="1525" y="1608635"/>
                  <a:pt x="1647" y="1610220"/>
                </a:cubicBezTo>
                <a:cubicBezTo>
                  <a:pt x="2074" y="1616380"/>
                  <a:pt x="2622" y="1622479"/>
                  <a:pt x="3294" y="1628578"/>
                </a:cubicBezTo>
                <a:cubicBezTo>
                  <a:pt x="3354" y="1629371"/>
                  <a:pt x="3476" y="1630164"/>
                  <a:pt x="3537" y="1630956"/>
                </a:cubicBezTo>
                <a:cubicBezTo>
                  <a:pt x="4147" y="1636384"/>
                  <a:pt x="4818" y="1641873"/>
                  <a:pt x="5550" y="1647301"/>
                </a:cubicBezTo>
                <a:cubicBezTo>
                  <a:pt x="5794" y="1648887"/>
                  <a:pt x="5977" y="1650534"/>
                  <a:pt x="6221" y="1652119"/>
                </a:cubicBezTo>
                <a:cubicBezTo>
                  <a:pt x="6648" y="1655230"/>
                  <a:pt x="7197" y="1658279"/>
                  <a:pt x="7685" y="1661390"/>
                </a:cubicBezTo>
                <a:cubicBezTo>
                  <a:pt x="18907" y="1511846"/>
                  <a:pt x="86360" y="1365717"/>
                  <a:pt x="207849" y="1257401"/>
                </a:cubicBezTo>
                <a:cubicBezTo>
                  <a:pt x="313176" y="1163479"/>
                  <a:pt x="442106" y="1113102"/>
                  <a:pt x="572195" y="1105235"/>
                </a:cubicBezTo>
                <a:lnTo>
                  <a:pt x="575366" y="1102917"/>
                </a:lnTo>
                <a:cubicBezTo>
                  <a:pt x="1115969" y="1102917"/>
                  <a:pt x="1554232" y="659896"/>
                  <a:pt x="1554232" y="113378"/>
                </a:cubicBezTo>
                <a:cubicBezTo>
                  <a:pt x="1554232" y="75016"/>
                  <a:pt x="1551976" y="37203"/>
                  <a:pt x="1547768" y="0"/>
                </a:cubicBezTo>
                <a:close/>
              </a:path>
            </a:pathLst>
          </a:custGeom>
          <a:solidFill>
            <a:srgbClr val="0F47F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03" name="Google Shape;503;p2"/>
          <p:cNvSpPr/>
          <p:nvPr/>
        </p:nvSpPr>
        <p:spPr>
          <a:xfrm>
            <a:off x="3598270" y="2171078"/>
            <a:ext cx="2366747" cy="1384440"/>
          </a:xfrm>
          <a:custGeom>
            <a:avLst/>
            <a:gdLst/>
            <a:ahLst/>
            <a:cxnLst/>
            <a:rect l="l" t="t" r="r" b="b"/>
            <a:pathLst>
              <a:path w="2366747" h="1384440" extrusionOk="0">
                <a:moveTo>
                  <a:pt x="195555" y="356783"/>
                </a:moveTo>
                <a:cubicBezTo>
                  <a:pt x="-17905" y="350684"/>
                  <a:pt x="392" y="606836"/>
                  <a:pt x="392" y="606836"/>
                </a:cubicBezTo>
                <a:lnTo>
                  <a:pt x="392" y="1291555"/>
                </a:lnTo>
                <a:lnTo>
                  <a:pt x="3441" y="1286859"/>
                </a:lnTo>
                <a:lnTo>
                  <a:pt x="3441" y="1158783"/>
                </a:lnTo>
                <a:cubicBezTo>
                  <a:pt x="3441" y="1158783"/>
                  <a:pt x="-14855" y="1018509"/>
                  <a:pt x="143715" y="1018509"/>
                </a:cubicBezTo>
                <a:lnTo>
                  <a:pt x="1363486" y="1018509"/>
                </a:lnTo>
                <a:cubicBezTo>
                  <a:pt x="1363486" y="1018509"/>
                  <a:pt x="1479364" y="1006311"/>
                  <a:pt x="1479364" y="1085597"/>
                </a:cubicBezTo>
                <a:lnTo>
                  <a:pt x="1479364" y="1286859"/>
                </a:lnTo>
                <a:cubicBezTo>
                  <a:pt x="1479364" y="1286859"/>
                  <a:pt x="1473266" y="1384441"/>
                  <a:pt x="1576946" y="1384441"/>
                </a:cubicBezTo>
                <a:lnTo>
                  <a:pt x="1994718" y="1384441"/>
                </a:lnTo>
                <a:lnTo>
                  <a:pt x="1994718" y="1149635"/>
                </a:lnTo>
                <a:cubicBezTo>
                  <a:pt x="1994718" y="1149635"/>
                  <a:pt x="1970322" y="954471"/>
                  <a:pt x="2086201" y="954471"/>
                </a:cubicBezTo>
                <a:lnTo>
                  <a:pt x="2366748" y="954471"/>
                </a:lnTo>
                <a:cubicBezTo>
                  <a:pt x="2366748" y="954471"/>
                  <a:pt x="2317957" y="905680"/>
                  <a:pt x="2317957" y="808099"/>
                </a:cubicBezTo>
                <a:lnTo>
                  <a:pt x="2317957" y="673924"/>
                </a:lnTo>
                <a:cubicBezTo>
                  <a:pt x="2317957" y="673924"/>
                  <a:pt x="2330155" y="509255"/>
                  <a:pt x="2147189" y="503156"/>
                </a:cubicBezTo>
                <a:lnTo>
                  <a:pt x="1671478" y="503156"/>
                </a:lnTo>
                <a:cubicBezTo>
                  <a:pt x="1671478" y="503156"/>
                  <a:pt x="1592193" y="503156"/>
                  <a:pt x="1592193" y="417772"/>
                </a:cubicBezTo>
                <a:lnTo>
                  <a:pt x="1592193" y="0"/>
                </a:lnTo>
                <a:lnTo>
                  <a:pt x="415114" y="0"/>
                </a:lnTo>
                <a:lnTo>
                  <a:pt x="415114" y="149422"/>
                </a:lnTo>
                <a:cubicBezTo>
                  <a:pt x="415114" y="289696"/>
                  <a:pt x="409015" y="362882"/>
                  <a:pt x="195555" y="356783"/>
                </a:cubicBezTo>
                <a:close/>
              </a:path>
            </a:pathLst>
          </a:custGeom>
          <a:solidFill>
            <a:schemeClr val="accent2">
              <a:lumMod val="75000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04" name="Google Shape;504;p2"/>
          <p:cNvSpPr/>
          <p:nvPr/>
        </p:nvSpPr>
        <p:spPr>
          <a:xfrm>
            <a:off x="2124755" y="2788466"/>
            <a:ext cx="366" cy="18906"/>
          </a:xfrm>
          <a:custGeom>
            <a:avLst/>
            <a:gdLst/>
            <a:ahLst/>
            <a:cxnLst/>
            <a:rect l="l" t="t" r="r" b="b"/>
            <a:pathLst>
              <a:path w="366" h="18906" extrusionOk="0">
                <a:moveTo>
                  <a:pt x="0" y="0"/>
                </a:moveTo>
                <a:cubicBezTo>
                  <a:pt x="0" y="488"/>
                  <a:pt x="0" y="1037"/>
                  <a:pt x="0" y="1525"/>
                </a:cubicBezTo>
                <a:cubicBezTo>
                  <a:pt x="0" y="7258"/>
                  <a:pt x="61" y="12930"/>
                  <a:pt x="244" y="18662"/>
                </a:cubicBezTo>
                <a:cubicBezTo>
                  <a:pt x="244" y="18723"/>
                  <a:pt x="305" y="18845"/>
                  <a:pt x="366" y="18906"/>
                </a:cubicBezTo>
                <a:cubicBezTo>
                  <a:pt x="183" y="12625"/>
                  <a:pt x="0" y="6343"/>
                  <a:pt x="0" y="0"/>
                </a:cubicBezTo>
                <a:close/>
              </a:path>
            </a:pathLst>
          </a:custGeom>
          <a:solidFill>
            <a:srgbClr val="00B9FF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05" name="Google Shape;505;p2"/>
          <p:cNvSpPr/>
          <p:nvPr/>
        </p:nvSpPr>
        <p:spPr>
          <a:xfrm>
            <a:off x="2124999" y="2807129"/>
            <a:ext cx="743816" cy="725276"/>
          </a:xfrm>
          <a:custGeom>
            <a:avLst/>
            <a:gdLst/>
            <a:ahLst/>
            <a:cxnLst/>
            <a:rect l="l" t="t" r="r" b="b"/>
            <a:pathLst>
              <a:path w="743816" h="725276" extrusionOk="0">
                <a:moveTo>
                  <a:pt x="618790" y="601896"/>
                </a:moveTo>
                <a:lnTo>
                  <a:pt x="621839" y="601408"/>
                </a:lnTo>
                <a:cubicBezTo>
                  <a:pt x="690574" y="601408"/>
                  <a:pt x="743024" y="656725"/>
                  <a:pt x="743756" y="725276"/>
                </a:cubicBezTo>
                <a:cubicBezTo>
                  <a:pt x="743756" y="724727"/>
                  <a:pt x="743816" y="724178"/>
                  <a:pt x="743816" y="723629"/>
                </a:cubicBezTo>
                <a:cubicBezTo>
                  <a:pt x="743816" y="654468"/>
                  <a:pt x="691000" y="598359"/>
                  <a:pt x="621839" y="598359"/>
                </a:cubicBezTo>
                <a:lnTo>
                  <a:pt x="618790" y="598847"/>
                </a:lnTo>
                <a:cubicBezTo>
                  <a:pt x="283719" y="598847"/>
                  <a:pt x="10917" y="332632"/>
                  <a:pt x="122" y="244"/>
                </a:cubicBezTo>
                <a:cubicBezTo>
                  <a:pt x="122" y="183"/>
                  <a:pt x="61" y="61"/>
                  <a:pt x="0" y="0"/>
                </a:cubicBezTo>
                <a:cubicBezTo>
                  <a:pt x="9087" y="333973"/>
                  <a:pt x="282621" y="601896"/>
                  <a:pt x="618790" y="601896"/>
                </a:cubicBezTo>
                <a:close/>
              </a:path>
            </a:pathLst>
          </a:custGeom>
          <a:solidFill>
            <a:srgbClr val="00B9FF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06" name="Google Shape;506;p2"/>
          <p:cNvSpPr/>
          <p:nvPr/>
        </p:nvSpPr>
        <p:spPr>
          <a:xfrm>
            <a:off x="1213891" y="4174797"/>
            <a:ext cx="878052" cy="40008"/>
          </a:xfrm>
          <a:custGeom>
            <a:avLst/>
            <a:gdLst/>
            <a:ahLst/>
            <a:cxnLst/>
            <a:rect l="l" t="t" r="r" b="b"/>
            <a:pathLst>
              <a:path w="878052" h="40008" extrusionOk="0">
                <a:moveTo>
                  <a:pt x="761686" y="32141"/>
                </a:moveTo>
                <a:lnTo>
                  <a:pt x="129540" y="32141"/>
                </a:lnTo>
                <a:cubicBezTo>
                  <a:pt x="83066" y="32141"/>
                  <a:pt x="38911" y="20492"/>
                  <a:pt x="0" y="0"/>
                </a:cubicBezTo>
                <a:cubicBezTo>
                  <a:pt x="38789" y="21163"/>
                  <a:pt x="83310" y="33178"/>
                  <a:pt x="130577" y="33178"/>
                </a:cubicBezTo>
                <a:lnTo>
                  <a:pt x="785777" y="33178"/>
                </a:lnTo>
                <a:cubicBezTo>
                  <a:pt x="817125" y="33178"/>
                  <a:pt x="847985" y="35556"/>
                  <a:pt x="878052" y="40008"/>
                </a:cubicBezTo>
                <a:cubicBezTo>
                  <a:pt x="846094" y="34885"/>
                  <a:pt x="813343" y="32141"/>
                  <a:pt x="779922" y="32141"/>
                </a:cubicBezTo>
                <a:lnTo>
                  <a:pt x="761625" y="32141"/>
                </a:lnTo>
                <a:close/>
              </a:path>
            </a:pathLst>
          </a:custGeom>
          <a:solidFill>
            <a:srgbClr val="00B9FF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07" name="Google Shape;507;p2"/>
          <p:cNvSpPr/>
          <p:nvPr/>
        </p:nvSpPr>
        <p:spPr>
          <a:xfrm>
            <a:off x="2100725" y="4216209"/>
            <a:ext cx="6098" cy="1036"/>
          </a:xfrm>
          <a:custGeom>
            <a:avLst/>
            <a:gdLst/>
            <a:ahLst/>
            <a:cxnLst/>
            <a:rect l="l" t="t" r="r" b="b"/>
            <a:pathLst>
              <a:path w="6098" h="1036" extrusionOk="0">
                <a:moveTo>
                  <a:pt x="6099" y="1037"/>
                </a:moveTo>
                <a:cubicBezTo>
                  <a:pt x="4086" y="671"/>
                  <a:pt x="2074" y="366"/>
                  <a:pt x="0" y="0"/>
                </a:cubicBezTo>
                <a:cubicBezTo>
                  <a:pt x="2013" y="305"/>
                  <a:pt x="4086" y="671"/>
                  <a:pt x="6099" y="1037"/>
                </a:cubicBezTo>
                <a:close/>
              </a:path>
            </a:pathLst>
          </a:custGeom>
          <a:solidFill>
            <a:srgbClr val="00B9FF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08" name="Google Shape;508;p2"/>
          <p:cNvSpPr/>
          <p:nvPr/>
        </p:nvSpPr>
        <p:spPr>
          <a:xfrm>
            <a:off x="3623014" y="3144217"/>
            <a:ext cx="2016882" cy="1040831"/>
          </a:xfrm>
          <a:custGeom>
            <a:avLst/>
            <a:gdLst/>
            <a:ahLst/>
            <a:cxnLst/>
            <a:rect l="l" t="t" r="r" b="b"/>
            <a:pathLst>
              <a:path w="1994325" h="1022233" extrusionOk="0">
                <a:moveTo>
                  <a:pt x="1619246" y="939899"/>
                </a:moveTo>
                <a:lnTo>
                  <a:pt x="1994326" y="939899"/>
                </a:lnTo>
                <a:lnTo>
                  <a:pt x="1994326" y="366607"/>
                </a:lnTo>
                <a:lnTo>
                  <a:pt x="1576554" y="366607"/>
                </a:lnTo>
                <a:cubicBezTo>
                  <a:pt x="1472874" y="366607"/>
                  <a:pt x="1478973" y="269025"/>
                  <a:pt x="1478973" y="269025"/>
                </a:cubicBezTo>
                <a:lnTo>
                  <a:pt x="1478973" y="67763"/>
                </a:lnTo>
                <a:cubicBezTo>
                  <a:pt x="1478973" y="-11522"/>
                  <a:pt x="1363094" y="675"/>
                  <a:pt x="1363094" y="675"/>
                </a:cubicBezTo>
                <a:lnTo>
                  <a:pt x="143323" y="675"/>
                </a:lnTo>
                <a:cubicBezTo>
                  <a:pt x="-15247" y="675"/>
                  <a:pt x="3049" y="140949"/>
                  <a:pt x="3049" y="140949"/>
                </a:cubicBezTo>
                <a:lnTo>
                  <a:pt x="3049" y="269025"/>
                </a:lnTo>
                <a:lnTo>
                  <a:pt x="0" y="273721"/>
                </a:lnTo>
                <a:lnTo>
                  <a:pt x="0" y="413202"/>
                </a:lnTo>
                <a:cubicBezTo>
                  <a:pt x="99838" y="436987"/>
                  <a:pt x="85628" y="539387"/>
                  <a:pt x="85628" y="539387"/>
                </a:cubicBezTo>
                <a:lnTo>
                  <a:pt x="85628" y="778280"/>
                </a:lnTo>
                <a:lnTo>
                  <a:pt x="292745" y="778280"/>
                </a:lnTo>
                <a:cubicBezTo>
                  <a:pt x="292745" y="778280"/>
                  <a:pt x="469612" y="778280"/>
                  <a:pt x="475711" y="906356"/>
                </a:cubicBezTo>
                <a:cubicBezTo>
                  <a:pt x="479858" y="992959"/>
                  <a:pt x="534138" y="1016196"/>
                  <a:pt x="568840" y="1022234"/>
                </a:cubicBezTo>
                <a:lnTo>
                  <a:pt x="1433414" y="1022234"/>
                </a:lnTo>
                <a:cubicBezTo>
                  <a:pt x="1463482" y="974541"/>
                  <a:pt x="1518920" y="937643"/>
                  <a:pt x="1619246" y="939899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09" name="Google Shape;509;p2"/>
          <p:cNvSpPr/>
          <p:nvPr/>
        </p:nvSpPr>
        <p:spPr>
          <a:xfrm>
            <a:off x="1071299" y="3942614"/>
            <a:ext cx="142591" cy="232244"/>
          </a:xfrm>
          <a:custGeom>
            <a:avLst/>
            <a:gdLst/>
            <a:ahLst/>
            <a:cxnLst/>
            <a:rect l="l" t="t" r="r" b="b"/>
            <a:pathLst>
              <a:path w="142591" h="232244" extrusionOk="0">
                <a:moveTo>
                  <a:pt x="142591" y="232184"/>
                </a:moveTo>
                <a:cubicBezTo>
                  <a:pt x="60257" y="187296"/>
                  <a:pt x="3659" y="101180"/>
                  <a:pt x="244" y="1647"/>
                </a:cubicBezTo>
                <a:cubicBezTo>
                  <a:pt x="183" y="1098"/>
                  <a:pt x="61" y="549"/>
                  <a:pt x="0" y="0"/>
                </a:cubicBezTo>
                <a:lnTo>
                  <a:pt x="0" y="46229"/>
                </a:lnTo>
                <a:cubicBezTo>
                  <a:pt x="17138" y="126795"/>
                  <a:pt x="70869" y="194493"/>
                  <a:pt x="142591" y="232245"/>
                </a:cubicBezTo>
                <a:close/>
              </a:path>
            </a:pathLst>
          </a:custGeom>
          <a:solidFill>
            <a:srgbClr val="BD6AFF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chemeClr val="dk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10" name="Google Shape;510;p2"/>
          <p:cNvSpPr/>
          <p:nvPr/>
        </p:nvSpPr>
        <p:spPr>
          <a:xfrm>
            <a:off x="2092065" y="4214806"/>
            <a:ext cx="8721" cy="1402"/>
          </a:xfrm>
          <a:custGeom>
            <a:avLst/>
            <a:gdLst/>
            <a:ahLst/>
            <a:cxnLst/>
            <a:rect l="l" t="t" r="r" b="b"/>
            <a:pathLst>
              <a:path w="8721" h="1402" extrusionOk="0">
                <a:moveTo>
                  <a:pt x="8721" y="1403"/>
                </a:moveTo>
                <a:cubicBezTo>
                  <a:pt x="5794" y="915"/>
                  <a:pt x="2927" y="427"/>
                  <a:pt x="0" y="0"/>
                </a:cubicBezTo>
                <a:cubicBezTo>
                  <a:pt x="2927" y="488"/>
                  <a:pt x="5855" y="915"/>
                  <a:pt x="8721" y="1403"/>
                </a:cubicBezTo>
                <a:close/>
              </a:path>
            </a:pathLst>
          </a:custGeom>
          <a:solidFill>
            <a:srgbClr val="BD6AFF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11" name="Google Shape;511;p2"/>
          <p:cNvSpPr/>
          <p:nvPr/>
        </p:nvSpPr>
        <p:spPr>
          <a:xfrm>
            <a:off x="3336532" y="3976924"/>
            <a:ext cx="1683782" cy="1049796"/>
          </a:xfrm>
          <a:custGeom>
            <a:avLst/>
            <a:gdLst/>
            <a:ahLst/>
            <a:cxnLst/>
            <a:rect l="l" t="t" r="r" b="b"/>
            <a:pathLst>
              <a:path w="1683782" h="1049796" extrusionOk="0">
                <a:moveTo>
                  <a:pt x="1683661" y="244686"/>
                </a:moveTo>
                <a:lnTo>
                  <a:pt x="819087" y="244686"/>
                </a:lnTo>
                <a:cubicBezTo>
                  <a:pt x="784323" y="238648"/>
                  <a:pt x="730043" y="215412"/>
                  <a:pt x="725957" y="128808"/>
                </a:cubicBezTo>
                <a:cubicBezTo>
                  <a:pt x="719858" y="732"/>
                  <a:pt x="542991" y="732"/>
                  <a:pt x="542991" y="732"/>
                </a:cubicBezTo>
                <a:lnTo>
                  <a:pt x="134368" y="732"/>
                </a:lnTo>
                <a:cubicBezTo>
                  <a:pt x="134368" y="732"/>
                  <a:pt x="-5906" y="-17565"/>
                  <a:pt x="193" y="128808"/>
                </a:cubicBezTo>
                <a:lnTo>
                  <a:pt x="193" y="751989"/>
                </a:lnTo>
                <a:lnTo>
                  <a:pt x="257138" y="751989"/>
                </a:lnTo>
                <a:cubicBezTo>
                  <a:pt x="266774" y="752599"/>
                  <a:pt x="275313" y="753941"/>
                  <a:pt x="282875" y="755953"/>
                </a:cubicBezTo>
                <a:cubicBezTo>
                  <a:pt x="353683" y="774311"/>
                  <a:pt x="339412" y="845545"/>
                  <a:pt x="339412" y="845545"/>
                </a:cubicBezTo>
                <a:lnTo>
                  <a:pt x="339412" y="1031805"/>
                </a:lnTo>
                <a:lnTo>
                  <a:pt x="339290" y="1047723"/>
                </a:lnTo>
                <a:lnTo>
                  <a:pt x="1653044" y="1047723"/>
                </a:lnTo>
                <a:lnTo>
                  <a:pt x="1653044" y="1049796"/>
                </a:lnTo>
                <a:lnTo>
                  <a:pt x="1656094" y="1049796"/>
                </a:lnTo>
                <a:lnTo>
                  <a:pt x="1656094" y="442960"/>
                </a:lnTo>
                <a:cubicBezTo>
                  <a:pt x="1656094" y="442960"/>
                  <a:pt x="1631942" y="329216"/>
                  <a:pt x="1682624" y="246577"/>
                </a:cubicBezTo>
                <a:cubicBezTo>
                  <a:pt x="1682989" y="245967"/>
                  <a:pt x="1683355" y="245357"/>
                  <a:pt x="1683782" y="244747"/>
                </a:cubicBezTo>
                <a:close/>
              </a:path>
            </a:pathLst>
          </a:custGeom>
          <a:solidFill>
            <a:schemeClr val="accent2">
              <a:lumMod val="50000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12" name="Google Shape;512;p2"/>
          <p:cNvSpPr/>
          <p:nvPr/>
        </p:nvSpPr>
        <p:spPr>
          <a:xfrm>
            <a:off x="3536701" y="5014000"/>
            <a:ext cx="1463725" cy="1053577"/>
          </a:xfrm>
          <a:custGeom>
            <a:avLst/>
            <a:gdLst/>
            <a:ahLst/>
            <a:cxnLst/>
            <a:rect l="l" t="t" r="r" b="b"/>
            <a:pathLst>
              <a:path w="1463725" h="1053577" extrusionOk="0">
                <a:moveTo>
                  <a:pt x="1443050" y="0"/>
                </a:moveTo>
                <a:lnTo>
                  <a:pt x="149971" y="0"/>
                </a:lnTo>
                <a:lnTo>
                  <a:pt x="149971" y="2074"/>
                </a:lnTo>
                <a:lnTo>
                  <a:pt x="132467" y="2074"/>
                </a:lnTo>
                <a:lnTo>
                  <a:pt x="132467" y="56049"/>
                </a:lnTo>
                <a:cubicBezTo>
                  <a:pt x="132467" y="56049"/>
                  <a:pt x="143567" y="160461"/>
                  <a:pt x="69893" y="160461"/>
                </a:cubicBezTo>
                <a:cubicBezTo>
                  <a:pt x="69893" y="160461"/>
                  <a:pt x="3781" y="158509"/>
                  <a:pt x="0" y="285366"/>
                </a:cubicBezTo>
                <a:lnTo>
                  <a:pt x="0" y="1048089"/>
                </a:lnTo>
                <a:lnTo>
                  <a:pt x="142713" y="1048089"/>
                </a:lnTo>
                <a:lnTo>
                  <a:pt x="142713" y="1053577"/>
                </a:lnTo>
                <a:cubicBezTo>
                  <a:pt x="142713" y="1053577"/>
                  <a:pt x="1463725" y="1053577"/>
                  <a:pt x="1463725" y="1053577"/>
                </a:cubicBezTo>
                <a:lnTo>
                  <a:pt x="1463725" y="61"/>
                </a:lnTo>
                <a:lnTo>
                  <a:pt x="1443111" y="61"/>
                </a:lnTo>
                <a:close/>
              </a:path>
            </a:pathLst>
          </a:cu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13" name="Google Shape;513;p2"/>
          <p:cNvSpPr/>
          <p:nvPr/>
        </p:nvSpPr>
        <p:spPr>
          <a:xfrm>
            <a:off x="5488624" y="2155886"/>
            <a:ext cx="2838606" cy="2180165"/>
          </a:xfrm>
          <a:custGeom>
            <a:avLst/>
            <a:gdLst/>
            <a:ahLst/>
            <a:cxnLst/>
            <a:rect l="l" t="t" r="r" b="b"/>
            <a:pathLst>
              <a:path w="2737417" h="2165094" extrusionOk="0">
                <a:moveTo>
                  <a:pt x="1758613" y="0"/>
                </a:moveTo>
                <a:lnTo>
                  <a:pt x="1734400" y="0"/>
                </a:lnTo>
                <a:cubicBezTo>
                  <a:pt x="1734400" y="0"/>
                  <a:pt x="1734217" y="0"/>
                  <a:pt x="1734217" y="0"/>
                </a:cubicBezTo>
                <a:lnTo>
                  <a:pt x="1734217" y="265300"/>
                </a:lnTo>
                <a:cubicBezTo>
                  <a:pt x="1734156" y="267008"/>
                  <a:pt x="1734034" y="268716"/>
                  <a:pt x="1733973" y="270362"/>
                </a:cubicBezTo>
                <a:cubicBezTo>
                  <a:pt x="1719885" y="539688"/>
                  <a:pt x="1550885" y="533650"/>
                  <a:pt x="1496361" y="533650"/>
                </a:cubicBezTo>
                <a:cubicBezTo>
                  <a:pt x="1441838" y="533650"/>
                  <a:pt x="1453669" y="631232"/>
                  <a:pt x="1453669" y="631232"/>
                </a:cubicBezTo>
                <a:cubicBezTo>
                  <a:pt x="1453669" y="631232"/>
                  <a:pt x="1459768" y="869087"/>
                  <a:pt x="1453669" y="923977"/>
                </a:cubicBezTo>
                <a:cubicBezTo>
                  <a:pt x="1447571" y="978867"/>
                  <a:pt x="1368285" y="984965"/>
                  <a:pt x="1368285" y="984965"/>
                </a:cubicBezTo>
                <a:lnTo>
                  <a:pt x="496149" y="984965"/>
                </a:lnTo>
                <a:cubicBezTo>
                  <a:pt x="386370" y="984965"/>
                  <a:pt x="374172" y="954471"/>
                  <a:pt x="374172" y="954471"/>
                </a:cubicBezTo>
                <a:lnTo>
                  <a:pt x="93625" y="954471"/>
                </a:lnTo>
                <a:cubicBezTo>
                  <a:pt x="-22254" y="954471"/>
                  <a:pt x="2142" y="1149635"/>
                  <a:pt x="2142" y="1149635"/>
                </a:cubicBezTo>
                <a:lnTo>
                  <a:pt x="2142" y="2165094"/>
                </a:lnTo>
                <a:lnTo>
                  <a:pt x="1297966" y="2165094"/>
                </a:lnTo>
                <a:cubicBezTo>
                  <a:pt x="1299795" y="2163021"/>
                  <a:pt x="1301686" y="2161008"/>
                  <a:pt x="1303516" y="2158995"/>
                </a:cubicBezTo>
                <a:lnTo>
                  <a:pt x="1362187" y="2158995"/>
                </a:lnTo>
                <a:lnTo>
                  <a:pt x="1364382" y="2158873"/>
                </a:lnTo>
                <a:cubicBezTo>
                  <a:pt x="1363833" y="2159422"/>
                  <a:pt x="1363345" y="2159971"/>
                  <a:pt x="1362797" y="2160520"/>
                </a:cubicBezTo>
                <a:cubicBezTo>
                  <a:pt x="1366029" y="2157288"/>
                  <a:pt x="1369261" y="2154055"/>
                  <a:pt x="1372555" y="2150884"/>
                </a:cubicBezTo>
                <a:cubicBezTo>
                  <a:pt x="1373836" y="2149664"/>
                  <a:pt x="1375055" y="2148444"/>
                  <a:pt x="1376336" y="2147286"/>
                </a:cubicBezTo>
                <a:cubicBezTo>
                  <a:pt x="1381154" y="2142651"/>
                  <a:pt x="1386094" y="2138076"/>
                  <a:pt x="1391095" y="2133624"/>
                </a:cubicBezTo>
                <a:cubicBezTo>
                  <a:pt x="1495203" y="2040799"/>
                  <a:pt x="1622364" y="1990545"/>
                  <a:pt x="1750867" y="1981702"/>
                </a:cubicBezTo>
                <a:lnTo>
                  <a:pt x="1758552" y="1979140"/>
                </a:lnTo>
                <a:cubicBezTo>
                  <a:pt x="2290249" y="1979140"/>
                  <a:pt x="2722964" y="1550573"/>
                  <a:pt x="2737052" y="1016496"/>
                </a:cubicBezTo>
                <a:cubicBezTo>
                  <a:pt x="2737296" y="1007592"/>
                  <a:pt x="2737418" y="998627"/>
                  <a:pt x="2737418" y="989600"/>
                </a:cubicBezTo>
                <a:cubicBezTo>
                  <a:pt x="2737418" y="443082"/>
                  <a:pt x="2299154" y="61"/>
                  <a:pt x="1758552" y="61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514" name="Google Shape;514;p2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3561730" y="5541269"/>
            <a:ext cx="807864" cy="177422"/>
          </a:xfrm>
          <a:prstGeom prst="rect">
            <a:avLst/>
          </a:prstGeom>
          <a:noFill/>
          <a:ln>
            <a:noFill/>
          </a:ln>
        </p:spPr>
      </p:pic>
      <p:pic>
        <p:nvPicPr>
          <p:cNvPr id="515" name="Google Shape;515;p2" descr="Apache HBase – Apache HBase™ Home"/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4189273" y="5182171"/>
            <a:ext cx="750127" cy="191523"/>
          </a:xfrm>
          <a:prstGeom prst="rect">
            <a:avLst/>
          </a:prstGeom>
          <a:noFill/>
          <a:ln>
            <a:noFill/>
          </a:ln>
        </p:spPr>
      </p:pic>
      <p:pic>
        <p:nvPicPr>
          <p:cNvPr id="516" name="Google Shape;516;p2"/>
          <p:cNvPicPr preferRelativeResize="0"/>
          <p:nvPr/>
        </p:nvPicPr>
        <p:blipFill rotWithShape="1">
          <a:blip r:embed="rId5">
            <a:alphaModFix/>
          </a:blip>
          <a:srcRect/>
          <a:stretch/>
        </p:blipFill>
        <p:spPr>
          <a:xfrm>
            <a:off x="3742756" y="5123009"/>
            <a:ext cx="281980" cy="284793"/>
          </a:xfrm>
          <a:prstGeom prst="rect">
            <a:avLst/>
          </a:prstGeom>
          <a:noFill/>
          <a:ln>
            <a:noFill/>
          </a:ln>
        </p:spPr>
      </p:pic>
      <p:pic>
        <p:nvPicPr>
          <p:cNvPr id="517" name="Google Shape;517;p2"/>
          <p:cNvPicPr preferRelativeResize="0"/>
          <p:nvPr/>
        </p:nvPicPr>
        <p:blipFill rotWithShape="1">
          <a:blip r:embed="rId6">
            <a:alphaModFix/>
          </a:blip>
          <a:srcRect/>
          <a:stretch/>
        </p:blipFill>
        <p:spPr>
          <a:xfrm>
            <a:off x="4072259" y="5807205"/>
            <a:ext cx="856764" cy="230999"/>
          </a:xfrm>
          <a:prstGeom prst="rect">
            <a:avLst/>
          </a:prstGeom>
          <a:noFill/>
          <a:ln>
            <a:noFill/>
          </a:ln>
        </p:spPr>
      </p:pic>
      <p:pic>
        <p:nvPicPr>
          <p:cNvPr id="518" name="Google Shape;518;p2" descr="MQTT to Cassandra in Real-Time"/>
          <p:cNvPicPr preferRelativeResize="0"/>
          <p:nvPr/>
        </p:nvPicPr>
        <p:blipFill rotWithShape="1">
          <a:blip r:embed="rId7">
            <a:alphaModFix/>
          </a:blip>
          <a:srcRect/>
          <a:stretch/>
        </p:blipFill>
        <p:spPr>
          <a:xfrm>
            <a:off x="4420677" y="5461840"/>
            <a:ext cx="459927" cy="344706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519" name="Google Shape;519;p2"/>
          <p:cNvCxnSpPr/>
          <p:nvPr/>
        </p:nvCxnSpPr>
        <p:spPr>
          <a:xfrm rot="10800000">
            <a:off x="1041982" y="2511505"/>
            <a:ext cx="1280100" cy="508500"/>
          </a:xfrm>
          <a:prstGeom prst="bentConnector3">
            <a:avLst>
              <a:gd name="adj1" fmla="val 18574"/>
            </a:avLst>
          </a:prstGeom>
          <a:noFill/>
          <a:ln w="12700" cap="flat" cmpd="sng">
            <a:solidFill>
              <a:schemeClr val="dk1"/>
            </a:solidFill>
            <a:prstDash val="dash"/>
            <a:round/>
            <a:headEnd type="none" w="sm" len="sm"/>
            <a:tailEnd type="none" w="sm" len="sm"/>
          </a:ln>
        </p:spPr>
      </p:cxnSp>
      <p:pic>
        <p:nvPicPr>
          <p:cNvPr id="520" name="Google Shape;520;p2"/>
          <p:cNvPicPr preferRelativeResize="0"/>
          <p:nvPr/>
        </p:nvPicPr>
        <p:blipFill rotWithShape="1">
          <a:blip r:embed="rId8">
            <a:alphaModFix/>
          </a:blip>
          <a:srcRect/>
          <a:stretch/>
        </p:blipFill>
        <p:spPr>
          <a:xfrm>
            <a:off x="3852406" y="3233861"/>
            <a:ext cx="590440" cy="332130"/>
          </a:xfrm>
          <a:prstGeom prst="rect">
            <a:avLst/>
          </a:prstGeom>
          <a:noFill/>
          <a:ln>
            <a:noFill/>
          </a:ln>
        </p:spPr>
      </p:pic>
      <p:pic>
        <p:nvPicPr>
          <p:cNvPr id="521" name="Google Shape;521;p2"/>
          <p:cNvPicPr preferRelativeResize="0"/>
          <p:nvPr/>
        </p:nvPicPr>
        <p:blipFill rotWithShape="1">
          <a:blip r:embed="rId9">
            <a:alphaModFix/>
          </a:blip>
          <a:srcRect/>
          <a:stretch/>
        </p:blipFill>
        <p:spPr>
          <a:xfrm>
            <a:off x="4166011" y="4240221"/>
            <a:ext cx="777318" cy="200115"/>
          </a:xfrm>
          <a:prstGeom prst="rect">
            <a:avLst/>
          </a:prstGeom>
          <a:noFill/>
          <a:ln>
            <a:noFill/>
          </a:ln>
        </p:spPr>
      </p:pic>
      <p:pic>
        <p:nvPicPr>
          <p:cNvPr id="522" name="Google Shape;522;p2" descr="Brand Assets - Prefect"/>
          <p:cNvPicPr preferRelativeResize="0"/>
          <p:nvPr/>
        </p:nvPicPr>
        <p:blipFill rotWithShape="1">
          <a:blip r:embed="rId10">
            <a:alphaModFix/>
          </a:blip>
          <a:srcRect/>
          <a:stretch/>
        </p:blipFill>
        <p:spPr>
          <a:xfrm>
            <a:off x="4419613" y="3329943"/>
            <a:ext cx="581819" cy="148917"/>
          </a:xfrm>
          <a:prstGeom prst="rect">
            <a:avLst/>
          </a:prstGeom>
          <a:noFill/>
          <a:ln>
            <a:noFill/>
          </a:ln>
        </p:spPr>
      </p:pic>
      <p:pic>
        <p:nvPicPr>
          <p:cNvPr id="523" name="Google Shape;523;p2" descr="Kubeflow logo? · Issue #187 · kubeflow/kubeflow · GitHub"/>
          <p:cNvPicPr preferRelativeResize="0"/>
          <p:nvPr/>
        </p:nvPicPr>
        <p:blipFill rotWithShape="1">
          <a:blip r:embed="rId11">
            <a:alphaModFix/>
          </a:blip>
          <a:srcRect/>
          <a:stretch/>
        </p:blipFill>
        <p:spPr>
          <a:xfrm>
            <a:off x="4355532" y="3626624"/>
            <a:ext cx="503600" cy="503600"/>
          </a:xfrm>
          <a:prstGeom prst="rect">
            <a:avLst/>
          </a:prstGeom>
          <a:noFill/>
          <a:ln>
            <a:noFill/>
          </a:ln>
        </p:spPr>
      </p:pic>
      <p:pic>
        <p:nvPicPr>
          <p:cNvPr id="524" name="Google Shape;524;p2" descr="GitHub - Netflix/metaflow: Build and manage real-life data science projects  with ease!"/>
          <p:cNvPicPr preferRelativeResize="0"/>
          <p:nvPr/>
        </p:nvPicPr>
        <p:blipFill rotWithShape="1">
          <a:blip r:embed="rId12">
            <a:alphaModFix/>
          </a:blip>
          <a:srcRect/>
          <a:stretch/>
        </p:blipFill>
        <p:spPr>
          <a:xfrm>
            <a:off x="3707035" y="3588665"/>
            <a:ext cx="735811" cy="367906"/>
          </a:xfrm>
          <a:prstGeom prst="rect">
            <a:avLst/>
          </a:prstGeom>
          <a:noFill/>
          <a:ln>
            <a:noFill/>
          </a:ln>
        </p:spPr>
      </p:pic>
      <p:pic>
        <p:nvPicPr>
          <p:cNvPr id="525" name="Google Shape;525;p2" descr="Managed MLflow – Databricks"/>
          <p:cNvPicPr preferRelativeResize="0"/>
          <p:nvPr/>
        </p:nvPicPr>
        <p:blipFill rotWithShape="1">
          <a:blip r:embed="rId13">
            <a:alphaModFix/>
          </a:blip>
          <a:srcRect/>
          <a:stretch/>
        </p:blipFill>
        <p:spPr>
          <a:xfrm>
            <a:off x="4792813" y="3730292"/>
            <a:ext cx="558784" cy="215894"/>
          </a:xfrm>
          <a:prstGeom prst="rect">
            <a:avLst/>
          </a:prstGeom>
          <a:noFill/>
          <a:ln>
            <a:noFill/>
          </a:ln>
        </p:spPr>
      </p:pic>
      <p:pic>
        <p:nvPicPr>
          <p:cNvPr id="526" name="Google Shape;526;p2" descr="Text&#10;&#10;Description automatically generated with medium confidence"/>
          <p:cNvPicPr preferRelativeResize="0"/>
          <p:nvPr/>
        </p:nvPicPr>
        <p:blipFill rotWithShape="1">
          <a:blip r:embed="rId14">
            <a:alphaModFix/>
          </a:blip>
          <a:srcRect/>
          <a:stretch/>
        </p:blipFill>
        <p:spPr>
          <a:xfrm>
            <a:off x="3467616" y="4183880"/>
            <a:ext cx="607423" cy="302092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527" name="Google Shape;527;p2"/>
          <p:cNvCxnSpPr/>
          <p:nvPr/>
        </p:nvCxnSpPr>
        <p:spPr>
          <a:xfrm rot="10800000">
            <a:off x="279845" y="3251209"/>
            <a:ext cx="3483300" cy="285300"/>
          </a:xfrm>
          <a:prstGeom prst="bentConnector3">
            <a:avLst>
              <a:gd name="adj1" fmla="val 50001"/>
            </a:avLst>
          </a:prstGeom>
          <a:noFill/>
          <a:ln w="12700" cap="flat" cmpd="sng">
            <a:solidFill>
              <a:schemeClr val="dk1"/>
            </a:solidFill>
            <a:prstDash val="dash"/>
            <a:round/>
            <a:headEnd type="none" w="sm" len="sm"/>
            <a:tailEnd type="none" w="sm" len="sm"/>
          </a:ln>
        </p:spPr>
      </p:cxnSp>
      <p:sp>
        <p:nvSpPr>
          <p:cNvPr id="528" name="Google Shape;528;p2"/>
          <p:cNvSpPr/>
          <p:nvPr/>
        </p:nvSpPr>
        <p:spPr>
          <a:xfrm>
            <a:off x="3747492" y="3502786"/>
            <a:ext cx="68414" cy="69975"/>
          </a:xfrm>
          <a:prstGeom prst="ellipse">
            <a:avLst/>
          </a:prstGeom>
          <a:solidFill>
            <a:schemeClr val="dk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29" name="Google Shape;529;p2"/>
          <p:cNvSpPr txBox="1"/>
          <p:nvPr/>
        </p:nvSpPr>
        <p:spPr>
          <a:xfrm>
            <a:off x="248437" y="2899412"/>
            <a:ext cx="1689036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Arial"/>
              <a:buNone/>
            </a:pPr>
            <a:r>
              <a:rPr lang="en-US" sz="1600" b="1" i="0" u="none" strike="noStrike" cap="none" dirty="0" err="1">
                <a:solidFill>
                  <a:schemeClr val="accent4"/>
                </a:solidFill>
                <a:latin typeface="Calibri"/>
                <a:ea typeface="Calibri"/>
                <a:cs typeface="Calibri"/>
                <a:sym typeface="Calibri"/>
              </a:rPr>
              <a:t>Orchestartion</a:t>
            </a:r>
            <a:endParaRPr sz="1600" b="1" i="0" u="none" strike="noStrike" cap="none" dirty="0">
              <a:solidFill>
                <a:schemeClr val="accent4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30" name="Google Shape;530;p2"/>
          <p:cNvSpPr/>
          <p:nvPr/>
        </p:nvSpPr>
        <p:spPr>
          <a:xfrm>
            <a:off x="2574555" y="4389082"/>
            <a:ext cx="68414" cy="69975"/>
          </a:xfrm>
          <a:prstGeom prst="ellipse">
            <a:avLst/>
          </a:prstGeom>
          <a:solidFill>
            <a:schemeClr val="dk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531" name="Google Shape;531;p2"/>
          <p:cNvCxnSpPr/>
          <p:nvPr/>
        </p:nvCxnSpPr>
        <p:spPr>
          <a:xfrm flipH="1">
            <a:off x="1004072" y="4626662"/>
            <a:ext cx="2549700" cy="888000"/>
          </a:xfrm>
          <a:prstGeom prst="bentConnector3">
            <a:avLst>
              <a:gd name="adj1" fmla="val 49998"/>
            </a:avLst>
          </a:prstGeom>
          <a:noFill/>
          <a:ln w="12700" cap="flat" cmpd="sng">
            <a:solidFill>
              <a:schemeClr val="dk1"/>
            </a:solidFill>
            <a:prstDash val="dash"/>
            <a:round/>
            <a:headEnd type="none" w="sm" len="sm"/>
            <a:tailEnd type="none" w="sm" len="sm"/>
          </a:ln>
        </p:spPr>
      </p:cxnSp>
      <p:sp>
        <p:nvSpPr>
          <p:cNvPr id="532" name="Google Shape;532;p2"/>
          <p:cNvSpPr/>
          <p:nvPr/>
        </p:nvSpPr>
        <p:spPr>
          <a:xfrm>
            <a:off x="3538118" y="4592942"/>
            <a:ext cx="68414" cy="69975"/>
          </a:xfrm>
          <a:prstGeom prst="ellipse">
            <a:avLst/>
          </a:prstGeom>
          <a:solidFill>
            <a:schemeClr val="dk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33" name="Google Shape;533;p2"/>
          <p:cNvSpPr txBox="1"/>
          <p:nvPr/>
        </p:nvSpPr>
        <p:spPr>
          <a:xfrm>
            <a:off x="1013064" y="5165068"/>
            <a:ext cx="1602820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0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Arial"/>
              <a:buNone/>
            </a:pPr>
            <a:r>
              <a:rPr lang="en-US" sz="1600" b="1" i="0" u="none" strike="noStrike" cap="none">
                <a:solidFill>
                  <a:schemeClr val="accent4"/>
                </a:solidFill>
                <a:latin typeface="Calibri"/>
                <a:ea typeface="Calibri"/>
                <a:cs typeface="Calibri"/>
                <a:sym typeface="Calibri"/>
              </a:rPr>
              <a:t>Containerization</a:t>
            </a:r>
            <a:endParaRPr/>
          </a:p>
        </p:txBody>
      </p:sp>
      <p:cxnSp>
        <p:nvCxnSpPr>
          <p:cNvPr id="534" name="Google Shape;534;p2"/>
          <p:cNvCxnSpPr/>
          <p:nvPr/>
        </p:nvCxnSpPr>
        <p:spPr>
          <a:xfrm flipH="1">
            <a:off x="1918952" y="5688304"/>
            <a:ext cx="902100" cy="815400"/>
          </a:xfrm>
          <a:prstGeom prst="bentConnector3">
            <a:avLst>
              <a:gd name="adj1" fmla="val 50003"/>
            </a:avLst>
          </a:prstGeom>
          <a:noFill/>
          <a:ln w="12700" cap="flat" cmpd="sng">
            <a:solidFill>
              <a:schemeClr val="dk1"/>
            </a:solidFill>
            <a:prstDash val="dash"/>
            <a:round/>
            <a:headEnd type="none" w="sm" len="sm"/>
            <a:tailEnd type="none" w="sm" len="sm"/>
          </a:ln>
        </p:spPr>
      </p:cxnSp>
      <p:sp>
        <p:nvSpPr>
          <p:cNvPr id="535" name="Google Shape;535;p2"/>
          <p:cNvSpPr txBox="1"/>
          <p:nvPr/>
        </p:nvSpPr>
        <p:spPr>
          <a:xfrm>
            <a:off x="1075199" y="6182628"/>
            <a:ext cx="1586529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Arial"/>
              <a:buNone/>
            </a:pPr>
            <a:r>
              <a:rPr lang="en-US" sz="1600" b="1" i="0" u="none" strike="noStrike" cap="none">
                <a:solidFill>
                  <a:schemeClr val="accent4"/>
                </a:solidFill>
                <a:latin typeface="Calibri"/>
                <a:ea typeface="Calibri"/>
                <a:cs typeface="Calibri"/>
                <a:sym typeface="Calibri"/>
              </a:rPr>
              <a:t>Warehousing</a:t>
            </a:r>
            <a:endParaRPr/>
          </a:p>
        </p:txBody>
      </p:sp>
      <p:cxnSp>
        <p:nvCxnSpPr>
          <p:cNvPr id="536" name="Google Shape;536;p2"/>
          <p:cNvCxnSpPr/>
          <p:nvPr/>
        </p:nvCxnSpPr>
        <p:spPr>
          <a:xfrm flipH="1">
            <a:off x="3044308" y="5970654"/>
            <a:ext cx="754800" cy="559500"/>
          </a:xfrm>
          <a:prstGeom prst="bentConnector3">
            <a:avLst>
              <a:gd name="adj1" fmla="val 4745"/>
            </a:avLst>
          </a:prstGeom>
          <a:noFill/>
          <a:ln w="12700" cap="flat" cmpd="sng">
            <a:solidFill>
              <a:schemeClr val="dk1"/>
            </a:solidFill>
            <a:prstDash val="dash"/>
            <a:round/>
            <a:headEnd type="none" w="sm" len="sm"/>
            <a:tailEnd type="none" w="sm" len="sm"/>
          </a:ln>
        </p:spPr>
      </p:cxnSp>
      <p:sp>
        <p:nvSpPr>
          <p:cNvPr id="537" name="Google Shape;537;p2"/>
          <p:cNvSpPr/>
          <p:nvPr/>
        </p:nvSpPr>
        <p:spPr>
          <a:xfrm>
            <a:off x="3735332" y="5910768"/>
            <a:ext cx="68414" cy="69975"/>
          </a:xfrm>
          <a:prstGeom prst="ellipse">
            <a:avLst/>
          </a:prstGeom>
          <a:solidFill>
            <a:schemeClr val="dk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38" name="Google Shape;538;p2"/>
          <p:cNvSpPr txBox="1"/>
          <p:nvPr/>
        </p:nvSpPr>
        <p:spPr>
          <a:xfrm>
            <a:off x="3036045" y="6236583"/>
            <a:ext cx="886064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Arial"/>
              <a:buNone/>
            </a:pPr>
            <a:r>
              <a:rPr lang="en-US" sz="1600" b="1" i="0" u="none" strike="noStrike" cap="none">
                <a:solidFill>
                  <a:schemeClr val="accent4"/>
                </a:solidFill>
                <a:latin typeface="Calibri"/>
                <a:ea typeface="Calibri"/>
                <a:cs typeface="Calibri"/>
                <a:sym typeface="Calibri"/>
              </a:rPr>
              <a:t>NOSQL</a:t>
            </a:r>
            <a:endParaRPr/>
          </a:p>
        </p:txBody>
      </p:sp>
      <p:cxnSp>
        <p:nvCxnSpPr>
          <p:cNvPr id="539" name="Google Shape;539;p2"/>
          <p:cNvCxnSpPr/>
          <p:nvPr/>
        </p:nvCxnSpPr>
        <p:spPr>
          <a:xfrm flipH="1">
            <a:off x="5160096" y="6026071"/>
            <a:ext cx="1188600" cy="457200"/>
          </a:xfrm>
          <a:prstGeom prst="bentConnector3">
            <a:avLst>
              <a:gd name="adj1" fmla="val -818"/>
            </a:avLst>
          </a:prstGeom>
          <a:noFill/>
          <a:ln w="12700" cap="flat" cmpd="sng">
            <a:solidFill>
              <a:schemeClr val="dk1"/>
            </a:solidFill>
            <a:prstDash val="dash"/>
            <a:round/>
            <a:headEnd type="none" w="sm" len="sm"/>
            <a:tailEnd type="none" w="sm" len="sm"/>
          </a:ln>
        </p:spPr>
      </p:cxnSp>
      <p:sp>
        <p:nvSpPr>
          <p:cNvPr id="540" name="Google Shape;540;p2"/>
          <p:cNvSpPr txBox="1"/>
          <p:nvPr/>
        </p:nvSpPr>
        <p:spPr>
          <a:xfrm>
            <a:off x="5073396" y="6167147"/>
            <a:ext cx="1403991" cy="5847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Arial"/>
              <a:buNone/>
            </a:pPr>
            <a:r>
              <a:rPr lang="en-US" sz="1600" b="1" i="0" u="none" strike="noStrike" cap="none">
                <a:solidFill>
                  <a:schemeClr val="accent4"/>
                </a:solidFill>
                <a:latin typeface="Calibri"/>
                <a:ea typeface="Calibri"/>
                <a:cs typeface="Calibri"/>
                <a:sym typeface="Calibri"/>
              </a:rPr>
              <a:t>Big Data/</a:t>
            </a:r>
            <a:endParaRPr/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Arial"/>
              <a:buNone/>
            </a:pPr>
            <a:r>
              <a:rPr lang="en-US" sz="1600" b="1" i="0" u="none" strike="noStrike" cap="none">
                <a:solidFill>
                  <a:schemeClr val="accent4"/>
                </a:solidFill>
                <a:latin typeface="Calibri"/>
                <a:ea typeface="Calibri"/>
                <a:cs typeface="Calibri"/>
                <a:sym typeface="Calibri"/>
              </a:rPr>
              <a:t>Distributed</a:t>
            </a:r>
            <a:endParaRPr/>
          </a:p>
        </p:txBody>
      </p:sp>
      <p:sp>
        <p:nvSpPr>
          <p:cNvPr id="541" name="Google Shape;541;p2"/>
          <p:cNvSpPr/>
          <p:nvPr/>
        </p:nvSpPr>
        <p:spPr>
          <a:xfrm>
            <a:off x="2266284" y="2970761"/>
            <a:ext cx="68414" cy="69975"/>
          </a:xfrm>
          <a:prstGeom prst="ellipse">
            <a:avLst/>
          </a:prstGeom>
          <a:solidFill>
            <a:schemeClr val="dk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542" name="Google Shape;542;p2"/>
          <p:cNvCxnSpPr>
            <a:cxnSpLocks/>
          </p:cNvCxnSpPr>
          <p:nvPr/>
        </p:nvCxnSpPr>
        <p:spPr>
          <a:xfrm rot="16200000" flipH="1">
            <a:off x="3904155" y="1719313"/>
            <a:ext cx="521998" cy="451383"/>
          </a:xfrm>
          <a:prstGeom prst="bentConnector3">
            <a:avLst>
              <a:gd name="adj1" fmla="val 50000"/>
            </a:avLst>
          </a:prstGeom>
          <a:noFill/>
          <a:ln w="12700" cap="flat" cmpd="sng">
            <a:solidFill>
              <a:schemeClr val="dk1"/>
            </a:solidFill>
            <a:prstDash val="dash"/>
            <a:round/>
            <a:headEnd type="none" w="sm" len="sm"/>
            <a:tailEnd type="none" w="sm" len="sm"/>
          </a:ln>
        </p:spPr>
      </p:cxnSp>
      <p:sp>
        <p:nvSpPr>
          <p:cNvPr id="543" name="Google Shape;543;p2"/>
          <p:cNvSpPr/>
          <p:nvPr/>
        </p:nvSpPr>
        <p:spPr>
          <a:xfrm>
            <a:off x="7764891" y="5856033"/>
            <a:ext cx="68414" cy="69975"/>
          </a:xfrm>
          <a:prstGeom prst="ellipse">
            <a:avLst/>
          </a:prstGeom>
          <a:solidFill>
            <a:schemeClr val="dk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44" name="Google Shape;544;p2"/>
          <p:cNvSpPr txBox="1"/>
          <p:nvPr/>
        </p:nvSpPr>
        <p:spPr>
          <a:xfrm>
            <a:off x="2064512" y="1691642"/>
            <a:ext cx="2378334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Arial"/>
              <a:buNone/>
            </a:pPr>
            <a:r>
              <a:rPr lang="en-US" sz="1600" b="1" i="0" u="none" strike="noStrike" cap="none" dirty="0">
                <a:solidFill>
                  <a:schemeClr val="accent4"/>
                </a:solidFill>
                <a:latin typeface="Calibri"/>
                <a:ea typeface="Calibri"/>
                <a:cs typeface="Calibri"/>
                <a:sym typeface="Calibri"/>
              </a:rPr>
              <a:t>DS/ML Platforms</a:t>
            </a:r>
            <a:endParaRPr dirty="0"/>
          </a:p>
        </p:txBody>
      </p:sp>
      <p:cxnSp>
        <p:nvCxnSpPr>
          <p:cNvPr id="545" name="Google Shape;545;p2"/>
          <p:cNvCxnSpPr/>
          <p:nvPr/>
        </p:nvCxnSpPr>
        <p:spPr>
          <a:xfrm flipH="1">
            <a:off x="8056709" y="2564706"/>
            <a:ext cx="1550700" cy="273600"/>
          </a:xfrm>
          <a:prstGeom prst="bentConnector3">
            <a:avLst>
              <a:gd name="adj1" fmla="val 65292"/>
            </a:avLst>
          </a:prstGeom>
          <a:noFill/>
          <a:ln w="12700" cap="flat" cmpd="sng">
            <a:solidFill>
              <a:schemeClr val="dk1"/>
            </a:solidFill>
            <a:prstDash val="dash"/>
            <a:round/>
            <a:headEnd type="none" w="sm" len="sm"/>
            <a:tailEnd type="none" w="sm" len="sm"/>
          </a:ln>
        </p:spPr>
      </p:cxnSp>
      <p:sp>
        <p:nvSpPr>
          <p:cNvPr id="546" name="Google Shape;546;p2"/>
          <p:cNvSpPr txBox="1"/>
          <p:nvPr/>
        </p:nvSpPr>
        <p:spPr>
          <a:xfrm>
            <a:off x="8558932" y="2261688"/>
            <a:ext cx="1424662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Arial"/>
              <a:buNone/>
            </a:pPr>
            <a:r>
              <a:rPr lang="en-US" sz="1600" b="1" i="0" u="none" strike="noStrike" cap="none">
                <a:solidFill>
                  <a:schemeClr val="accent3"/>
                </a:solidFill>
                <a:latin typeface="Calibri"/>
                <a:ea typeface="Calibri"/>
                <a:cs typeface="Calibri"/>
                <a:sym typeface="Calibri"/>
              </a:rPr>
              <a:t>Visualisation</a:t>
            </a:r>
            <a:endParaRPr sz="1600" b="1" i="0" u="none" strike="noStrike" cap="none">
              <a:solidFill>
                <a:schemeClr val="accent3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47" name="Google Shape;547;p2"/>
          <p:cNvSpPr/>
          <p:nvPr/>
        </p:nvSpPr>
        <p:spPr>
          <a:xfrm>
            <a:off x="2447994" y="4717230"/>
            <a:ext cx="1239916" cy="1344797"/>
          </a:xfrm>
          <a:custGeom>
            <a:avLst/>
            <a:gdLst/>
            <a:ahLst/>
            <a:cxnLst/>
            <a:rect l="l" t="t" r="r" b="b"/>
            <a:pathLst>
              <a:path w="1239916" h="1344797" extrusionOk="0">
                <a:moveTo>
                  <a:pt x="1182202" y="5062"/>
                </a:moveTo>
                <a:cubicBezTo>
                  <a:pt x="1174640" y="3110"/>
                  <a:pt x="1166101" y="1708"/>
                  <a:pt x="1156465" y="1098"/>
                </a:cubicBezTo>
                <a:lnTo>
                  <a:pt x="165157" y="1098"/>
                </a:lnTo>
                <a:lnTo>
                  <a:pt x="162169" y="0"/>
                </a:lnTo>
                <a:cubicBezTo>
                  <a:pt x="162413" y="1647"/>
                  <a:pt x="162535" y="3293"/>
                  <a:pt x="162778" y="4940"/>
                </a:cubicBezTo>
                <a:lnTo>
                  <a:pt x="161864" y="4940"/>
                </a:lnTo>
                <a:cubicBezTo>
                  <a:pt x="163205" y="12747"/>
                  <a:pt x="164425" y="20614"/>
                  <a:pt x="165462" y="28482"/>
                </a:cubicBezTo>
                <a:cubicBezTo>
                  <a:pt x="167292" y="48242"/>
                  <a:pt x="168328" y="68185"/>
                  <a:pt x="168328" y="88433"/>
                </a:cubicBezTo>
                <a:cubicBezTo>
                  <a:pt x="168328" y="108682"/>
                  <a:pt x="167414" y="127161"/>
                  <a:pt x="165645" y="146190"/>
                </a:cubicBezTo>
                <a:cubicBezTo>
                  <a:pt x="157351" y="238038"/>
                  <a:pt x="129418" y="324276"/>
                  <a:pt x="86116" y="400573"/>
                </a:cubicBezTo>
                <a:lnTo>
                  <a:pt x="85262" y="400695"/>
                </a:lnTo>
                <a:cubicBezTo>
                  <a:pt x="31043" y="494007"/>
                  <a:pt x="0" y="602445"/>
                  <a:pt x="0" y="718079"/>
                </a:cubicBezTo>
                <a:cubicBezTo>
                  <a:pt x="0" y="747903"/>
                  <a:pt x="2135" y="777238"/>
                  <a:pt x="6099" y="805903"/>
                </a:cubicBezTo>
                <a:lnTo>
                  <a:pt x="6099" y="691366"/>
                </a:lnTo>
                <a:lnTo>
                  <a:pt x="7136" y="691366"/>
                </a:lnTo>
                <a:cubicBezTo>
                  <a:pt x="6526" y="702771"/>
                  <a:pt x="6099" y="714237"/>
                  <a:pt x="6099" y="725764"/>
                </a:cubicBezTo>
                <a:cubicBezTo>
                  <a:pt x="6099" y="1067666"/>
                  <a:pt x="283231" y="1344798"/>
                  <a:pt x="625133" y="1344798"/>
                </a:cubicBezTo>
                <a:lnTo>
                  <a:pt x="1088646" y="1344798"/>
                </a:lnTo>
                <a:lnTo>
                  <a:pt x="1088646" y="582075"/>
                </a:lnTo>
                <a:cubicBezTo>
                  <a:pt x="1092427" y="455219"/>
                  <a:pt x="1158539" y="457170"/>
                  <a:pt x="1158539" y="457170"/>
                </a:cubicBezTo>
                <a:cubicBezTo>
                  <a:pt x="1232213" y="457170"/>
                  <a:pt x="1221113" y="352758"/>
                  <a:pt x="1221113" y="352758"/>
                </a:cubicBezTo>
                <a:lnTo>
                  <a:pt x="1221113" y="296709"/>
                </a:lnTo>
                <a:lnTo>
                  <a:pt x="1238617" y="296709"/>
                </a:lnTo>
                <a:lnTo>
                  <a:pt x="1238739" y="280791"/>
                </a:lnTo>
                <a:lnTo>
                  <a:pt x="1238739" y="94532"/>
                </a:lnTo>
                <a:cubicBezTo>
                  <a:pt x="1238739" y="94532"/>
                  <a:pt x="1253010" y="23298"/>
                  <a:pt x="1182202" y="4940"/>
                </a:cubicBezTo>
                <a:close/>
              </a:path>
            </a:pathLst>
          </a:cu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548" name="Google Shape;548;p2"/>
          <p:cNvPicPr preferRelativeResize="0"/>
          <p:nvPr/>
        </p:nvPicPr>
        <p:blipFill rotWithShape="1">
          <a:blip r:embed="rId15">
            <a:alphaModFix/>
          </a:blip>
          <a:srcRect/>
          <a:stretch/>
        </p:blipFill>
        <p:spPr>
          <a:xfrm>
            <a:off x="5535026" y="4744302"/>
            <a:ext cx="665396" cy="226745"/>
          </a:xfrm>
          <a:prstGeom prst="rect">
            <a:avLst/>
          </a:prstGeom>
          <a:noFill/>
          <a:ln>
            <a:noFill/>
          </a:ln>
        </p:spPr>
      </p:pic>
      <p:pic>
        <p:nvPicPr>
          <p:cNvPr id="549" name="Google Shape;549;p2"/>
          <p:cNvPicPr preferRelativeResize="0"/>
          <p:nvPr/>
        </p:nvPicPr>
        <p:blipFill rotWithShape="1">
          <a:blip r:embed="rId16">
            <a:alphaModFix/>
          </a:blip>
          <a:srcRect/>
          <a:stretch/>
        </p:blipFill>
        <p:spPr>
          <a:xfrm>
            <a:off x="5411044" y="5585897"/>
            <a:ext cx="1134316" cy="192676"/>
          </a:xfrm>
          <a:prstGeom prst="rect">
            <a:avLst/>
          </a:prstGeom>
          <a:noFill/>
          <a:ln>
            <a:noFill/>
          </a:ln>
        </p:spPr>
      </p:pic>
      <p:pic>
        <p:nvPicPr>
          <p:cNvPr id="550" name="Google Shape;550;p2" descr="Impala ODBC and JDBC Drivers - Simba - insightsoftware"/>
          <p:cNvPicPr preferRelativeResize="0"/>
          <p:nvPr/>
        </p:nvPicPr>
        <p:blipFill rotWithShape="1">
          <a:blip r:embed="rId17">
            <a:alphaModFix/>
          </a:blip>
          <a:srcRect/>
          <a:stretch/>
        </p:blipFill>
        <p:spPr>
          <a:xfrm>
            <a:off x="5622333" y="4951289"/>
            <a:ext cx="1225897" cy="643715"/>
          </a:xfrm>
          <a:prstGeom prst="rect">
            <a:avLst/>
          </a:prstGeom>
          <a:noFill/>
          <a:ln>
            <a:noFill/>
          </a:ln>
        </p:spPr>
      </p:pic>
      <p:pic>
        <p:nvPicPr>
          <p:cNvPr id="551" name="Google Shape;551;p2"/>
          <p:cNvPicPr preferRelativeResize="0"/>
          <p:nvPr/>
        </p:nvPicPr>
        <p:blipFill rotWithShape="1">
          <a:blip r:embed="rId18">
            <a:clrChange>
              <a:clrFrom>
                <a:srgbClr val="000000"/>
              </a:clrFrom>
              <a:clrTo>
                <a:srgbClr val="000000">
                  <a:alpha val="0"/>
                </a:srgbClr>
              </a:clrTo>
            </a:clrChange>
            <a:alphaModFix/>
          </a:blip>
          <a:srcRect/>
          <a:stretch/>
        </p:blipFill>
        <p:spPr>
          <a:xfrm>
            <a:off x="5058784" y="5088956"/>
            <a:ext cx="807499" cy="367606"/>
          </a:xfrm>
          <a:prstGeom prst="rect">
            <a:avLst/>
          </a:prstGeom>
          <a:noFill/>
          <a:ln>
            <a:noFill/>
          </a:ln>
        </p:spPr>
      </p:pic>
      <p:sp>
        <p:nvSpPr>
          <p:cNvPr id="552" name="Google Shape;552;p2"/>
          <p:cNvSpPr txBox="1"/>
          <p:nvPr/>
        </p:nvSpPr>
        <p:spPr>
          <a:xfrm>
            <a:off x="8632590" y="6457121"/>
            <a:ext cx="687225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Arial"/>
              <a:buNone/>
            </a:pPr>
            <a:r>
              <a:rPr lang="en-US" sz="1600" b="1" i="0" u="none" strike="noStrike" cap="none" dirty="0">
                <a:solidFill>
                  <a:srgbClr val="0F47F2"/>
                </a:solidFill>
                <a:latin typeface="Calibri"/>
                <a:ea typeface="Calibri"/>
                <a:cs typeface="Calibri"/>
                <a:sym typeface="Calibri"/>
              </a:rPr>
              <a:t>Cloud</a:t>
            </a:r>
            <a:endParaRPr dirty="0"/>
          </a:p>
        </p:txBody>
      </p:sp>
      <p:pic>
        <p:nvPicPr>
          <p:cNvPr id="553" name="Google Shape;553;p2"/>
          <p:cNvPicPr preferRelativeResize="0"/>
          <p:nvPr/>
        </p:nvPicPr>
        <p:blipFill rotWithShape="1">
          <a:blip r:embed="rId19">
            <a:clrChange>
              <a:clrFrom>
                <a:srgbClr val="000000"/>
              </a:clrFrom>
              <a:clrTo>
                <a:srgbClr val="000000">
                  <a:alpha val="0"/>
                </a:srgbClr>
              </a:clrTo>
            </a:clrChange>
            <a:alphaModFix/>
          </a:blip>
          <a:srcRect/>
          <a:stretch/>
        </p:blipFill>
        <p:spPr>
          <a:xfrm>
            <a:off x="4370013" y="4557652"/>
            <a:ext cx="545959" cy="378312"/>
          </a:xfrm>
          <a:prstGeom prst="rect">
            <a:avLst/>
          </a:prstGeom>
          <a:noFill/>
          <a:ln>
            <a:noFill/>
          </a:ln>
        </p:spPr>
      </p:pic>
      <p:sp>
        <p:nvSpPr>
          <p:cNvPr id="555" name="Google Shape;555;p2"/>
          <p:cNvSpPr/>
          <p:nvPr/>
        </p:nvSpPr>
        <p:spPr>
          <a:xfrm>
            <a:off x="1087237" y="4000614"/>
            <a:ext cx="1544962" cy="874576"/>
          </a:xfrm>
          <a:custGeom>
            <a:avLst/>
            <a:gdLst/>
            <a:ahLst/>
            <a:cxnLst/>
            <a:rect l="l" t="t" r="r" b="b"/>
            <a:pathLst>
              <a:path w="1544962" h="874576" extrusionOk="0">
                <a:moveTo>
                  <a:pt x="1542096" y="756929"/>
                </a:moveTo>
                <a:cubicBezTo>
                  <a:pt x="1541059" y="749001"/>
                  <a:pt x="1539839" y="741194"/>
                  <a:pt x="1538497" y="733388"/>
                </a:cubicBezTo>
                <a:lnTo>
                  <a:pt x="1532886" y="733388"/>
                </a:lnTo>
                <a:cubicBezTo>
                  <a:pt x="1489707" y="477724"/>
                  <a:pt x="1289847" y="275363"/>
                  <a:pt x="1035464" y="228463"/>
                </a:cubicBezTo>
                <a:cubicBezTo>
                  <a:pt x="1033451" y="228097"/>
                  <a:pt x="1031439" y="227792"/>
                  <a:pt x="1029365" y="227426"/>
                </a:cubicBezTo>
                <a:cubicBezTo>
                  <a:pt x="1026437" y="226938"/>
                  <a:pt x="1023510" y="226512"/>
                  <a:pt x="1020644" y="226024"/>
                </a:cubicBezTo>
                <a:cubicBezTo>
                  <a:pt x="990515" y="221511"/>
                  <a:pt x="959716" y="219193"/>
                  <a:pt x="928368" y="219193"/>
                </a:cubicBezTo>
                <a:lnTo>
                  <a:pt x="273168" y="219193"/>
                </a:lnTo>
                <a:cubicBezTo>
                  <a:pt x="225841" y="219193"/>
                  <a:pt x="181380" y="207178"/>
                  <a:pt x="142591" y="186015"/>
                </a:cubicBezTo>
                <a:cubicBezTo>
                  <a:pt x="70930" y="148263"/>
                  <a:pt x="17138" y="80566"/>
                  <a:pt x="0" y="0"/>
                </a:cubicBezTo>
                <a:lnTo>
                  <a:pt x="0" y="61903"/>
                </a:lnTo>
                <a:cubicBezTo>
                  <a:pt x="0" y="212789"/>
                  <a:pt x="122282" y="335071"/>
                  <a:pt x="273168" y="335071"/>
                </a:cubicBezTo>
                <a:lnTo>
                  <a:pt x="928368" y="335071"/>
                </a:lnTo>
                <a:cubicBezTo>
                  <a:pt x="1243313" y="335071"/>
                  <a:pt x="1503307" y="570304"/>
                  <a:pt x="1542279" y="874576"/>
                </a:cubicBezTo>
                <a:cubicBezTo>
                  <a:pt x="1543986" y="855548"/>
                  <a:pt x="1544962" y="836275"/>
                  <a:pt x="1544962" y="816820"/>
                </a:cubicBezTo>
                <a:cubicBezTo>
                  <a:pt x="1544962" y="797364"/>
                  <a:pt x="1543925" y="776628"/>
                  <a:pt x="1542096" y="756868"/>
                </a:cubicBezTo>
                <a:close/>
              </a:path>
            </a:pathLst>
          </a:custGeom>
          <a:solidFill>
            <a:srgbClr val="0F47F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56" name="Google Shape;556;p2"/>
          <p:cNvSpPr/>
          <p:nvPr/>
        </p:nvSpPr>
        <p:spPr>
          <a:xfrm>
            <a:off x="1081363" y="3608885"/>
            <a:ext cx="2618406" cy="1125056"/>
          </a:xfrm>
          <a:custGeom>
            <a:avLst/>
            <a:gdLst/>
            <a:ahLst/>
            <a:cxnLst/>
            <a:rect l="l" t="t" r="r" b="b"/>
            <a:pathLst>
              <a:path w="2618406" h="1125056" extrusionOk="0">
                <a:moveTo>
                  <a:pt x="2532142" y="4940"/>
                </a:moveTo>
                <a:cubicBezTo>
                  <a:pt x="2522933" y="2744"/>
                  <a:pt x="2512870" y="1220"/>
                  <a:pt x="2501648" y="488"/>
                </a:cubicBezTo>
                <a:cubicBezTo>
                  <a:pt x="2496830" y="183"/>
                  <a:pt x="2491890" y="0"/>
                  <a:pt x="2486645" y="0"/>
                </a:cubicBezTo>
                <a:lnTo>
                  <a:pt x="1786069" y="0"/>
                </a:lnTo>
                <a:cubicBezTo>
                  <a:pt x="1783874" y="3720"/>
                  <a:pt x="1781556" y="7258"/>
                  <a:pt x="1778995" y="10734"/>
                </a:cubicBezTo>
                <a:lnTo>
                  <a:pt x="1776860" y="10734"/>
                </a:lnTo>
                <a:lnTo>
                  <a:pt x="1777104" y="10429"/>
                </a:lnTo>
                <a:cubicBezTo>
                  <a:pt x="1779665" y="7136"/>
                  <a:pt x="1782044" y="3598"/>
                  <a:pt x="1784240" y="61"/>
                </a:cubicBezTo>
                <a:lnTo>
                  <a:pt x="1781922" y="61"/>
                </a:lnTo>
                <a:lnTo>
                  <a:pt x="1769724" y="16345"/>
                </a:lnTo>
                <a:cubicBezTo>
                  <a:pt x="1759722" y="25920"/>
                  <a:pt x="1745146" y="40313"/>
                  <a:pt x="1733131" y="46839"/>
                </a:cubicBezTo>
                <a:cubicBezTo>
                  <a:pt x="1721117" y="53365"/>
                  <a:pt x="1703918" y="55866"/>
                  <a:pt x="1690439" y="59037"/>
                </a:cubicBezTo>
                <a:lnTo>
                  <a:pt x="1672143" y="61172"/>
                </a:lnTo>
                <a:lnTo>
                  <a:pt x="1635793" y="61050"/>
                </a:lnTo>
                <a:lnTo>
                  <a:pt x="273187" y="61050"/>
                </a:lnTo>
                <a:cubicBezTo>
                  <a:pt x="123338" y="60989"/>
                  <a:pt x="1666" y="184185"/>
                  <a:pt x="19" y="333669"/>
                </a:cubicBezTo>
                <a:cubicBezTo>
                  <a:pt x="-225" y="353551"/>
                  <a:pt x="1849" y="373006"/>
                  <a:pt x="5813" y="391730"/>
                </a:cubicBezTo>
                <a:lnTo>
                  <a:pt x="5813" y="345500"/>
                </a:lnTo>
                <a:cubicBezTo>
                  <a:pt x="5874" y="346049"/>
                  <a:pt x="5996" y="346598"/>
                  <a:pt x="6057" y="347147"/>
                </a:cubicBezTo>
                <a:cubicBezTo>
                  <a:pt x="9412" y="446741"/>
                  <a:pt x="66009" y="532796"/>
                  <a:pt x="148404" y="577684"/>
                </a:cubicBezTo>
                <a:cubicBezTo>
                  <a:pt x="187315" y="598176"/>
                  <a:pt x="231471" y="609825"/>
                  <a:pt x="277944" y="609825"/>
                </a:cubicBezTo>
                <a:lnTo>
                  <a:pt x="928387" y="609825"/>
                </a:lnTo>
                <a:cubicBezTo>
                  <a:pt x="961809" y="609825"/>
                  <a:pt x="994560" y="612630"/>
                  <a:pt x="1026518" y="617692"/>
                </a:cubicBezTo>
                <a:cubicBezTo>
                  <a:pt x="1029445" y="618119"/>
                  <a:pt x="1032373" y="618607"/>
                  <a:pt x="1035239" y="619095"/>
                </a:cubicBezTo>
                <a:cubicBezTo>
                  <a:pt x="1037252" y="619461"/>
                  <a:pt x="1039325" y="619705"/>
                  <a:pt x="1041338" y="620132"/>
                </a:cubicBezTo>
                <a:cubicBezTo>
                  <a:pt x="1295660" y="667032"/>
                  <a:pt x="1495520" y="869392"/>
                  <a:pt x="1538761" y="1124995"/>
                </a:cubicBezTo>
                <a:lnTo>
                  <a:pt x="1544372" y="1124995"/>
                </a:lnTo>
                <a:cubicBezTo>
                  <a:pt x="1544372" y="1124995"/>
                  <a:pt x="1545286" y="1125056"/>
                  <a:pt x="1545286" y="1125056"/>
                </a:cubicBezTo>
                <a:cubicBezTo>
                  <a:pt x="1545043" y="1123409"/>
                  <a:pt x="1544921" y="1121763"/>
                  <a:pt x="1544677" y="1120116"/>
                </a:cubicBezTo>
                <a:lnTo>
                  <a:pt x="1547665" y="1121214"/>
                </a:lnTo>
                <a:lnTo>
                  <a:pt x="2282028" y="1121214"/>
                </a:lnTo>
                <a:lnTo>
                  <a:pt x="2282028" y="498033"/>
                </a:lnTo>
                <a:cubicBezTo>
                  <a:pt x="2275930" y="351660"/>
                  <a:pt x="2416203" y="369957"/>
                  <a:pt x="2416203" y="369957"/>
                </a:cubicBezTo>
                <a:lnTo>
                  <a:pt x="2617709" y="369957"/>
                </a:lnTo>
                <a:lnTo>
                  <a:pt x="2617709" y="131064"/>
                </a:lnTo>
                <a:cubicBezTo>
                  <a:pt x="2617709" y="131064"/>
                  <a:pt x="2631920" y="28665"/>
                  <a:pt x="2532081" y="4879"/>
                </a:cubicBezTo>
                <a:close/>
              </a:path>
            </a:pathLst>
          </a:cu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557" name="Google Shape;557;p2"/>
          <p:cNvCxnSpPr/>
          <p:nvPr/>
        </p:nvCxnSpPr>
        <p:spPr>
          <a:xfrm flipH="1">
            <a:off x="962684" y="4434643"/>
            <a:ext cx="1643400" cy="375000"/>
          </a:xfrm>
          <a:prstGeom prst="bentConnector3">
            <a:avLst>
              <a:gd name="adj1" fmla="val 50000"/>
            </a:avLst>
          </a:prstGeom>
          <a:noFill/>
          <a:ln w="12700" cap="flat" cmpd="sng">
            <a:solidFill>
              <a:schemeClr val="dk1"/>
            </a:solidFill>
            <a:prstDash val="dash"/>
            <a:round/>
            <a:headEnd type="none" w="sm" len="sm"/>
            <a:tailEnd type="none" w="sm" len="sm"/>
          </a:ln>
        </p:spPr>
      </p:cxnSp>
      <p:sp>
        <p:nvSpPr>
          <p:cNvPr id="558" name="Google Shape;558;p2"/>
          <p:cNvSpPr txBox="1"/>
          <p:nvPr/>
        </p:nvSpPr>
        <p:spPr>
          <a:xfrm>
            <a:off x="527340" y="4481898"/>
            <a:ext cx="1392290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Arial"/>
              <a:buNone/>
            </a:pPr>
            <a:r>
              <a:rPr lang="en-US" sz="1600" b="1" i="0" u="none" strike="noStrike" cap="none" dirty="0">
                <a:solidFill>
                  <a:schemeClr val="accent4"/>
                </a:solidFill>
                <a:latin typeface="Calibri"/>
                <a:ea typeface="Calibri"/>
                <a:cs typeface="Calibri"/>
                <a:sym typeface="Calibri"/>
              </a:rPr>
              <a:t>Data Sourcing</a:t>
            </a:r>
            <a:endParaRPr dirty="0"/>
          </a:p>
        </p:txBody>
      </p:sp>
      <p:cxnSp>
        <p:nvCxnSpPr>
          <p:cNvPr id="559" name="Google Shape;559;p2"/>
          <p:cNvCxnSpPr/>
          <p:nvPr/>
        </p:nvCxnSpPr>
        <p:spPr>
          <a:xfrm flipH="1">
            <a:off x="7392704" y="3882748"/>
            <a:ext cx="1889100" cy="600"/>
          </a:xfrm>
          <a:prstGeom prst="bentConnector3">
            <a:avLst>
              <a:gd name="adj1" fmla="val 49996"/>
            </a:avLst>
          </a:prstGeom>
          <a:noFill/>
          <a:ln w="12700" cap="flat" cmpd="sng">
            <a:solidFill>
              <a:schemeClr val="dk1"/>
            </a:solidFill>
            <a:prstDash val="dash"/>
            <a:round/>
            <a:headEnd type="none" w="sm" len="sm"/>
            <a:tailEnd type="none" w="sm" len="sm"/>
          </a:ln>
        </p:spPr>
      </p:cxnSp>
      <p:sp>
        <p:nvSpPr>
          <p:cNvPr id="560" name="Google Shape;560;p2"/>
          <p:cNvSpPr txBox="1"/>
          <p:nvPr/>
        </p:nvSpPr>
        <p:spPr>
          <a:xfrm>
            <a:off x="8228565" y="3551507"/>
            <a:ext cx="1689036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Arial"/>
              <a:buNone/>
            </a:pPr>
            <a:r>
              <a:rPr lang="en-US" sz="1600" b="1" i="0" u="none" strike="noStrike" cap="none">
                <a:solidFill>
                  <a:srgbClr val="C00000"/>
                </a:solidFill>
                <a:latin typeface="Calibri"/>
                <a:ea typeface="Calibri"/>
                <a:cs typeface="Calibri"/>
                <a:sym typeface="Calibri"/>
              </a:rPr>
              <a:t>Interface</a:t>
            </a:r>
            <a:endParaRPr/>
          </a:p>
        </p:txBody>
      </p:sp>
      <p:sp>
        <p:nvSpPr>
          <p:cNvPr id="561" name="Google Shape;561;p2"/>
          <p:cNvSpPr/>
          <p:nvPr/>
        </p:nvSpPr>
        <p:spPr>
          <a:xfrm>
            <a:off x="6513195" y="5567173"/>
            <a:ext cx="2395161" cy="1006223"/>
          </a:xfrm>
          <a:custGeom>
            <a:avLst/>
            <a:gdLst/>
            <a:ahLst/>
            <a:cxnLst/>
            <a:rect l="l" t="t" r="r" b="b"/>
            <a:pathLst>
              <a:path w="2140698" h="988014" extrusionOk="0">
                <a:moveTo>
                  <a:pt x="0" y="0"/>
                </a:moveTo>
                <a:lnTo>
                  <a:pt x="0" y="420821"/>
                </a:lnTo>
                <a:cubicBezTo>
                  <a:pt x="0" y="506205"/>
                  <a:pt x="79285" y="506205"/>
                  <a:pt x="79285" y="506205"/>
                </a:cubicBezTo>
                <a:lnTo>
                  <a:pt x="554996" y="506205"/>
                </a:lnTo>
                <a:cubicBezTo>
                  <a:pt x="737962" y="512304"/>
                  <a:pt x="725764" y="676973"/>
                  <a:pt x="725764" y="676973"/>
                </a:cubicBezTo>
                <a:lnTo>
                  <a:pt x="725764" y="811148"/>
                </a:lnTo>
                <a:cubicBezTo>
                  <a:pt x="725764" y="908730"/>
                  <a:pt x="774555" y="957521"/>
                  <a:pt x="774555" y="957521"/>
                </a:cubicBezTo>
                <a:cubicBezTo>
                  <a:pt x="774555" y="957521"/>
                  <a:pt x="786752" y="988015"/>
                  <a:pt x="896532" y="988015"/>
                </a:cubicBezTo>
                <a:lnTo>
                  <a:pt x="1768668" y="988015"/>
                </a:lnTo>
                <a:cubicBezTo>
                  <a:pt x="1768668" y="988015"/>
                  <a:pt x="1847953" y="981916"/>
                  <a:pt x="1854052" y="927026"/>
                </a:cubicBezTo>
                <a:cubicBezTo>
                  <a:pt x="1860151" y="872137"/>
                  <a:pt x="1854052" y="634281"/>
                  <a:pt x="1854052" y="634281"/>
                </a:cubicBezTo>
                <a:cubicBezTo>
                  <a:pt x="1854052" y="634281"/>
                  <a:pt x="1841854" y="536699"/>
                  <a:pt x="1896744" y="536699"/>
                </a:cubicBezTo>
                <a:cubicBezTo>
                  <a:pt x="1951634" y="536699"/>
                  <a:pt x="2120267" y="542737"/>
                  <a:pt x="2134356" y="273412"/>
                </a:cubicBezTo>
                <a:cubicBezTo>
                  <a:pt x="2134417" y="271704"/>
                  <a:pt x="2134539" y="270057"/>
                  <a:pt x="2134600" y="268350"/>
                </a:cubicBezTo>
                <a:lnTo>
                  <a:pt x="2134600" y="3049"/>
                </a:lnTo>
                <a:cubicBezTo>
                  <a:pt x="2134600" y="3049"/>
                  <a:pt x="2134782" y="3049"/>
                  <a:pt x="2134782" y="3049"/>
                </a:cubicBezTo>
                <a:cubicBezTo>
                  <a:pt x="2135332" y="3049"/>
                  <a:pt x="2137954" y="2988"/>
                  <a:pt x="2140699" y="3049"/>
                </a:cubicBezTo>
                <a:lnTo>
                  <a:pt x="2140699" y="61"/>
                </a:lnTo>
                <a:lnTo>
                  <a:pt x="0" y="61"/>
                </a:lnTo>
                <a:close/>
              </a:path>
            </a:pathLst>
          </a:cu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562" name="Google Shape;562;p2"/>
          <p:cNvPicPr preferRelativeResize="0"/>
          <p:nvPr/>
        </p:nvPicPr>
        <p:blipFill rotWithShape="1">
          <a:blip r:embed="rId20">
            <a:alphaModFix/>
          </a:blip>
          <a:srcRect/>
          <a:stretch/>
        </p:blipFill>
        <p:spPr>
          <a:xfrm>
            <a:off x="4287106" y="2587929"/>
            <a:ext cx="429199" cy="220067"/>
          </a:xfrm>
          <a:prstGeom prst="rect">
            <a:avLst/>
          </a:prstGeom>
          <a:noFill/>
          <a:ln w="9525" cap="flat" cmpd="sng">
            <a:solidFill>
              <a:srgbClr val="1F9CD8"/>
            </a:solidFill>
            <a:prstDash val="solid"/>
            <a:round/>
            <a:headEnd type="none" w="sm" len="sm"/>
            <a:tailEnd type="none" w="sm" len="sm"/>
          </a:ln>
        </p:spPr>
      </p:pic>
      <p:grpSp>
        <p:nvGrpSpPr>
          <p:cNvPr id="563" name="Google Shape;563;p2"/>
          <p:cNvGrpSpPr/>
          <p:nvPr/>
        </p:nvGrpSpPr>
        <p:grpSpPr>
          <a:xfrm>
            <a:off x="3647923" y="2782746"/>
            <a:ext cx="862349" cy="407274"/>
            <a:chOff x="10851588" y="1391836"/>
            <a:chExt cx="862349" cy="407274"/>
          </a:xfrm>
        </p:grpSpPr>
        <p:pic>
          <p:nvPicPr>
            <p:cNvPr id="564" name="Google Shape;564;p2"/>
            <p:cNvPicPr preferRelativeResize="0"/>
            <p:nvPr/>
          </p:nvPicPr>
          <p:blipFill rotWithShape="1">
            <a:blip r:embed="rId21">
              <a:alphaModFix/>
            </a:blip>
            <a:srcRect l="38746"/>
            <a:stretch/>
          </p:blipFill>
          <p:spPr>
            <a:xfrm>
              <a:off x="11214992" y="1391836"/>
              <a:ext cx="498945" cy="407274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565" name="Google Shape;565;p2"/>
            <p:cNvPicPr preferRelativeResize="0"/>
            <p:nvPr/>
          </p:nvPicPr>
          <p:blipFill rotWithShape="1">
            <a:blip r:embed="rId22">
              <a:alphaModFix/>
            </a:blip>
            <a:srcRect l="37971" t="16442" r="39448" b="38183"/>
            <a:stretch/>
          </p:blipFill>
          <p:spPr>
            <a:xfrm>
              <a:off x="10851588" y="1445004"/>
              <a:ext cx="336470" cy="300938"/>
            </a:xfrm>
            <a:prstGeom prst="rect">
              <a:avLst/>
            </a:prstGeom>
            <a:noFill/>
            <a:ln>
              <a:noFill/>
            </a:ln>
          </p:spPr>
        </p:pic>
      </p:grpSp>
      <p:pic>
        <p:nvPicPr>
          <p:cNvPr id="566" name="Google Shape;566;p2"/>
          <p:cNvPicPr preferRelativeResize="0"/>
          <p:nvPr/>
        </p:nvPicPr>
        <p:blipFill rotWithShape="1">
          <a:blip r:embed="rId23">
            <a:alphaModFix/>
          </a:blip>
          <a:srcRect/>
          <a:stretch/>
        </p:blipFill>
        <p:spPr>
          <a:xfrm>
            <a:off x="3741638" y="2631995"/>
            <a:ext cx="473675" cy="142799"/>
          </a:xfrm>
          <a:prstGeom prst="rect">
            <a:avLst/>
          </a:prstGeom>
          <a:noFill/>
          <a:ln>
            <a:noFill/>
          </a:ln>
        </p:spPr>
      </p:pic>
      <p:pic>
        <p:nvPicPr>
          <p:cNvPr id="567" name="Google Shape;567;p2"/>
          <p:cNvPicPr preferRelativeResize="0"/>
          <p:nvPr/>
        </p:nvPicPr>
        <p:blipFill rotWithShape="1">
          <a:blip r:embed="rId24">
            <a:alphaModFix/>
          </a:blip>
          <a:srcRect/>
          <a:stretch/>
        </p:blipFill>
        <p:spPr>
          <a:xfrm>
            <a:off x="4761438" y="2689050"/>
            <a:ext cx="822960" cy="154504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568" name="Google Shape;568;p2"/>
          <p:cNvGrpSpPr/>
          <p:nvPr/>
        </p:nvGrpSpPr>
        <p:grpSpPr>
          <a:xfrm>
            <a:off x="4899383" y="3046007"/>
            <a:ext cx="955141" cy="433143"/>
            <a:chOff x="9943178" y="868422"/>
            <a:chExt cx="1620953" cy="992778"/>
          </a:xfrm>
        </p:grpSpPr>
        <p:pic>
          <p:nvPicPr>
            <p:cNvPr id="569" name="Google Shape;569;p2"/>
            <p:cNvPicPr preferRelativeResize="0"/>
            <p:nvPr/>
          </p:nvPicPr>
          <p:blipFill rotWithShape="1">
            <a:blip r:embed="rId25">
              <a:alphaModFix/>
            </a:blip>
            <a:srcRect b="29444"/>
            <a:stretch/>
          </p:blipFill>
          <p:spPr>
            <a:xfrm>
              <a:off x="9943178" y="868422"/>
              <a:ext cx="464212" cy="275975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570" name="Google Shape;570;p2"/>
            <p:cNvSpPr txBox="1"/>
            <p:nvPr/>
          </p:nvSpPr>
          <p:spPr>
            <a:xfrm>
              <a:off x="10167500" y="944229"/>
              <a:ext cx="1396631" cy="916971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t" anchorCtr="0">
              <a:sp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1000" b="0" i="0" u="none" strike="noStrike" cap="none" dirty="0">
                  <a:solidFill>
                    <a:schemeClr val="lt1"/>
                  </a:solidFill>
                  <a:latin typeface="Aharoni"/>
                  <a:ea typeface="Aharoni"/>
                  <a:cs typeface="Aharoni"/>
                  <a:sym typeface="Aharoni"/>
                </a:rPr>
                <a:t>Data Robot</a:t>
              </a:r>
              <a:endParaRPr dirty="0"/>
            </a:p>
          </p:txBody>
        </p:sp>
      </p:grpSp>
      <p:grpSp>
        <p:nvGrpSpPr>
          <p:cNvPr id="571" name="Google Shape;571;p2"/>
          <p:cNvGrpSpPr/>
          <p:nvPr/>
        </p:nvGrpSpPr>
        <p:grpSpPr>
          <a:xfrm>
            <a:off x="3978475" y="2321938"/>
            <a:ext cx="1070291" cy="271039"/>
            <a:chOff x="6739435" y="1743135"/>
            <a:chExt cx="1105983" cy="309850"/>
          </a:xfrm>
        </p:grpSpPr>
        <p:pic>
          <p:nvPicPr>
            <p:cNvPr id="572" name="Google Shape;572;p2"/>
            <p:cNvPicPr preferRelativeResize="0"/>
            <p:nvPr/>
          </p:nvPicPr>
          <p:blipFill rotWithShape="1">
            <a:blip r:embed="rId26">
              <a:alphaModFix/>
            </a:blip>
            <a:srcRect/>
            <a:stretch/>
          </p:blipFill>
          <p:spPr>
            <a:xfrm>
              <a:off x="6739435" y="1743135"/>
              <a:ext cx="234814" cy="261610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573" name="Google Shape;573;p2"/>
            <p:cNvSpPr txBox="1"/>
            <p:nvPr/>
          </p:nvSpPr>
          <p:spPr>
            <a:xfrm>
              <a:off x="6956664" y="1753959"/>
              <a:ext cx="888754" cy="299026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t" anchorCtr="0">
              <a:sp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1100" b="1" dirty="0" err="1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VertexAI</a:t>
              </a:r>
              <a:endParaRPr sz="1100" b="1" dirty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grpSp>
        <p:nvGrpSpPr>
          <p:cNvPr id="574" name="Google Shape;574;p2"/>
          <p:cNvGrpSpPr/>
          <p:nvPr/>
        </p:nvGrpSpPr>
        <p:grpSpPr>
          <a:xfrm>
            <a:off x="977988" y="2156973"/>
            <a:ext cx="3030955" cy="1434085"/>
            <a:chOff x="977988" y="2156973"/>
            <a:chExt cx="3030955" cy="1434085"/>
          </a:xfrm>
          <a:solidFill>
            <a:schemeClr val="accent6">
              <a:lumMod val="40000"/>
              <a:lumOff val="60000"/>
            </a:schemeClr>
          </a:solidFill>
        </p:grpSpPr>
        <p:sp>
          <p:nvSpPr>
            <p:cNvPr id="575" name="Google Shape;575;p2"/>
            <p:cNvSpPr/>
            <p:nvPr/>
          </p:nvSpPr>
          <p:spPr>
            <a:xfrm>
              <a:off x="2124755" y="2806641"/>
              <a:ext cx="743999" cy="782117"/>
            </a:xfrm>
            <a:custGeom>
              <a:avLst/>
              <a:gdLst/>
              <a:ahLst/>
              <a:cxnLst/>
              <a:rect l="l" t="t" r="r" b="b"/>
              <a:pathLst>
                <a:path w="743999" h="782117" extrusionOk="0">
                  <a:moveTo>
                    <a:pt x="622083" y="601896"/>
                  </a:moveTo>
                  <a:lnTo>
                    <a:pt x="619034" y="602384"/>
                  </a:lnTo>
                  <a:cubicBezTo>
                    <a:pt x="282865" y="602384"/>
                    <a:pt x="9331" y="334461"/>
                    <a:pt x="244" y="488"/>
                  </a:cubicBezTo>
                  <a:cubicBezTo>
                    <a:pt x="183" y="305"/>
                    <a:pt x="61" y="122"/>
                    <a:pt x="0" y="0"/>
                  </a:cubicBezTo>
                  <a:lnTo>
                    <a:pt x="0" y="99289"/>
                  </a:lnTo>
                  <a:cubicBezTo>
                    <a:pt x="0" y="441191"/>
                    <a:pt x="274083" y="718323"/>
                    <a:pt x="615984" y="718323"/>
                  </a:cubicBezTo>
                  <a:lnTo>
                    <a:pt x="618790" y="717835"/>
                  </a:lnTo>
                  <a:cubicBezTo>
                    <a:pt x="663799" y="717835"/>
                    <a:pt x="707467" y="746256"/>
                    <a:pt x="729789" y="782117"/>
                  </a:cubicBezTo>
                  <a:cubicBezTo>
                    <a:pt x="738633" y="765224"/>
                    <a:pt x="743695" y="746073"/>
                    <a:pt x="744000" y="725764"/>
                  </a:cubicBezTo>
                  <a:cubicBezTo>
                    <a:pt x="743268" y="657213"/>
                    <a:pt x="690818" y="601896"/>
                    <a:pt x="622083" y="60189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grpSp>
          <p:nvGrpSpPr>
            <p:cNvPr id="576" name="Google Shape;576;p2"/>
            <p:cNvGrpSpPr/>
            <p:nvPr/>
          </p:nvGrpSpPr>
          <p:grpSpPr>
            <a:xfrm>
              <a:off x="977988" y="2156973"/>
              <a:ext cx="3030955" cy="1434085"/>
              <a:chOff x="981395" y="2167908"/>
              <a:chExt cx="3030955" cy="1434085"/>
            </a:xfrm>
            <a:grpFill/>
          </p:grpSpPr>
          <p:sp>
            <p:nvSpPr>
              <p:cNvPr id="577" name="Google Shape;577;p2"/>
              <p:cNvSpPr/>
              <p:nvPr/>
            </p:nvSpPr>
            <p:spPr>
              <a:xfrm>
                <a:off x="2124755" y="2167908"/>
                <a:ext cx="1887595" cy="1434085"/>
              </a:xfrm>
              <a:custGeom>
                <a:avLst/>
                <a:gdLst/>
                <a:ahLst/>
                <a:cxnLst/>
                <a:rect l="l" t="t" r="r" b="b"/>
                <a:pathLst>
                  <a:path w="1887595" h="1434085" extrusionOk="0">
                    <a:moveTo>
                      <a:pt x="619034" y="0"/>
                    </a:moveTo>
                    <a:cubicBezTo>
                      <a:pt x="277132" y="0"/>
                      <a:pt x="0" y="277132"/>
                      <a:pt x="0" y="619034"/>
                    </a:cubicBezTo>
                    <a:cubicBezTo>
                      <a:pt x="0" y="619522"/>
                      <a:pt x="0" y="620071"/>
                      <a:pt x="0" y="620559"/>
                    </a:cubicBezTo>
                    <a:cubicBezTo>
                      <a:pt x="0" y="626902"/>
                      <a:pt x="122" y="633183"/>
                      <a:pt x="366" y="639465"/>
                    </a:cubicBezTo>
                    <a:cubicBezTo>
                      <a:pt x="11161" y="971914"/>
                      <a:pt x="283963" y="1238068"/>
                      <a:pt x="619034" y="1238068"/>
                    </a:cubicBezTo>
                    <a:lnTo>
                      <a:pt x="622083" y="1237580"/>
                    </a:lnTo>
                    <a:cubicBezTo>
                      <a:pt x="691244" y="1237580"/>
                      <a:pt x="744060" y="1293690"/>
                      <a:pt x="744060" y="1362851"/>
                    </a:cubicBezTo>
                    <a:cubicBezTo>
                      <a:pt x="744060" y="1363399"/>
                      <a:pt x="744000" y="1363948"/>
                      <a:pt x="744000" y="1364497"/>
                    </a:cubicBezTo>
                    <a:cubicBezTo>
                      <a:pt x="744000" y="1364985"/>
                      <a:pt x="744060" y="1365473"/>
                      <a:pt x="744060" y="1365900"/>
                    </a:cubicBezTo>
                    <a:cubicBezTo>
                      <a:pt x="744060" y="1386148"/>
                      <a:pt x="739120" y="1405177"/>
                      <a:pt x="730643" y="1422131"/>
                    </a:cubicBezTo>
                    <a:cubicBezTo>
                      <a:pt x="729423" y="1424510"/>
                      <a:pt x="728143" y="1426889"/>
                      <a:pt x="726801" y="1429145"/>
                    </a:cubicBezTo>
                    <a:lnTo>
                      <a:pt x="1427376" y="1429145"/>
                    </a:lnTo>
                    <a:cubicBezTo>
                      <a:pt x="1432560" y="1429145"/>
                      <a:pt x="1437561" y="1429328"/>
                      <a:pt x="1442379" y="1429633"/>
                    </a:cubicBezTo>
                    <a:cubicBezTo>
                      <a:pt x="1453601" y="1430365"/>
                      <a:pt x="1463665" y="1431890"/>
                      <a:pt x="1472874" y="1434085"/>
                    </a:cubicBezTo>
                    <a:lnTo>
                      <a:pt x="1472874" y="609886"/>
                    </a:lnTo>
                    <a:cubicBezTo>
                      <a:pt x="1472874" y="609886"/>
                      <a:pt x="1454577" y="353734"/>
                      <a:pt x="1668037" y="359833"/>
                    </a:cubicBezTo>
                    <a:cubicBezTo>
                      <a:pt x="1881497" y="365931"/>
                      <a:pt x="1887596" y="292745"/>
                      <a:pt x="1887596" y="152471"/>
                    </a:cubicBezTo>
                    <a:lnTo>
                      <a:pt x="1887596" y="0"/>
                    </a:lnTo>
                    <a:cubicBezTo>
                      <a:pt x="1887596" y="0"/>
                      <a:pt x="619034" y="0"/>
                      <a:pt x="619034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578" name="Google Shape;578;p2"/>
              <p:cNvSpPr txBox="1"/>
              <p:nvPr/>
            </p:nvSpPr>
            <p:spPr>
              <a:xfrm>
                <a:off x="981395" y="2227059"/>
                <a:ext cx="1689036" cy="338554"/>
              </a:xfrm>
              <a:prstGeom prst="rect">
                <a:avLst/>
              </a:prstGeom>
              <a:grpFill/>
              <a:ln>
                <a:noFill/>
              </a:ln>
            </p:spPr>
            <p:txBody>
              <a:bodyPr spcFirstLastPara="1" wrap="square" lIns="91425" tIns="45700" rIns="91425" bIns="45700" anchor="t" anchorCtr="0">
                <a:sp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600"/>
                  <a:buFont typeface="Arial"/>
                  <a:buNone/>
                </a:pPr>
                <a:r>
                  <a:rPr lang="en-US" sz="1600" b="1" i="0" u="none" strike="noStrike" cap="none" dirty="0">
                    <a:solidFill>
                      <a:schemeClr val="accent3"/>
                    </a:solidFill>
                    <a:latin typeface="Calibri"/>
                    <a:ea typeface="Calibri"/>
                    <a:cs typeface="Calibri"/>
                    <a:sym typeface="Calibri"/>
                  </a:rPr>
                  <a:t>Real time</a:t>
                </a:r>
                <a:endParaRPr dirty="0"/>
              </a:p>
            </p:txBody>
          </p:sp>
          <p:pic>
            <p:nvPicPr>
              <p:cNvPr id="579" name="Google Shape;579;p2" descr="Spark Streaming (procesamiento por lotes y tiempo real) - Diego Calvo"/>
              <p:cNvPicPr preferRelativeResize="0"/>
              <p:nvPr/>
            </p:nvPicPr>
            <p:blipFill rotWithShape="1">
              <a:blip r:embed="rId27">
                <a:alphaModFix/>
              </a:blip>
              <a:srcRect/>
              <a:stretch/>
            </p:blipFill>
            <p:spPr>
              <a:xfrm>
                <a:off x="2288998" y="2312832"/>
                <a:ext cx="718033" cy="452913"/>
              </a:xfrm>
              <a:prstGeom prst="rect">
                <a:avLst/>
              </a:prstGeom>
              <a:grpFill/>
              <a:ln>
                <a:noFill/>
              </a:ln>
            </p:spPr>
          </p:pic>
          <p:pic>
            <p:nvPicPr>
              <p:cNvPr id="580" name="Google Shape;580;p2"/>
              <p:cNvPicPr preferRelativeResize="0"/>
              <p:nvPr/>
            </p:nvPicPr>
            <p:blipFill rotWithShape="1">
              <a:blip r:embed="rId28">
                <a:alphaModFix/>
              </a:blip>
              <a:srcRect/>
              <a:stretch/>
            </p:blipFill>
            <p:spPr>
              <a:xfrm>
                <a:off x="3317960" y="2231244"/>
                <a:ext cx="577143" cy="210656"/>
              </a:xfrm>
              <a:prstGeom prst="rect">
                <a:avLst/>
              </a:prstGeom>
              <a:grpFill/>
              <a:ln>
                <a:noFill/>
              </a:ln>
            </p:spPr>
          </p:pic>
          <p:pic>
            <p:nvPicPr>
              <p:cNvPr id="581" name="Google Shape;581;p2"/>
              <p:cNvPicPr preferRelativeResize="0"/>
              <p:nvPr/>
            </p:nvPicPr>
            <p:blipFill rotWithShape="1">
              <a:blip r:embed="rId29">
                <a:alphaModFix/>
              </a:blip>
              <a:srcRect/>
              <a:stretch/>
            </p:blipFill>
            <p:spPr>
              <a:xfrm>
                <a:off x="2364411" y="2968578"/>
                <a:ext cx="453861" cy="226931"/>
              </a:xfrm>
              <a:prstGeom prst="rect">
                <a:avLst/>
              </a:prstGeom>
              <a:grpFill/>
              <a:ln>
                <a:noFill/>
              </a:ln>
            </p:spPr>
          </p:pic>
          <p:pic>
            <p:nvPicPr>
              <p:cNvPr id="582" name="Google Shape;582;p2"/>
              <p:cNvPicPr preferRelativeResize="0"/>
              <p:nvPr/>
            </p:nvPicPr>
            <p:blipFill rotWithShape="1">
              <a:blip r:embed="rId30">
                <a:alphaModFix/>
              </a:blip>
              <a:srcRect/>
              <a:stretch/>
            </p:blipFill>
            <p:spPr>
              <a:xfrm>
                <a:off x="2954727" y="2912972"/>
                <a:ext cx="494486" cy="208782"/>
              </a:xfrm>
              <a:prstGeom prst="rect">
                <a:avLst/>
              </a:prstGeom>
              <a:grpFill/>
              <a:ln>
                <a:noFill/>
              </a:ln>
            </p:spPr>
          </p:pic>
          <p:grpSp>
            <p:nvGrpSpPr>
              <p:cNvPr id="583" name="Google Shape;583;p2"/>
              <p:cNvGrpSpPr/>
              <p:nvPr/>
            </p:nvGrpSpPr>
            <p:grpSpPr>
              <a:xfrm>
                <a:off x="2941187" y="3155470"/>
                <a:ext cx="592381" cy="290405"/>
                <a:chOff x="4402524" y="4121762"/>
                <a:chExt cx="384498" cy="188494"/>
              </a:xfrm>
              <a:grpFill/>
            </p:grpSpPr>
            <p:pic>
              <p:nvPicPr>
                <p:cNvPr id="584" name="Google Shape;584;p2"/>
                <p:cNvPicPr preferRelativeResize="0"/>
                <p:nvPr/>
              </p:nvPicPr>
              <p:blipFill rotWithShape="1">
                <a:blip r:embed="rId31">
                  <a:alphaModFix/>
                </a:blip>
                <a:srcRect r="49237"/>
                <a:stretch/>
              </p:blipFill>
              <p:spPr>
                <a:xfrm>
                  <a:off x="4402524" y="4121762"/>
                  <a:ext cx="195180" cy="188494"/>
                </a:xfrm>
                <a:prstGeom prst="rect">
                  <a:avLst/>
                </a:prstGeom>
                <a:grpFill/>
                <a:ln>
                  <a:noFill/>
                </a:ln>
              </p:spPr>
            </p:pic>
            <p:pic>
              <p:nvPicPr>
                <p:cNvPr id="585" name="Google Shape;585;p2"/>
                <p:cNvPicPr preferRelativeResize="0"/>
                <p:nvPr/>
              </p:nvPicPr>
              <p:blipFill rotWithShape="1">
                <a:blip r:embed="rId32">
                  <a:alphaModFix/>
                </a:blip>
                <a:srcRect l="49237"/>
                <a:stretch/>
              </p:blipFill>
              <p:spPr>
                <a:xfrm>
                  <a:off x="4591842" y="4121762"/>
                  <a:ext cx="195180" cy="188494"/>
                </a:xfrm>
                <a:prstGeom prst="rect">
                  <a:avLst/>
                </a:prstGeom>
                <a:grpFill/>
                <a:ln>
                  <a:noFill/>
                </a:ln>
              </p:spPr>
            </p:pic>
          </p:grpSp>
          <p:grpSp>
            <p:nvGrpSpPr>
              <p:cNvPr id="586" name="Google Shape;586;p2"/>
              <p:cNvGrpSpPr/>
              <p:nvPr/>
            </p:nvGrpSpPr>
            <p:grpSpPr>
              <a:xfrm>
                <a:off x="2997855" y="2396343"/>
                <a:ext cx="481222" cy="520597"/>
                <a:chOff x="10512576" y="3055475"/>
                <a:chExt cx="481222" cy="520597"/>
              </a:xfrm>
              <a:grpFill/>
            </p:grpSpPr>
            <p:pic>
              <p:nvPicPr>
                <p:cNvPr id="587" name="Google Shape;587;p2" descr="GitHub - OryxProject/oryx: Oryx 2: Lambda architecture on Apache Spark,  Apache Kafka for real-time large scale machine learning"/>
                <p:cNvPicPr preferRelativeResize="0"/>
                <p:nvPr/>
              </p:nvPicPr>
              <p:blipFill rotWithShape="1">
                <a:blip r:embed="rId33">
                  <a:alphaModFix/>
                </a:blip>
                <a:srcRect/>
                <a:stretch/>
              </p:blipFill>
              <p:spPr>
                <a:xfrm>
                  <a:off x="10559147" y="3055475"/>
                  <a:ext cx="340703" cy="340703"/>
                </a:xfrm>
                <a:prstGeom prst="rect">
                  <a:avLst/>
                </a:prstGeom>
                <a:grpFill/>
                <a:ln>
                  <a:noFill/>
                </a:ln>
              </p:spPr>
            </p:pic>
            <p:sp>
              <p:nvSpPr>
                <p:cNvPr id="588" name="Google Shape;588;p2"/>
                <p:cNvSpPr txBox="1"/>
                <p:nvPr/>
              </p:nvSpPr>
              <p:spPr>
                <a:xfrm>
                  <a:off x="10512576" y="3314462"/>
                  <a:ext cx="481222" cy="261610"/>
                </a:xfrm>
                <a:prstGeom prst="rect">
                  <a:avLst/>
                </a:prstGeom>
                <a:grpFill/>
                <a:ln>
                  <a:noFill/>
                </a:ln>
              </p:spPr>
              <p:txBody>
                <a:bodyPr spcFirstLastPara="1" wrap="square" lIns="91425" tIns="45700" rIns="91425" bIns="45700" anchor="t" anchorCtr="0">
                  <a:sp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r>
                    <a:rPr lang="en-US" sz="1050">
                      <a:solidFill>
                        <a:schemeClr val="lt1"/>
                      </a:solidFill>
                      <a:latin typeface="Arial"/>
                      <a:ea typeface="Arial"/>
                      <a:cs typeface="Arial"/>
                      <a:sym typeface="Arial"/>
                    </a:rPr>
                    <a:t>Oryx</a:t>
                  </a:r>
                  <a:endParaRPr/>
                </a:p>
              </p:txBody>
            </p:sp>
          </p:grpSp>
        </p:grpSp>
      </p:grpSp>
      <p:sp>
        <p:nvSpPr>
          <p:cNvPr id="593" name="Google Shape;593;p2"/>
          <p:cNvSpPr/>
          <p:nvPr/>
        </p:nvSpPr>
        <p:spPr>
          <a:xfrm>
            <a:off x="5577609" y="3414859"/>
            <a:ext cx="1891792" cy="835788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 w="9525" cap="flat" cmpd="sng">
            <a:solidFill>
              <a:srgbClr val="00B6FF"/>
            </a:solidFill>
            <a:prstDash val="solid"/>
            <a:round/>
            <a:headEnd type="none" w="sm" len="sm"/>
            <a:tailEnd type="none" w="sm" len="sm"/>
          </a:ln>
          <a:effectLst>
            <a:outerShdw blurRad="40000" dist="23000" dir="5400000" rotWithShape="0">
              <a:srgbClr val="000000">
                <a:alpha val="34901"/>
              </a:srgbClr>
            </a:outerShdw>
          </a:effectLst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EACF74D0-2DD9-ECC4-6D09-1FD7DE335B84}"/>
              </a:ext>
            </a:extLst>
          </p:cNvPr>
          <p:cNvGrpSpPr/>
          <p:nvPr/>
        </p:nvGrpSpPr>
        <p:grpSpPr>
          <a:xfrm>
            <a:off x="7330128" y="355890"/>
            <a:ext cx="2378334" cy="1781893"/>
            <a:chOff x="10199209" y="1318370"/>
            <a:chExt cx="2378334" cy="1781893"/>
          </a:xfrm>
        </p:grpSpPr>
        <p:sp>
          <p:nvSpPr>
            <p:cNvPr id="554" name="Google Shape;554;p2"/>
            <p:cNvSpPr/>
            <p:nvPr/>
          </p:nvSpPr>
          <p:spPr>
            <a:xfrm>
              <a:off x="10289090" y="1681512"/>
              <a:ext cx="1891792" cy="1418751"/>
            </a:xfrm>
            <a:prstGeom prst="rect">
              <a:avLst/>
            </a:prstGeom>
            <a:solidFill>
              <a:schemeClr val="accent3">
                <a:lumMod val="60000"/>
                <a:lumOff val="40000"/>
              </a:schemeClr>
            </a:solidFill>
            <a:ln w="9525" cap="flat" cmpd="sng">
              <a:solidFill>
                <a:srgbClr val="00B6FF"/>
              </a:solidFill>
              <a:prstDash val="solid"/>
              <a:round/>
              <a:headEnd type="none" w="sm" len="sm"/>
              <a:tailEnd type="none" w="sm" len="sm"/>
            </a:ln>
            <a:effectLst>
              <a:outerShdw blurRad="40000" dist="23000" dir="5400000" rotWithShape="0">
                <a:srgbClr val="000000">
                  <a:alpha val="34901"/>
                </a:srgbClr>
              </a:outerShdw>
            </a:effectLst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589" name="Google Shape;589;p2"/>
            <p:cNvPicPr preferRelativeResize="0"/>
            <p:nvPr/>
          </p:nvPicPr>
          <p:blipFill rotWithShape="1">
            <a:blip r:embed="rId34">
              <a:alphaModFix/>
            </a:blip>
            <a:srcRect/>
            <a:stretch/>
          </p:blipFill>
          <p:spPr>
            <a:xfrm>
              <a:off x="11285562" y="2169809"/>
              <a:ext cx="786049" cy="442159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590" name="Google Shape;590;p2"/>
            <p:cNvPicPr preferRelativeResize="0"/>
            <p:nvPr/>
          </p:nvPicPr>
          <p:blipFill rotWithShape="1">
            <a:blip r:embed="rId35">
              <a:alphaModFix/>
            </a:blip>
            <a:srcRect/>
            <a:stretch/>
          </p:blipFill>
          <p:spPr>
            <a:xfrm>
              <a:off x="10698409" y="2072345"/>
              <a:ext cx="611249" cy="247127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591" name="Google Shape;591;p2"/>
            <p:cNvPicPr preferRelativeResize="0"/>
            <p:nvPr/>
          </p:nvPicPr>
          <p:blipFill rotWithShape="1">
            <a:blip r:embed="rId36">
              <a:alphaModFix/>
            </a:blip>
            <a:srcRect/>
            <a:stretch/>
          </p:blipFill>
          <p:spPr>
            <a:xfrm>
              <a:off x="10856211" y="1727355"/>
              <a:ext cx="605306" cy="272508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592" name="Google Shape;592;p2"/>
            <p:cNvPicPr preferRelativeResize="0"/>
            <p:nvPr/>
          </p:nvPicPr>
          <p:blipFill rotWithShape="1">
            <a:blip r:embed="rId37">
              <a:alphaModFix/>
            </a:blip>
            <a:srcRect/>
            <a:stretch/>
          </p:blipFill>
          <p:spPr>
            <a:xfrm>
              <a:off x="11505420" y="2726128"/>
              <a:ext cx="314808" cy="243945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595" name="Google Shape;595;p2"/>
            <p:cNvSpPr txBox="1"/>
            <p:nvPr/>
          </p:nvSpPr>
          <p:spPr>
            <a:xfrm>
              <a:off x="10199209" y="1318370"/>
              <a:ext cx="2378334" cy="338554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t" anchorCtr="0">
              <a:sp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600"/>
                <a:buFont typeface="Arial"/>
                <a:buNone/>
              </a:pPr>
              <a:r>
                <a:rPr lang="en-US" sz="1600" b="1" i="0" u="none" strike="noStrike" cap="none">
                  <a:solidFill>
                    <a:schemeClr val="accent4"/>
                  </a:solidFill>
                  <a:latin typeface="Calibri"/>
                  <a:ea typeface="Calibri"/>
                  <a:cs typeface="Calibri"/>
                  <a:sym typeface="Calibri"/>
                </a:rPr>
                <a:t>Statistics</a:t>
              </a:r>
              <a:endParaRPr/>
            </a:p>
          </p:txBody>
        </p:sp>
      </p:grpSp>
      <p:pic>
        <p:nvPicPr>
          <p:cNvPr id="603" name="Google Shape;603;p2" descr="H2o.ai is the leading company that can make a huge difference - Passionate  In Marketing"/>
          <p:cNvPicPr preferRelativeResize="0"/>
          <p:nvPr/>
        </p:nvPicPr>
        <p:blipFill rotWithShape="1">
          <a:blip r:embed="rId38">
            <a:alphaModFix/>
          </a:blip>
          <a:srcRect/>
          <a:stretch/>
        </p:blipFill>
        <p:spPr>
          <a:xfrm>
            <a:off x="5099102" y="2872394"/>
            <a:ext cx="660999" cy="289186"/>
          </a:xfrm>
          <a:prstGeom prst="rect">
            <a:avLst/>
          </a:prstGeom>
          <a:noFill/>
          <a:ln>
            <a:noFill/>
          </a:ln>
        </p:spPr>
      </p:pic>
      <p:pic>
        <p:nvPicPr>
          <p:cNvPr id="610" name="Google Shape;610;p2" descr="Shiny: la forma de crear un dashboard interactivo en R"/>
          <p:cNvPicPr preferRelativeResize="0"/>
          <p:nvPr/>
        </p:nvPicPr>
        <p:blipFill rotWithShape="1">
          <a:blip r:embed="rId39">
            <a:alphaModFix/>
          </a:blip>
          <a:srcRect/>
          <a:stretch/>
        </p:blipFill>
        <p:spPr>
          <a:xfrm>
            <a:off x="5456360" y="3537450"/>
            <a:ext cx="1012946" cy="487628"/>
          </a:xfrm>
          <a:prstGeom prst="rect">
            <a:avLst/>
          </a:prstGeom>
          <a:noFill/>
          <a:ln>
            <a:noFill/>
          </a:ln>
        </p:spPr>
      </p:pic>
      <p:sp>
        <p:nvSpPr>
          <p:cNvPr id="612" name="Google Shape;612;p2"/>
          <p:cNvSpPr txBox="1"/>
          <p:nvPr/>
        </p:nvSpPr>
        <p:spPr>
          <a:xfrm>
            <a:off x="1153290" y="3679069"/>
            <a:ext cx="2562753" cy="584775"/>
          </a:xfrm>
          <a:prstGeom prst="rect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0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Arial"/>
              <a:buNone/>
            </a:pPr>
            <a:r>
              <a:rPr lang="en-US" sz="1600" b="1" dirty="0">
                <a:solidFill>
                  <a:schemeClr val="bg1"/>
                </a:solidFill>
                <a:latin typeface="Calibri"/>
                <a:ea typeface="Calibri"/>
                <a:cs typeface="Calibri"/>
                <a:sym typeface="Calibri"/>
              </a:rPr>
              <a:t>Google API, Twitter API, beautifulsoup4,octoparse</a:t>
            </a:r>
            <a:endParaRPr dirty="0">
              <a:solidFill>
                <a:schemeClr val="bg1"/>
              </a:solidFill>
            </a:endParaRPr>
          </a:p>
        </p:txBody>
      </p:sp>
      <p:grpSp>
        <p:nvGrpSpPr>
          <p:cNvPr id="613" name="Google Shape;613;p2"/>
          <p:cNvGrpSpPr/>
          <p:nvPr/>
        </p:nvGrpSpPr>
        <p:grpSpPr>
          <a:xfrm>
            <a:off x="2629409" y="4806317"/>
            <a:ext cx="1025657" cy="1053438"/>
            <a:chOff x="5225874" y="5027223"/>
            <a:chExt cx="1504046" cy="902819"/>
          </a:xfrm>
        </p:grpSpPr>
        <p:pic>
          <p:nvPicPr>
            <p:cNvPr id="614" name="Google Shape;614;p2"/>
            <p:cNvPicPr preferRelativeResize="0"/>
            <p:nvPr/>
          </p:nvPicPr>
          <p:blipFill rotWithShape="1">
            <a:blip r:embed="rId40">
              <a:alphaModFix/>
            </a:blip>
            <a:srcRect/>
            <a:stretch/>
          </p:blipFill>
          <p:spPr>
            <a:xfrm>
              <a:off x="6031113" y="5334513"/>
              <a:ext cx="698807" cy="167058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615" name="Google Shape;615;p2"/>
            <p:cNvPicPr preferRelativeResize="0"/>
            <p:nvPr/>
          </p:nvPicPr>
          <p:blipFill rotWithShape="1">
            <a:blip r:embed="rId41">
              <a:alphaModFix/>
            </a:blip>
            <a:srcRect/>
            <a:stretch/>
          </p:blipFill>
          <p:spPr>
            <a:xfrm>
              <a:off x="6029122" y="5678038"/>
              <a:ext cx="496695" cy="231791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616" name="Google Shape;616;p2" descr="The data modeling platform for BigQuery"/>
            <p:cNvPicPr preferRelativeResize="0"/>
            <p:nvPr/>
          </p:nvPicPr>
          <p:blipFill rotWithShape="1">
            <a:blip r:embed="rId42">
              <a:alphaModFix/>
            </a:blip>
            <a:srcRect/>
            <a:stretch/>
          </p:blipFill>
          <p:spPr>
            <a:xfrm>
              <a:off x="5227610" y="5726667"/>
              <a:ext cx="595911" cy="203375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617" name="Google Shape;617;p2"/>
            <p:cNvPicPr preferRelativeResize="0"/>
            <p:nvPr/>
          </p:nvPicPr>
          <p:blipFill rotWithShape="1">
            <a:blip r:embed="rId43">
              <a:alphaModFix/>
            </a:blip>
            <a:srcRect/>
            <a:stretch/>
          </p:blipFill>
          <p:spPr>
            <a:xfrm>
              <a:off x="5225874" y="5027223"/>
              <a:ext cx="568145" cy="568145"/>
            </a:xfrm>
            <a:prstGeom prst="rect">
              <a:avLst/>
            </a:prstGeom>
            <a:noFill/>
            <a:ln w="9525" cap="flat" cmpd="sng">
              <a:solidFill>
                <a:srgbClr val="2B45CF"/>
              </a:solidFill>
              <a:prstDash val="solid"/>
              <a:round/>
              <a:headEnd type="none" w="sm" len="sm"/>
              <a:tailEnd type="none" w="sm" len="sm"/>
            </a:ln>
          </p:spPr>
        </p:pic>
      </p:grpSp>
      <p:sp>
        <p:nvSpPr>
          <p:cNvPr id="618" name="Google Shape;618;p2"/>
          <p:cNvSpPr txBox="1"/>
          <p:nvPr/>
        </p:nvSpPr>
        <p:spPr>
          <a:xfrm>
            <a:off x="5165004" y="4397177"/>
            <a:ext cx="940798" cy="261610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0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50"/>
              <a:buFont typeface="Arial"/>
              <a:buNone/>
            </a:pPr>
            <a:r>
              <a:rPr lang="en-US" sz="1050" b="1" dirty="0" err="1">
                <a:solidFill>
                  <a:schemeClr val="bg1"/>
                </a:solidFill>
                <a:latin typeface="Calibri"/>
                <a:ea typeface="Calibri"/>
                <a:cs typeface="Calibri"/>
                <a:sym typeface="Calibri"/>
              </a:rPr>
              <a:t>Github</a:t>
            </a:r>
            <a:r>
              <a:rPr lang="en-US" sz="1050" b="1" dirty="0">
                <a:solidFill>
                  <a:schemeClr val="bg1"/>
                </a:solidFill>
                <a:latin typeface="Calibri"/>
                <a:ea typeface="Calibri"/>
                <a:cs typeface="Calibri"/>
                <a:sym typeface="Calibri"/>
              </a:rPr>
              <a:t>, GitLab</a:t>
            </a:r>
            <a:endParaRPr dirty="0">
              <a:solidFill>
                <a:schemeClr val="bg1"/>
              </a:solidFill>
            </a:endParaRPr>
          </a:p>
        </p:txBody>
      </p:sp>
      <p:pic>
        <p:nvPicPr>
          <p:cNvPr id="619" name="Google Shape;619;p2"/>
          <p:cNvPicPr preferRelativeResize="0"/>
          <p:nvPr/>
        </p:nvPicPr>
        <p:blipFill rotWithShape="1">
          <a:blip r:embed="rId44">
            <a:alphaModFix/>
          </a:blip>
          <a:srcRect/>
          <a:stretch/>
        </p:blipFill>
        <p:spPr>
          <a:xfrm>
            <a:off x="7330128" y="2831245"/>
            <a:ext cx="144474" cy="156061"/>
          </a:xfrm>
          <a:prstGeom prst="rect">
            <a:avLst/>
          </a:prstGeom>
          <a:noFill/>
          <a:ln>
            <a:noFill/>
          </a:ln>
        </p:spPr>
      </p:pic>
      <p:pic>
        <p:nvPicPr>
          <p:cNvPr id="620" name="Google Shape;620;p2"/>
          <p:cNvPicPr preferRelativeResize="0"/>
          <p:nvPr/>
        </p:nvPicPr>
        <p:blipFill rotWithShape="1">
          <a:blip r:embed="rId45">
            <a:alphaModFix/>
          </a:blip>
          <a:srcRect/>
          <a:stretch/>
        </p:blipFill>
        <p:spPr>
          <a:xfrm>
            <a:off x="8541097" y="6456631"/>
            <a:ext cx="626315" cy="237581"/>
          </a:xfrm>
          <a:prstGeom prst="rect">
            <a:avLst/>
          </a:prstGeom>
          <a:noFill/>
          <a:ln>
            <a:noFill/>
          </a:ln>
        </p:spPr>
      </p:pic>
      <p:pic>
        <p:nvPicPr>
          <p:cNvPr id="621" name="Google Shape;621;p2"/>
          <p:cNvPicPr preferRelativeResize="0"/>
          <p:nvPr/>
        </p:nvPicPr>
        <p:blipFill rotWithShape="1">
          <a:blip r:embed="rId46">
            <a:alphaModFix/>
          </a:blip>
          <a:srcRect/>
          <a:stretch/>
        </p:blipFill>
        <p:spPr>
          <a:xfrm>
            <a:off x="7621318" y="2908087"/>
            <a:ext cx="314238" cy="139690"/>
          </a:xfrm>
          <a:prstGeom prst="rect">
            <a:avLst/>
          </a:prstGeom>
          <a:noFill/>
          <a:ln>
            <a:noFill/>
          </a:ln>
        </p:spPr>
      </p:pic>
      <p:pic>
        <p:nvPicPr>
          <p:cNvPr id="622" name="Google Shape;622;p2"/>
          <p:cNvPicPr preferRelativeResize="0"/>
          <p:nvPr/>
        </p:nvPicPr>
        <p:blipFill rotWithShape="1">
          <a:blip r:embed="rId47">
            <a:alphaModFix/>
          </a:blip>
          <a:srcRect/>
          <a:stretch/>
        </p:blipFill>
        <p:spPr>
          <a:xfrm>
            <a:off x="7298483" y="2580895"/>
            <a:ext cx="481286" cy="145216"/>
          </a:xfrm>
          <a:prstGeom prst="rect">
            <a:avLst/>
          </a:prstGeom>
          <a:noFill/>
          <a:ln>
            <a:noFill/>
          </a:ln>
        </p:spPr>
      </p:pic>
      <p:pic>
        <p:nvPicPr>
          <p:cNvPr id="623" name="Google Shape;623;p2"/>
          <p:cNvPicPr preferRelativeResize="0"/>
          <p:nvPr/>
        </p:nvPicPr>
        <p:blipFill rotWithShape="1">
          <a:blip r:embed="rId48">
            <a:alphaModFix/>
          </a:blip>
          <a:srcRect/>
          <a:stretch/>
        </p:blipFill>
        <p:spPr>
          <a:xfrm>
            <a:off x="7661852" y="3252970"/>
            <a:ext cx="452315" cy="147667"/>
          </a:xfrm>
          <a:prstGeom prst="rect">
            <a:avLst/>
          </a:prstGeom>
          <a:noFill/>
          <a:ln>
            <a:noFill/>
          </a:ln>
        </p:spPr>
      </p:pic>
      <p:pic>
        <p:nvPicPr>
          <p:cNvPr id="624" name="Google Shape;624;p2"/>
          <p:cNvPicPr preferRelativeResize="0"/>
          <p:nvPr/>
        </p:nvPicPr>
        <p:blipFill rotWithShape="1">
          <a:blip r:embed="rId49">
            <a:alphaModFix/>
          </a:blip>
          <a:srcRect/>
          <a:stretch/>
        </p:blipFill>
        <p:spPr>
          <a:xfrm>
            <a:off x="7402589" y="2376393"/>
            <a:ext cx="558257" cy="131526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625" name="Google Shape;625;p2"/>
          <p:cNvGrpSpPr/>
          <p:nvPr/>
        </p:nvGrpSpPr>
        <p:grpSpPr>
          <a:xfrm>
            <a:off x="6666261" y="3163781"/>
            <a:ext cx="581659" cy="207209"/>
            <a:chOff x="3303032" y="3897378"/>
            <a:chExt cx="827007" cy="258887"/>
          </a:xfrm>
        </p:grpSpPr>
        <p:pic>
          <p:nvPicPr>
            <p:cNvPr id="626" name="Google Shape;626;p2"/>
            <p:cNvPicPr preferRelativeResize="0"/>
            <p:nvPr/>
          </p:nvPicPr>
          <p:blipFill rotWithShape="1">
            <a:blip r:embed="rId50">
              <a:alphaModFix/>
            </a:blip>
            <a:srcRect/>
            <a:stretch/>
          </p:blipFill>
          <p:spPr>
            <a:xfrm>
              <a:off x="3303032" y="3897378"/>
              <a:ext cx="258887" cy="258887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627" name="Google Shape;627;p2"/>
            <p:cNvSpPr txBox="1"/>
            <p:nvPr/>
          </p:nvSpPr>
          <p:spPr>
            <a:xfrm>
              <a:off x="3509356" y="3915160"/>
              <a:ext cx="620683" cy="230832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t" anchorCtr="0">
              <a:sp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90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Seaborn</a:t>
              </a:r>
              <a:endParaRPr/>
            </a:p>
          </p:txBody>
        </p:sp>
      </p:grpSp>
      <p:pic>
        <p:nvPicPr>
          <p:cNvPr id="628" name="Google Shape;628;p2"/>
          <p:cNvPicPr preferRelativeResize="0"/>
          <p:nvPr/>
        </p:nvPicPr>
        <p:blipFill rotWithShape="1">
          <a:blip r:embed="rId51">
            <a:alphaModFix/>
          </a:blip>
          <a:srcRect/>
          <a:stretch/>
        </p:blipFill>
        <p:spPr>
          <a:xfrm>
            <a:off x="5997595" y="3240265"/>
            <a:ext cx="573575" cy="129766"/>
          </a:xfrm>
          <a:prstGeom prst="rect">
            <a:avLst/>
          </a:prstGeom>
          <a:noFill/>
          <a:ln>
            <a:noFill/>
          </a:ln>
        </p:spPr>
      </p:pic>
      <p:pic>
        <p:nvPicPr>
          <p:cNvPr id="629" name="Google Shape;629;p2"/>
          <p:cNvPicPr preferRelativeResize="0"/>
          <p:nvPr/>
        </p:nvPicPr>
        <p:blipFill rotWithShape="1">
          <a:blip r:embed="rId52">
            <a:alphaModFix/>
          </a:blip>
          <a:srcRect/>
          <a:stretch/>
        </p:blipFill>
        <p:spPr>
          <a:xfrm>
            <a:off x="8367409" y="5697030"/>
            <a:ext cx="342215" cy="204861"/>
          </a:xfrm>
          <a:prstGeom prst="rect">
            <a:avLst/>
          </a:prstGeom>
          <a:noFill/>
          <a:ln>
            <a:noFill/>
          </a:ln>
        </p:spPr>
      </p:pic>
      <p:pic>
        <p:nvPicPr>
          <p:cNvPr id="630" name="Google Shape;630;p2"/>
          <p:cNvPicPr preferRelativeResize="0"/>
          <p:nvPr/>
        </p:nvPicPr>
        <p:blipFill rotWithShape="1">
          <a:blip r:embed="rId53">
            <a:alphaModFix/>
          </a:blip>
          <a:srcRect/>
          <a:stretch/>
        </p:blipFill>
        <p:spPr>
          <a:xfrm>
            <a:off x="6989040" y="5678756"/>
            <a:ext cx="530299" cy="153293"/>
          </a:xfrm>
          <a:prstGeom prst="rect">
            <a:avLst/>
          </a:prstGeom>
          <a:noFill/>
          <a:ln>
            <a:noFill/>
          </a:ln>
        </p:spPr>
      </p:pic>
      <p:pic>
        <p:nvPicPr>
          <p:cNvPr id="631" name="Google Shape;631;p2"/>
          <p:cNvPicPr preferRelativeResize="0"/>
          <p:nvPr/>
        </p:nvPicPr>
        <p:blipFill rotWithShape="1">
          <a:blip r:embed="rId54">
            <a:alphaModFix/>
          </a:blip>
          <a:srcRect/>
          <a:stretch/>
        </p:blipFill>
        <p:spPr>
          <a:xfrm>
            <a:off x="7441756" y="5893124"/>
            <a:ext cx="772345" cy="482716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32" name="Google Shape;632;p2"/>
          <p:cNvCxnSpPr>
            <a:cxnSpLocks/>
          </p:cNvCxnSpPr>
          <p:nvPr/>
        </p:nvCxnSpPr>
        <p:spPr>
          <a:xfrm rot="16200000" flipV="1">
            <a:off x="8464771" y="5914064"/>
            <a:ext cx="598180" cy="421445"/>
          </a:xfrm>
          <a:prstGeom prst="bentConnector3">
            <a:avLst>
              <a:gd name="adj1" fmla="val 50000"/>
            </a:avLst>
          </a:prstGeom>
          <a:noFill/>
          <a:ln w="12700" cap="flat" cmpd="sng">
            <a:solidFill>
              <a:schemeClr val="dk1"/>
            </a:solidFill>
            <a:prstDash val="dash"/>
            <a:round/>
            <a:headEnd type="none" w="sm" len="sm"/>
            <a:tailEnd type="none" w="sm" len="sm"/>
          </a:ln>
        </p:spPr>
      </p:cxnSp>
      <p:grpSp>
        <p:nvGrpSpPr>
          <p:cNvPr id="5" name="Group 4">
            <a:extLst>
              <a:ext uri="{FF2B5EF4-FFF2-40B4-BE49-F238E27FC236}">
                <a16:creationId xmlns:a16="http://schemas.microsoft.com/office/drawing/2014/main" id="{0CD02294-AF24-5767-FDF7-BF7045F8B988}"/>
              </a:ext>
            </a:extLst>
          </p:cNvPr>
          <p:cNvGrpSpPr/>
          <p:nvPr/>
        </p:nvGrpSpPr>
        <p:grpSpPr>
          <a:xfrm>
            <a:off x="4437210" y="311872"/>
            <a:ext cx="3130827" cy="1982992"/>
            <a:chOff x="8825173" y="4289780"/>
            <a:chExt cx="3130827" cy="1982992"/>
          </a:xfrm>
        </p:grpSpPr>
        <p:sp>
          <p:nvSpPr>
            <p:cNvPr id="594" name="Google Shape;594;p2"/>
            <p:cNvSpPr/>
            <p:nvPr/>
          </p:nvSpPr>
          <p:spPr>
            <a:xfrm>
              <a:off x="8955975" y="4586548"/>
              <a:ext cx="3000025" cy="1653364"/>
            </a:xfrm>
            <a:prstGeom prst="rect">
              <a:avLst/>
            </a:prstGeom>
            <a:solidFill>
              <a:schemeClr val="accent4"/>
            </a:solidFill>
            <a:ln w="9525" cap="flat" cmpd="sng">
              <a:solidFill>
                <a:srgbClr val="00B6FF"/>
              </a:solidFill>
              <a:prstDash val="solid"/>
              <a:round/>
              <a:headEnd type="none" w="sm" len="sm"/>
              <a:tailEnd type="none" w="sm" len="sm"/>
            </a:ln>
            <a:effectLst>
              <a:outerShdw blurRad="40000" dist="23000" dir="5400000" rotWithShape="0">
                <a:srgbClr val="000000">
                  <a:alpha val="34901"/>
                </a:srgbClr>
              </a:outerShdw>
            </a:effectLst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596" name="Google Shape;596;p2"/>
            <p:cNvSpPr txBox="1"/>
            <p:nvPr/>
          </p:nvSpPr>
          <p:spPr>
            <a:xfrm>
              <a:off x="8825173" y="4289780"/>
              <a:ext cx="2378334" cy="338554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t" anchorCtr="0">
              <a:sp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600"/>
                <a:buFont typeface="Arial"/>
                <a:buNone/>
              </a:pPr>
              <a:r>
                <a:rPr lang="en-US" sz="1600" b="1" i="0" u="none" strike="noStrike" cap="none">
                  <a:solidFill>
                    <a:schemeClr val="accent4"/>
                  </a:solidFill>
                  <a:latin typeface="Calibri"/>
                  <a:ea typeface="Calibri"/>
                  <a:cs typeface="Calibri"/>
                  <a:sym typeface="Calibri"/>
                </a:rPr>
                <a:t>Machine Learning</a:t>
              </a:r>
              <a:endParaRPr/>
            </a:p>
          </p:txBody>
        </p:sp>
        <p:sp>
          <p:nvSpPr>
            <p:cNvPr id="597" name="Google Shape;597;p2"/>
            <p:cNvSpPr/>
            <p:nvPr/>
          </p:nvSpPr>
          <p:spPr>
            <a:xfrm>
              <a:off x="9588653" y="6161387"/>
              <a:ext cx="5611" cy="8355"/>
            </a:xfrm>
            <a:custGeom>
              <a:avLst/>
              <a:gdLst/>
              <a:ahLst/>
              <a:cxnLst/>
              <a:rect l="l" t="t" r="r" b="b"/>
              <a:pathLst>
                <a:path w="5611" h="8355" extrusionOk="0">
                  <a:moveTo>
                    <a:pt x="5611" y="1342"/>
                  </a:moveTo>
                  <a:cubicBezTo>
                    <a:pt x="5367" y="915"/>
                    <a:pt x="5062" y="488"/>
                    <a:pt x="4818" y="0"/>
                  </a:cubicBezTo>
                  <a:cubicBezTo>
                    <a:pt x="3354" y="2866"/>
                    <a:pt x="1708" y="5611"/>
                    <a:pt x="0" y="8355"/>
                  </a:cubicBezTo>
                  <a:lnTo>
                    <a:pt x="1769" y="8355"/>
                  </a:lnTo>
                  <a:cubicBezTo>
                    <a:pt x="3110" y="6038"/>
                    <a:pt x="4391" y="3720"/>
                    <a:pt x="5611" y="1342"/>
                  </a:cubicBezTo>
                  <a:close/>
                </a:path>
              </a:pathLst>
            </a:custGeom>
            <a:solidFill>
              <a:srgbClr val="0005C3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598" name="Google Shape;598;p2"/>
            <p:cNvSpPr/>
            <p:nvPr/>
          </p:nvSpPr>
          <p:spPr>
            <a:xfrm>
              <a:off x="9593410" y="6105095"/>
              <a:ext cx="14271" cy="57695"/>
            </a:xfrm>
            <a:custGeom>
              <a:avLst/>
              <a:gdLst/>
              <a:ahLst/>
              <a:cxnLst/>
              <a:rect l="l" t="t" r="r" b="b"/>
              <a:pathLst>
                <a:path w="14271" h="57695" extrusionOk="0">
                  <a:moveTo>
                    <a:pt x="14271" y="1403"/>
                  </a:moveTo>
                  <a:cubicBezTo>
                    <a:pt x="14271" y="915"/>
                    <a:pt x="14210" y="427"/>
                    <a:pt x="14210" y="0"/>
                  </a:cubicBezTo>
                  <a:cubicBezTo>
                    <a:pt x="13966" y="20309"/>
                    <a:pt x="8843" y="39460"/>
                    <a:pt x="0" y="56353"/>
                  </a:cubicBezTo>
                  <a:cubicBezTo>
                    <a:pt x="244" y="56780"/>
                    <a:pt x="549" y="57207"/>
                    <a:pt x="793" y="57695"/>
                  </a:cubicBezTo>
                  <a:cubicBezTo>
                    <a:pt x="9331" y="40801"/>
                    <a:pt x="14210" y="21712"/>
                    <a:pt x="14210" y="1464"/>
                  </a:cubicBezTo>
                  <a:close/>
                </a:path>
              </a:pathLst>
            </a:custGeom>
            <a:solidFill>
              <a:srgbClr val="0005C3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599" name="Google Shape;599;p2"/>
            <p:cNvSpPr/>
            <p:nvPr/>
          </p:nvSpPr>
          <p:spPr>
            <a:xfrm>
              <a:off x="9581212" y="6169743"/>
              <a:ext cx="9209" cy="10733"/>
            </a:xfrm>
            <a:custGeom>
              <a:avLst/>
              <a:gdLst/>
              <a:ahLst/>
              <a:cxnLst/>
              <a:rect l="l" t="t" r="r" b="b"/>
              <a:pathLst>
                <a:path w="9209" h="10733" extrusionOk="0">
                  <a:moveTo>
                    <a:pt x="0" y="10734"/>
                  </a:moveTo>
                  <a:lnTo>
                    <a:pt x="2135" y="10734"/>
                  </a:lnTo>
                  <a:cubicBezTo>
                    <a:pt x="4635" y="7319"/>
                    <a:pt x="7014" y="3720"/>
                    <a:pt x="9209" y="0"/>
                  </a:cubicBezTo>
                  <a:lnTo>
                    <a:pt x="7441" y="0"/>
                  </a:lnTo>
                  <a:cubicBezTo>
                    <a:pt x="5184" y="3537"/>
                    <a:pt x="2866" y="7075"/>
                    <a:pt x="305" y="10368"/>
                  </a:cubicBezTo>
                  <a:lnTo>
                    <a:pt x="61" y="10673"/>
                  </a:lnTo>
                  <a:close/>
                </a:path>
              </a:pathLst>
            </a:custGeom>
            <a:solidFill>
              <a:srgbClr val="BD6AF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600" name="Google Shape;600;p2"/>
            <p:cNvPicPr preferRelativeResize="0"/>
            <p:nvPr/>
          </p:nvPicPr>
          <p:blipFill rotWithShape="1">
            <a:blip r:embed="rId55">
              <a:alphaModFix/>
            </a:blip>
            <a:srcRect/>
            <a:stretch/>
          </p:blipFill>
          <p:spPr>
            <a:xfrm>
              <a:off x="9018367" y="5117061"/>
              <a:ext cx="556343" cy="137331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601" name="Google Shape;601;p2"/>
            <p:cNvPicPr preferRelativeResize="0"/>
            <p:nvPr/>
          </p:nvPicPr>
          <p:blipFill rotWithShape="1">
            <a:blip r:embed="rId56">
              <a:alphaModFix/>
            </a:blip>
            <a:srcRect/>
            <a:stretch/>
          </p:blipFill>
          <p:spPr>
            <a:xfrm>
              <a:off x="9139014" y="5726667"/>
              <a:ext cx="544243" cy="157828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602" name="Google Shape;602;p2"/>
            <p:cNvPicPr preferRelativeResize="0"/>
            <p:nvPr/>
          </p:nvPicPr>
          <p:blipFill rotWithShape="1">
            <a:blip r:embed="rId57">
              <a:alphaModFix/>
            </a:blip>
            <a:srcRect/>
            <a:stretch/>
          </p:blipFill>
          <p:spPr>
            <a:xfrm>
              <a:off x="9015749" y="5320333"/>
              <a:ext cx="790775" cy="260440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604" name="Google Shape;604;p2" descr="LF AI &amp; Data Foundation Logos and Artwork - ONNX"/>
            <p:cNvPicPr preferRelativeResize="0"/>
            <p:nvPr/>
          </p:nvPicPr>
          <p:blipFill rotWithShape="1">
            <a:blip r:embed="rId58">
              <a:alphaModFix/>
            </a:blip>
            <a:srcRect/>
            <a:stretch/>
          </p:blipFill>
          <p:spPr>
            <a:xfrm>
              <a:off x="9706329" y="5158387"/>
              <a:ext cx="552056" cy="152773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605" name="Google Shape;605;p2"/>
            <p:cNvPicPr preferRelativeResize="0"/>
            <p:nvPr/>
          </p:nvPicPr>
          <p:blipFill rotWithShape="1">
            <a:blip r:embed="rId59">
              <a:alphaModFix/>
            </a:blip>
            <a:srcRect/>
            <a:stretch/>
          </p:blipFill>
          <p:spPr>
            <a:xfrm>
              <a:off x="8976203" y="4675421"/>
              <a:ext cx="590121" cy="227107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606" name="Google Shape;606;p2" descr="AI and Machine Learning Applications in Atlanta | Digital Scientists"/>
            <p:cNvPicPr preferRelativeResize="0"/>
            <p:nvPr/>
          </p:nvPicPr>
          <p:blipFill rotWithShape="1">
            <a:blip r:embed="rId60">
              <a:alphaModFix/>
            </a:blip>
            <a:srcRect/>
            <a:stretch/>
          </p:blipFill>
          <p:spPr>
            <a:xfrm>
              <a:off x="10499477" y="5198839"/>
              <a:ext cx="897796" cy="580616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607" name="Google Shape;607;p2"/>
            <p:cNvSpPr/>
            <p:nvPr/>
          </p:nvSpPr>
          <p:spPr>
            <a:xfrm>
              <a:off x="9167412" y="5581537"/>
              <a:ext cx="68414" cy="69975"/>
            </a:xfrm>
            <a:prstGeom prst="ellipse">
              <a:avLst/>
            </a:pr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608" name="Google Shape;608;p2"/>
            <p:cNvSpPr/>
            <p:nvPr/>
          </p:nvSpPr>
          <p:spPr>
            <a:xfrm>
              <a:off x="10486358" y="6075476"/>
              <a:ext cx="68414" cy="69975"/>
            </a:xfrm>
            <a:prstGeom prst="ellipse">
              <a:avLst/>
            </a:pr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609" name="Google Shape;609;p2"/>
            <p:cNvPicPr preferRelativeResize="0"/>
            <p:nvPr/>
          </p:nvPicPr>
          <p:blipFill rotWithShape="1">
            <a:blip r:embed="rId61">
              <a:clrChange>
                <a:clrFrom>
                  <a:srgbClr val="000000"/>
                </a:clrFrom>
                <a:clrTo>
                  <a:srgbClr val="000000">
                    <a:alpha val="0"/>
                  </a:srgbClr>
                </a:clrTo>
              </a:clrChange>
              <a:alphaModFix/>
            </a:blip>
            <a:srcRect/>
            <a:stretch/>
          </p:blipFill>
          <p:spPr>
            <a:xfrm>
              <a:off x="10682271" y="5622452"/>
              <a:ext cx="1052954" cy="569622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611" name="Google Shape;611;p2"/>
            <p:cNvPicPr preferRelativeResize="0"/>
            <p:nvPr/>
          </p:nvPicPr>
          <p:blipFill rotWithShape="1">
            <a:blip r:embed="rId62">
              <a:alphaModFix/>
            </a:blip>
            <a:srcRect/>
            <a:stretch/>
          </p:blipFill>
          <p:spPr>
            <a:xfrm>
              <a:off x="10772125" y="4945418"/>
              <a:ext cx="862763" cy="192360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633" name="Google Shape;633;p2" descr="A picture containing pool ball&#10;&#10;Description automatically generated"/>
            <p:cNvPicPr preferRelativeResize="0"/>
            <p:nvPr/>
          </p:nvPicPr>
          <p:blipFill rotWithShape="1">
            <a:blip r:embed="rId63">
              <a:alphaModFix/>
              <a:lum bright="70000" contrast="-70000"/>
            </a:blip>
            <a:srcRect/>
            <a:stretch/>
          </p:blipFill>
          <p:spPr>
            <a:xfrm>
              <a:off x="9613725" y="5419330"/>
              <a:ext cx="1353530" cy="853442"/>
            </a:xfrm>
            <a:prstGeom prst="rect">
              <a:avLst/>
            </a:prstGeom>
            <a:noFill/>
            <a:ln>
              <a:noFill/>
            </a:ln>
          </p:spPr>
        </p:pic>
      </p:grpSp>
      <p:graphicFrame>
        <p:nvGraphicFramePr>
          <p:cNvPr id="634" name="Google Shape;634;p2"/>
          <p:cNvGraphicFramePr/>
          <p:nvPr>
            <p:extLst>
              <p:ext uri="{D42A27DB-BD31-4B8C-83A1-F6EECF244321}">
                <p14:modId xmlns:p14="http://schemas.microsoft.com/office/powerpoint/2010/main" val="2322801811"/>
              </p:ext>
            </p:extLst>
          </p:nvPr>
        </p:nvGraphicFramePr>
        <p:xfrm>
          <a:off x="6156477" y="3366939"/>
          <a:ext cx="1245900" cy="838200"/>
        </p:xfrm>
        <a:graphic>
          <a:graphicData uri="http://schemas.openxmlformats.org/drawingml/2006/table">
            <a:tbl>
              <a:tblPr>
                <a:noFill/>
                <a:tableStyleId>{16085891-97FF-4366-B01B-A9D25EA9504F}</a:tableStyleId>
              </a:tblPr>
              <a:tblGrid>
                <a:gridCol w="12459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151150"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100" u="none" strike="noStrike" cap="none"/>
                        <a:t>Gradio</a:t>
                      </a:r>
                      <a:endParaRPr sz="1100" u="none" strike="noStrike" cap="none"/>
                    </a:p>
                  </a:txBody>
                  <a:tcPr marL="12025" marR="12025" marT="0" marB="0" anchor="ctr">
                    <a:lnL w="9525" cap="flat" cmpd="sng">
                      <a:solidFill>
                        <a:srgbClr val="CCCCCC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CCCCCC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CCCCCC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CCCCCC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51150"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100" u="none" strike="noStrike" cap="none"/>
                        <a:t>Streamlit</a:t>
                      </a:r>
                      <a:endParaRPr sz="1100" u="none" strike="noStrike" cap="none"/>
                    </a:p>
                  </a:txBody>
                  <a:tcPr marL="12025" marR="12025" marT="0" marB="0" anchor="ctr">
                    <a:lnL w="9525" cap="flat" cmpd="sng">
                      <a:solidFill>
                        <a:srgbClr val="CCCCCC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CCCCCC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CCCCCC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CCCCCC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51150"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100" u="none" strike="noStrike" cap="none"/>
                        <a:t>Flask</a:t>
                      </a:r>
                      <a:endParaRPr/>
                    </a:p>
                  </a:txBody>
                  <a:tcPr marL="12025" marR="12025" marT="0" marB="0" anchor="ctr">
                    <a:lnL w="9525" cap="flat" cmpd="sng">
                      <a:solidFill>
                        <a:srgbClr val="CCCCCC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CCCCCC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CCCCCC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CCCCCC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51150"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100" u="none" strike="noStrike" cap="none"/>
                        <a:t>Django</a:t>
                      </a:r>
                      <a:endParaRPr/>
                    </a:p>
                  </a:txBody>
                  <a:tcPr marL="12025" marR="12025" marT="0" marB="0" anchor="ctr">
                    <a:lnL w="9525" cap="flat" cmpd="sng">
                      <a:solidFill>
                        <a:srgbClr val="CCCCCC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CCCCCC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CCCCCC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CCCCCC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51150"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100" u="none" strike="noStrike" cap="none" dirty="0"/>
                        <a:t>React native</a:t>
                      </a:r>
                      <a:endParaRPr dirty="0"/>
                    </a:p>
                  </a:txBody>
                  <a:tcPr marL="12025" marR="12025" marT="0" marB="0" anchor="ctr">
                    <a:lnL w="9525" cap="flat" cmpd="sng">
                      <a:solidFill>
                        <a:srgbClr val="CCCCCC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CCCCCC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CCCCCC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CCCCCC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65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5" name="Google Shape;655;p5"/>
          <p:cNvSpPr txBox="1">
            <a:spLocks noGrp="1"/>
          </p:cNvSpPr>
          <p:nvPr>
            <p:ph type="title"/>
          </p:nvPr>
        </p:nvSpPr>
        <p:spPr>
          <a:xfrm>
            <a:off x="531813" y="560588"/>
            <a:ext cx="11089972" cy="4431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3200"/>
              <a:buNone/>
            </a:pPr>
            <a:r>
              <a:rPr lang="en-US"/>
              <a:t>Technologies Infomineo can be handling  </a:t>
            </a:r>
            <a:endParaRPr/>
          </a:p>
        </p:txBody>
      </p:sp>
      <p:sp>
        <p:nvSpPr>
          <p:cNvPr id="656" name="Google Shape;656;p5"/>
          <p:cNvSpPr/>
          <p:nvPr/>
        </p:nvSpPr>
        <p:spPr>
          <a:xfrm>
            <a:off x="3167283" y="4931186"/>
            <a:ext cx="4549746" cy="765406"/>
          </a:xfrm>
          <a:custGeom>
            <a:avLst/>
            <a:gdLst/>
            <a:ahLst/>
            <a:cxnLst/>
            <a:rect l="l" t="t" r="r" b="b"/>
            <a:pathLst>
              <a:path w="4549746" h="765406" extrusionOk="0">
                <a:moveTo>
                  <a:pt x="3930774" y="619034"/>
                </a:moveTo>
                <a:lnTo>
                  <a:pt x="2546333" y="619034"/>
                </a:lnTo>
                <a:lnTo>
                  <a:pt x="2546333" y="624523"/>
                </a:lnTo>
                <a:lnTo>
                  <a:pt x="1225260" y="624523"/>
                </a:lnTo>
                <a:lnTo>
                  <a:pt x="1225260" y="625133"/>
                </a:lnTo>
                <a:lnTo>
                  <a:pt x="626718" y="625133"/>
                </a:lnTo>
                <a:cubicBezTo>
                  <a:pt x="307016" y="625133"/>
                  <a:pt x="42753" y="388070"/>
                  <a:pt x="0" y="80200"/>
                </a:cubicBezTo>
                <a:lnTo>
                  <a:pt x="0" y="146373"/>
                </a:lnTo>
                <a:cubicBezTo>
                  <a:pt x="0" y="488274"/>
                  <a:pt x="277132" y="765407"/>
                  <a:pt x="619034" y="765407"/>
                </a:cubicBezTo>
                <a:lnTo>
                  <a:pt x="3930713" y="765407"/>
                </a:lnTo>
                <a:cubicBezTo>
                  <a:pt x="4272614" y="765407"/>
                  <a:pt x="4549747" y="488274"/>
                  <a:pt x="4549747" y="146373"/>
                </a:cubicBezTo>
                <a:lnTo>
                  <a:pt x="4549747" y="0"/>
                </a:lnTo>
                <a:cubicBezTo>
                  <a:pt x="4549747" y="341902"/>
                  <a:pt x="4272614" y="619034"/>
                  <a:pt x="3930713" y="619034"/>
                </a:cubicBezTo>
                <a:close/>
              </a:path>
            </a:pathLst>
          </a:custGeom>
          <a:solidFill>
            <a:srgbClr val="0F47F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57" name="Google Shape;657;p5"/>
          <p:cNvSpPr/>
          <p:nvPr/>
        </p:nvSpPr>
        <p:spPr>
          <a:xfrm>
            <a:off x="7716846" y="4915938"/>
            <a:ext cx="243" cy="15247"/>
          </a:xfrm>
          <a:custGeom>
            <a:avLst/>
            <a:gdLst/>
            <a:ahLst/>
            <a:cxnLst/>
            <a:rect l="l" t="t" r="r" b="b"/>
            <a:pathLst>
              <a:path w="243" h="15247" extrusionOk="0">
                <a:moveTo>
                  <a:pt x="244" y="0"/>
                </a:moveTo>
                <a:lnTo>
                  <a:pt x="0" y="0"/>
                </a:lnTo>
                <a:cubicBezTo>
                  <a:pt x="122" y="5062"/>
                  <a:pt x="244" y="10124"/>
                  <a:pt x="244" y="15247"/>
                </a:cubicBezTo>
                <a:lnTo>
                  <a:pt x="244" y="0"/>
                </a:lnTo>
                <a:close/>
              </a:path>
            </a:pathLst>
          </a:custGeom>
          <a:solidFill>
            <a:srgbClr val="0F47F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58" name="Google Shape;658;p5"/>
          <p:cNvSpPr/>
          <p:nvPr/>
        </p:nvSpPr>
        <p:spPr>
          <a:xfrm>
            <a:off x="2838006" y="2294833"/>
            <a:ext cx="743999" cy="782117"/>
          </a:xfrm>
          <a:custGeom>
            <a:avLst/>
            <a:gdLst/>
            <a:ahLst/>
            <a:cxnLst/>
            <a:rect l="l" t="t" r="r" b="b"/>
            <a:pathLst>
              <a:path w="743999" h="782117" extrusionOk="0">
                <a:moveTo>
                  <a:pt x="622083" y="601896"/>
                </a:moveTo>
                <a:lnTo>
                  <a:pt x="619034" y="602384"/>
                </a:lnTo>
                <a:cubicBezTo>
                  <a:pt x="282865" y="602384"/>
                  <a:pt x="9331" y="334461"/>
                  <a:pt x="244" y="488"/>
                </a:cubicBezTo>
                <a:cubicBezTo>
                  <a:pt x="183" y="305"/>
                  <a:pt x="61" y="122"/>
                  <a:pt x="0" y="0"/>
                </a:cubicBezTo>
                <a:lnTo>
                  <a:pt x="0" y="99289"/>
                </a:lnTo>
                <a:cubicBezTo>
                  <a:pt x="0" y="441191"/>
                  <a:pt x="274083" y="718323"/>
                  <a:pt x="615984" y="718323"/>
                </a:cubicBezTo>
                <a:lnTo>
                  <a:pt x="618790" y="717835"/>
                </a:lnTo>
                <a:cubicBezTo>
                  <a:pt x="663799" y="717835"/>
                  <a:pt x="707467" y="746256"/>
                  <a:pt x="729789" y="782117"/>
                </a:cubicBezTo>
                <a:cubicBezTo>
                  <a:pt x="738633" y="765224"/>
                  <a:pt x="743695" y="746073"/>
                  <a:pt x="744000" y="725764"/>
                </a:cubicBezTo>
                <a:cubicBezTo>
                  <a:pt x="743268" y="657213"/>
                  <a:pt x="690818" y="601896"/>
                  <a:pt x="622083" y="601896"/>
                </a:cubicBezTo>
                <a:close/>
              </a:path>
            </a:pathLst>
          </a:custGeom>
          <a:solidFill>
            <a:srgbClr val="0F47F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59" name="Google Shape;659;p5"/>
          <p:cNvSpPr/>
          <p:nvPr/>
        </p:nvSpPr>
        <p:spPr>
          <a:xfrm>
            <a:off x="1784611" y="3476974"/>
            <a:ext cx="1544962" cy="874576"/>
          </a:xfrm>
          <a:custGeom>
            <a:avLst/>
            <a:gdLst/>
            <a:ahLst/>
            <a:cxnLst/>
            <a:rect l="l" t="t" r="r" b="b"/>
            <a:pathLst>
              <a:path w="1544962" h="874576" extrusionOk="0">
                <a:moveTo>
                  <a:pt x="1542096" y="756929"/>
                </a:moveTo>
                <a:cubicBezTo>
                  <a:pt x="1541059" y="749001"/>
                  <a:pt x="1539839" y="741194"/>
                  <a:pt x="1538497" y="733388"/>
                </a:cubicBezTo>
                <a:lnTo>
                  <a:pt x="1532886" y="733388"/>
                </a:lnTo>
                <a:cubicBezTo>
                  <a:pt x="1489707" y="477724"/>
                  <a:pt x="1289847" y="275363"/>
                  <a:pt x="1035464" y="228463"/>
                </a:cubicBezTo>
                <a:cubicBezTo>
                  <a:pt x="1033451" y="228097"/>
                  <a:pt x="1031439" y="227792"/>
                  <a:pt x="1029365" y="227426"/>
                </a:cubicBezTo>
                <a:cubicBezTo>
                  <a:pt x="1026437" y="226938"/>
                  <a:pt x="1023510" y="226512"/>
                  <a:pt x="1020644" y="226024"/>
                </a:cubicBezTo>
                <a:cubicBezTo>
                  <a:pt x="990515" y="221511"/>
                  <a:pt x="959716" y="219193"/>
                  <a:pt x="928368" y="219193"/>
                </a:cubicBezTo>
                <a:lnTo>
                  <a:pt x="273168" y="219193"/>
                </a:lnTo>
                <a:cubicBezTo>
                  <a:pt x="225841" y="219193"/>
                  <a:pt x="181380" y="207178"/>
                  <a:pt x="142591" y="186015"/>
                </a:cubicBezTo>
                <a:cubicBezTo>
                  <a:pt x="70930" y="148263"/>
                  <a:pt x="17138" y="80566"/>
                  <a:pt x="0" y="0"/>
                </a:cubicBezTo>
                <a:lnTo>
                  <a:pt x="0" y="61903"/>
                </a:lnTo>
                <a:cubicBezTo>
                  <a:pt x="0" y="212789"/>
                  <a:pt x="122282" y="335071"/>
                  <a:pt x="273168" y="335071"/>
                </a:cubicBezTo>
                <a:lnTo>
                  <a:pt x="928368" y="335071"/>
                </a:lnTo>
                <a:cubicBezTo>
                  <a:pt x="1243313" y="335071"/>
                  <a:pt x="1503307" y="570304"/>
                  <a:pt x="1542279" y="874576"/>
                </a:cubicBezTo>
                <a:cubicBezTo>
                  <a:pt x="1543986" y="855548"/>
                  <a:pt x="1544962" y="836275"/>
                  <a:pt x="1544962" y="816820"/>
                </a:cubicBezTo>
                <a:cubicBezTo>
                  <a:pt x="1544962" y="797364"/>
                  <a:pt x="1543925" y="776628"/>
                  <a:pt x="1542096" y="756868"/>
                </a:cubicBezTo>
                <a:close/>
              </a:path>
            </a:pathLst>
          </a:custGeom>
          <a:solidFill>
            <a:srgbClr val="0F47F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60" name="Google Shape;660;p5"/>
          <p:cNvSpPr/>
          <p:nvPr/>
        </p:nvSpPr>
        <p:spPr>
          <a:xfrm>
            <a:off x="7492530" y="2675523"/>
            <a:ext cx="1554232" cy="1661389"/>
          </a:xfrm>
          <a:custGeom>
            <a:avLst/>
            <a:gdLst/>
            <a:ahLst/>
            <a:cxnLst/>
            <a:rect l="l" t="t" r="r" b="b"/>
            <a:pathLst>
              <a:path w="1554232" h="1661389" extrusionOk="0">
                <a:moveTo>
                  <a:pt x="1547646" y="61"/>
                </a:moveTo>
                <a:cubicBezTo>
                  <a:pt x="1533558" y="534138"/>
                  <a:pt x="1100844" y="962705"/>
                  <a:pt x="569146" y="962705"/>
                </a:cubicBezTo>
                <a:lnTo>
                  <a:pt x="561461" y="965266"/>
                </a:lnTo>
                <a:cubicBezTo>
                  <a:pt x="432897" y="974048"/>
                  <a:pt x="305797" y="1024303"/>
                  <a:pt x="201689" y="1117189"/>
                </a:cubicBezTo>
                <a:cubicBezTo>
                  <a:pt x="196627" y="1121702"/>
                  <a:pt x="191748" y="1126276"/>
                  <a:pt x="186930" y="1130850"/>
                </a:cubicBezTo>
                <a:cubicBezTo>
                  <a:pt x="185649" y="1132070"/>
                  <a:pt x="184429" y="1133290"/>
                  <a:pt x="183149" y="1134448"/>
                </a:cubicBezTo>
                <a:cubicBezTo>
                  <a:pt x="179550" y="1137925"/>
                  <a:pt x="176074" y="1141462"/>
                  <a:pt x="172598" y="1145000"/>
                </a:cubicBezTo>
                <a:cubicBezTo>
                  <a:pt x="167109" y="1150610"/>
                  <a:pt x="161681" y="1156221"/>
                  <a:pt x="156497" y="1161954"/>
                </a:cubicBezTo>
                <a:cubicBezTo>
                  <a:pt x="155765" y="1162747"/>
                  <a:pt x="155033" y="1163540"/>
                  <a:pt x="154362" y="1164394"/>
                </a:cubicBezTo>
                <a:cubicBezTo>
                  <a:pt x="148690" y="1170676"/>
                  <a:pt x="143140" y="1177019"/>
                  <a:pt x="137834" y="1183483"/>
                </a:cubicBezTo>
                <a:cubicBezTo>
                  <a:pt x="137529" y="1183849"/>
                  <a:pt x="137224" y="1184215"/>
                  <a:pt x="136919" y="1184642"/>
                </a:cubicBezTo>
                <a:cubicBezTo>
                  <a:pt x="131552" y="1191168"/>
                  <a:pt x="126307" y="1197815"/>
                  <a:pt x="121245" y="1204524"/>
                </a:cubicBezTo>
                <a:cubicBezTo>
                  <a:pt x="120940" y="1204951"/>
                  <a:pt x="120575" y="1205378"/>
                  <a:pt x="120270" y="1205805"/>
                </a:cubicBezTo>
                <a:cubicBezTo>
                  <a:pt x="115269" y="1212453"/>
                  <a:pt x="110450" y="1219161"/>
                  <a:pt x="105815" y="1225992"/>
                </a:cubicBezTo>
                <a:cubicBezTo>
                  <a:pt x="105205" y="1226907"/>
                  <a:pt x="104596" y="1227761"/>
                  <a:pt x="103985" y="1228676"/>
                </a:cubicBezTo>
                <a:cubicBezTo>
                  <a:pt x="99472" y="1235263"/>
                  <a:pt x="95142" y="1241910"/>
                  <a:pt x="90995" y="1248680"/>
                </a:cubicBezTo>
                <a:cubicBezTo>
                  <a:pt x="90324" y="1249778"/>
                  <a:pt x="89592" y="1250876"/>
                  <a:pt x="88921" y="1251973"/>
                </a:cubicBezTo>
                <a:cubicBezTo>
                  <a:pt x="84835" y="1258621"/>
                  <a:pt x="80871" y="1265391"/>
                  <a:pt x="77029" y="1272161"/>
                </a:cubicBezTo>
                <a:cubicBezTo>
                  <a:pt x="76419" y="1273319"/>
                  <a:pt x="75748" y="1274417"/>
                  <a:pt x="75138" y="1275576"/>
                </a:cubicBezTo>
                <a:cubicBezTo>
                  <a:pt x="71357" y="1282468"/>
                  <a:pt x="67636" y="1289359"/>
                  <a:pt x="64160" y="1296373"/>
                </a:cubicBezTo>
                <a:cubicBezTo>
                  <a:pt x="63672" y="1297349"/>
                  <a:pt x="63184" y="1298386"/>
                  <a:pt x="62696" y="1299362"/>
                </a:cubicBezTo>
                <a:cubicBezTo>
                  <a:pt x="59098" y="1306558"/>
                  <a:pt x="55683" y="1313816"/>
                  <a:pt x="52389" y="1321134"/>
                </a:cubicBezTo>
                <a:cubicBezTo>
                  <a:pt x="52023" y="1321988"/>
                  <a:pt x="51658" y="1322781"/>
                  <a:pt x="51292" y="1323635"/>
                </a:cubicBezTo>
                <a:cubicBezTo>
                  <a:pt x="49096" y="1328636"/>
                  <a:pt x="46961" y="1333637"/>
                  <a:pt x="44887" y="1338699"/>
                </a:cubicBezTo>
                <a:cubicBezTo>
                  <a:pt x="44278" y="1340224"/>
                  <a:pt x="43668" y="1341688"/>
                  <a:pt x="43058" y="1343212"/>
                </a:cubicBezTo>
                <a:cubicBezTo>
                  <a:pt x="40740" y="1349006"/>
                  <a:pt x="38484" y="1354861"/>
                  <a:pt x="36349" y="1360716"/>
                </a:cubicBezTo>
                <a:cubicBezTo>
                  <a:pt x="36166" y="1361143"/>
                  <a:pt x="36044" y="1361570"/>
                  <a:pt x="35861" y="1361997"/>
                </a:cubicBezTo>
                <a:cubicBezTo>
                  <a:pt x="33849" y="1367486"/>
                  <a:pt x="32019" y="1373036"/>
                  <a:pt x="30189" y="1378525"/>
                </a:cubicBezTo>
                <a:cubicBezTo>
                  <a:pt x="29701" y="1380110"/>
                  <a:pt x="29153" y="1381635"/>
                  <a:pt x="28665" y="1383221"/>
                </a:cubicBezTo>
                <a:cubicBezTo>
                  <a:pt x="26835" y="1388954"/>
                  <a:pt x="25066" y="1394687"/>
                  <a:pt x="23420" y="1400420"/>
                </a:cubicBezTo>
                <a:cubicBezTo>
                  <a:pt x="23359" y="1400664"/>
                  <a:pt x="23298" y="1400908"/>
                  <a:pt x="23176" y="1401152"/>
                </a:cubicBezTo>
                <a:cubicBezTo>
                  <a:pt x="21468" y="1407128"/>
                  <a:pt x="19882" y="1413166"/>
                  <a:pt x="18358" y="1419204"/>
                </a:cubicBezTo>
                <a:cubicBezTo>
                  <a:pt x="17931" y="1420790"/>
                  <a:pt x="17565" y="1422375"/>
                  <a:pt x="17199" y="1423900"/>
                </a:cubicBezTo>
                <a:cubicBezTo>
                  <a:pt x="15918" y="1429267"/>
                  <a:pt x="14637" y="1434634"/>
                  <a:pt x="13479" y="1440001"/>
                </a:cubicBezTo>
                <a:cubicBezTo>
                  <a:pt x="13295" y="1440794"/>
                  <a:pt x="13113" y="1441587"/>
                  <a:pt x="12930" y="1442319"/>
                </a:cubicBezTo>
                <a:cubicBezTo>
                  <a:pt x="11649" y="1448357"/>
                  <a:pt x="10490" y="1454394"/>
                  <a:pt x="9392" y="1460493"/>
                </a:cubicBezTo>
                <a:cubicBezTo>
                  <a:pt x="9087" y="1462018"/>
                  <a:pt x="8843" y="1463604"/>
                  <a:pt x="8600" y="1465128"/>
                </a:cubicBezTo>
                <a:cubicBezTo>
                  <a:pt x="7746" y="1470313"/>
                  <a:pt x="6892" y="1475436"/>
                  <a:pt x="6160" y="1480620"/>
                </a:cubicBezTo>
                <a:cubicBezTo>
                  <a:pt x="5977" y="1481717"/>
                  <a:pt x="5794" y="1482815"/>
                  <a:pt x="5672" y="1483974"/>
                </a:cubicBezTo>
                <a:cubicBezTo>
                  <a:pt x="4818" y="1490073"/>
                  <a:pt x="4087" y="1496172"/>
                  <a:pt x="3415" y="1502270"/>
                </a:cubicBezTo>
                <a:cubicBezTo>
                  <a:pt x="3233" y="1503734"/>
                  <a:pt x="3110" y="1505198"/>
                  <a:pt x="2988" y="1506662"/>
                </a:cubicBezTo>
                <a:cubicBezTo>
                  <a:pt x="2501" y="1511785"/>
                  <a:pt x="2013" y="1516908"/>
                  <a:pt x="1647" y="1521970"/>
                </a:cubicBezTo>
                <a:cubicBezTo>
                  <a:pt x="1525" y="1523312"/>
                  <a:pt x="1464" y="1524592"/>
                  <a:pt x="1342" y="1525934"/>
                </a:cubicBezTo>
                <a:cubicBezTo>
                  <a:pt x="915" y="1532033"/>
                  <a:pt x="610" y="1538132"/>
                  <a:pt x="366" y="1544292"/>
                </a:cubicBezTo>
                <a:cubicBezTo>
                  <a:pt x="366" y="1545633"/>
                  <a:pt x="305" y="1546975"/>
                  <a:pt x="244" y="1548317"/>
                </a:cubicBezTo>
                <a:cubicBezTo>
                  <a:pt x="122" y="1553440"/>
                  <a:pt x="0" y="1558563"/>
                  <a:pt x="0" y="1563686"/>
                </a:cubicBezTo>
                <a:cubicBezTo>
                  <a:pt x="0" y="1565150"/>
                  <a:pt x="0" y="1566613"/>
                  <a:pt x="0" y="1568138"/>
                </a:cubicBezTo>
                <a:cubicBezTo>
                  <a:pt x="0" y="1574237"/>
                  <a:pt x="122" y="1580397"/>
                  <a:pt x="366" y="1586496"/>
                </a:cubicBezTo>
                <a:cubicBezTo>
                  <a:pt x="366" y="1587654"/>
                  <a:pt x="488" y="1588752"/>
                  <a:pt x="488" y="1589850"/>
                </a:cubicBezTo>
                <a:cubicBezTo>
                  <a:pt x="671" y="1595095"/>
                  <a:pt x="976" y="1600279"/>
                  <a:pt x="1342" y="1605524"/>
                </a:cubicBezTo>
                <a:cubicBezTo>
                  <a:pt x="1464" y="1607110"/>
                  <a:pt x="1525" y="1608635"/>
                  <a:pt x="1647" y="1610220"/>
                </a:cubicBezTo>
                <a:cubicBezTo>
                  <a:pt x="2074" y="1616380"/>
                  <a:pt x="2622" y="1622479"/>
                  <a:pt x="3294" y="1628578"/>
                </a:cubicBezTo>
                <a:cubicBezTo>
                  <a:pt x="3354" y="1629371"/>
                  <a:pt x="3476" y="1630164"/>
                  <a:pt x="3537" y="1630956"/>
                </a:cubicBezTo>
                <a:cubicBezTo>
                  <a:pt x="4147" y="1636384"/>
                  <a:pt x="4818" y="1641873"/>
                  <a:pt x="5550" y="1647301"/>
                </a:cubicBezTo>
                <a:cubicBezTo>
                  <a:pt x="5794" y="1648887"/>
                  <a:pt x="5977" y="1650534"/>
                  <a:pt x="6221" y="1652119"/>
                </a:cubicBezTo>
                <a:cubicBezTo>
                  <a:pt x="6648" y="1655230"/>
                  <a:pt x="7197" y="1658279"/>
                  <a:pt x="7685" y="1661390"/>
                </a:cubicBezTo>
                <a:cubicBezTo>
                  <a:pt x="18907" y="1511846"/>
                  <a:pt x="86360" y="1365717"/>
                  <a:pt x="207849" y="1257401"/>
                </a:cubicBezTo>
                <a:cubicBezTo>
                  <a:pt x="313176" y="1163479"/>
                  <a:pt x="442106" y="1113102"/>
                  <a:pt x="572195" y="1105235"/>
                </a:cubicBezTo>
                <a:lnTo>
                  <a:pt x="575366" y="1102917"/>
                </a:lnTo>
                <a:cubicBezTo>
                  <a:pt x="1115969" y="1102917"/>
                  <a:pt x="1554232" y="659896"/>
                  <a:pt x="1554232" y="113378"/>
                </a:cubicBezTo>
                <a:cubicBezTo>
                  <a:pt x="1554232" y="75016"/>
                  <a:pt x="1551976" y="37203"/>
                  <a:pt x="1547768" y="0"/>
                </a:cubicBezTo>
                <a:close/>
              </a:path>
            </a:pathLst>
          </a:custGeom>
          <a:solidFill>
            <a:srgbClr val="0F47F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61" name="Google Shape;661;p5"/>
          <p:cNvSpPr/>
          <p:nvPr/>
        </p:nvSpPr>
        <p:spPr>
          <a:xfrm>
            <a:off x="7544981" y="4485542"/>
            <a:ext cx="1890" cy="4025"/>
          </a:xfrm>
          <a:custGeom>
            <a:avLst/>
            <a:gdLst/>
            <a:ahLst/>
            <a:cxnLst/>
            <a:rect l="l" t="t" r="r" b="b"/>
            <a:pathLst>
              <a:path w="1890" h="4025" extrusionOk="0">
                <a:moveTo>
                  <a:pt x="0" y="0"/>
                </a:moveTo>
                <a:cubicBezTo>
                  <a:pt x="610" y="1342"/>
                  <a:pt x="1219" y="2684"/>
                  <a:pt x="1891" y="4025"/>
                </a:cubicBezTo>
                <a:cubicBezTo>
                  <a:pt x="1281" y="2684"/>
                  <a:pt x="610" y="1342"/>
                  <a:pt x="0" y="0"/>
                </a:cubicBezTo>
                <a:close/>
              </a:path>
            </a:pathLst>
          </a:custGeom>
          <a:solidFill>
            <a:srgbClr val="00B9FF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62" name="Google Shape;662;p5"/>
          <p:cNvSpPr/>
          <p:nvPr/>
        </p:nvSpPr>
        <p:spPr>
          <a:xfrm>
            <a:off x="7521622" y="4425712"/>
            <a:ext cx="853" cy="2622"/>
          </a:xfrm>
          <a:custGeom>
            <a:avLst/>
            <a:gdLst/>
            <a:ahLst/>
            <a:cxnLst/>
            <a:rect l="l" t="t" r="r" b="b"/>
            <a:pathLst>
              <a:path w="853" h="2622" extrusionOk="0">
                <a:moveTo>
                  <a:pt x="0" y="0"/>
                </a:moveTo>
                <a:cubicBezTo>
                  <a:pt x="305" y="854"/>
                  <a:pt x="549" y="1769"/>
                  <a:pt x="854" y="2622"/>
                </a:cubicBezTo>
                <a:cubicBezTo>
                  <a:pt x="549" y="1769"/>
                  <a:pt x="305" y="854"/>
                  <a:pt x="0" y="0"/>
                </a:cubicBezTo>
                <a:close/>
              </a:path>
            </a:pathLst>
          </a:custGeom>
          <a:solidFill>
            <a:srgbClr val="00B9FF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63" name="Google Shape;663;p5"/>
          <p:cNvSpPr/>
          <p:nvPr/>
        </p:nvSpPr>
        <p:spPr>
          <a:xfrm>
            <a:off x="7515401" y="4405464"/>
            <a:ext cx="1341" cy="4635"/>
          </a:xfrm>
          <a:custGeom>
            <a:avLst/>
            <a:gdLst/>
            <a:ahLst/>
            <a:cxnLst/>
            <a:rect l="l" t="t" r="r" b="b"/>
            <a:pathLst>
              <a:path w="1341" h="4635" extrusionOk="0">
                <a:moveTo>
                  <a:pt x="0" y="0"/>
                </a:moveTo>
                <a:cubicBezTo>
                  <a:pt x="427" y="1525"/>
                  <a:pt x="915" y="3110"/>
                  <a:pt x="1342" y="4635"/>
                </a:cubicBezTo>
                <a:cubicBezTo>
                  <a:pt x="854" y="3110"/>
                  <a:pt x="427" y="1525"/>
                  <a:pt x="0" y="0"/>
                </a:cubicBezTo>
                <a:close/>
              </a:path>
            </a:pathLst>
          </a:custGeom>
          <a:solidFill>
            <a:srgbClr val="00B9FF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64" name="Google Shape;664;p5"/>
          <p:cNvSpPr/>
          <p:nvPr/>
        </p:nvSpPr>
        <p:spPr>
          <a:xfrm>
            <a:off x="7528697" y="4445899"/>
            <a:ext cx="1646" cy="4391"/>
          </a:xfrm>
          <a:custGeom>
            <a:avLst/>
            <a:gdLst/>
            <a:ahLst/>
            <a:cxnLst/>
            <a:rect l="l" t="t" r="r" b="b"/>
            <a:pathLst>
              <a:path w="1646" h="4391" extrusionOk="0">
                <a:moveTo>
                  <a:pt x="0" y="0"/>
                </a:moveTo>
                <a:cubicBezTo>
                  <a:pt x="549" y="1464"/>
                  <a:pt x="1098" y="2928"/>
                  <a:pt x="1647" y="4391"/>
                </a:cubicBezTo>
                <a:cubicBezTo>
                  <a:pt x="1098" y="2928"/>
                  <a:pt x="549" y="1464"/>
                  <a:pt x="0" y="0"/>
                </a:cubicBezTo>
                <a:close/>
              </a:path>
            </a:pathLst>
          </a:custGeom>
          <a:solidFill>
            <a:srgbClr val="00B9FF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65" name="Google Shape;665;p5"/>
          <p:cNvSpPr/>
          <p:nvPr/>
        </p:nvSpPr>
        <p:spPr>
          <a:xfrm>
            <a:off x="7536137" y="4464989"/>
            <a:ext cx="1402" cy="3415"/>
          </a:xfrm>
          <a:custGeom>
            <a:avLst/>
            <a:gdLst/>
            <a:ahLst/>
            <a:cxnLst/>
            <a:rect l="l" t="t" r="r" b="b"/>
            <a:pathLst>
              <a:path w="1402" h="3415" extrusionOk="0">
                <a:moveTo>
                  <a:pt x="0" y="0"/>
                </a:moveTo>
                <a:cubicBezTo>
                  <a:pt x="488" y="1159"/>
                  <a:pt x="915" y="2257"/>
                  <a:pt x="1403" y="3415"/>
                </a:cubicBezTo>
                <a:cubicBezTo>
                  <a:pt x="915" y="2257"/>
                  <a:pt x="488" y="1159"/>
                  <a:pt x="0" y="0"/>
                </a:cubicBezTo>
                <a:close/>
              </a:path>
            </a:pathLst>
          </a:custGeom>
          <a:solidFill>
            <a:srgbClr val="00B9FF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66" name="Google Shape;666;p5"/>
          <p:cNvSpPr/>
          <p:nvPr/>
        </p:nvSpPr>
        <p:spPr>
          <a:xfrm rot="-5385600">
            <a:off x="5513690" y="4704494"/>
            <a:ext cx="403256" cy="3049"/>
          </a:xfrm>
          <a:custGeom>
            <a:avLst/>
            <a:gdLst/>
            <a:ahLst/>
            <a:cxnLst/>
            <a:rect l="l" t="t" r="r" b="b"/>
            <a:pathLst>
              <a:path w="403256" h="3049" extrusionOk="0">
                <a:moveTo>
                  <a:pt x="0" y="0"/>
                </a:moveTo>
                <a:lnTo>
                  <a:pt x="403256" y="0"/>
                </a:lnTo>
                <a:lnTo>
                  <a:pt x="403256" y="3049"/>
                </a:lnTo>
                <a:lnTo>
                  <a:pt x="0" y="3049"/>
                </a:lnTo>
                <a:close/>
              </a:path>
            </a:pathLst>
          </a:custGeom>
          <a:solidFill>
            <a:srgbClr val="00B9FF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67" name="Google Shape;667;p5"/>
          <p:cNvSpPr/>
          <p:nvPr/>
        </p:nvSpPr>
        <p:spPr>
          <a:xfrm>
            <a:off x="4310488" y="1659149"/>
            <a:ext cx="2366747" cy="1384440"/>
          </a:xfrm>
          <a:custGeom>
            <a:avLst/>
            <a:gdLst/>
            <a:ahLst/>
            <a:cxnLst/>
            <a:rect l="l" t="t" r="r" b="b"/>
            <a:pathLst>
              <a:path w="2366747" h="1384440" extrusionOk="0">
                <a:moveTo>
                  <a:pt x="195555" y="356783"/>
                </a:moveTo>
                <a:cubicBezTo>
                  <a:pt x="-17905" y="350684"/>
                  <a:pt x="392" y="606836"/>
                  <a:pt x="392" y="606836"/>
                </a:cubicBezTo>
                <a:lnTo>
                  <a:pt x="392" y="1291555"/>
                </a:lnTo>
                <a:lnTo>
                  <a:pt x="3441" y="1286859"/>
                </a:lnTo>
                <a:lnTo>
                  <a:pt x="3441" y="1158783"/>
                </a:lnTo>
                <a:cubicBezTo>
                  <a:pt x="3441" y="1158783"/>
                  <a:pt x="-14855" y="1018509"/>
                  <a:pt x="143715" y="1018509"/>
                </a:cubicBezTo>
                <a:lnTo>
                  <a:pt x="1363486" y="1018509"/>
                </a:lnTo>
                <a:cubicBezTo>
                  <a:pt x="1363486" y="1018509"/>
                  <a:pt x="1479364" y="1006311"/>
                  <a:pt x="1479364" y="1085597"/>
                </a:cubicBezTo>
                <a:lnTo>
                  <a:pt x="1479364" y="1286859"/>
                </a:lnTo>
                <a:cubicBezTo>
                  <a:pt x="1479364" y="1286859"/>
                  <a:pt x="1473266" y="1384441"/>
                  <a:pt x="1576946" y="1384441"/>
                </a:cubicBezTo>
                <a:lnTo>
                  <a:pt x="1994718" y="1384441"/>
                </a:lnTo>
                <a:lnTo>
                  <a:pt x="1994718" y="1149635"/>
                </a:lnTo>
                <a:cubicBezTo>
                  <a:pt x="1994718" y="1149635"/>
                  <a:pt x="1970322" y="954471"/>
                  <a:pt x="2086201" y="954471"/>
                </a:cubicBezTo>
                <a:lnTo>
                  <a:pt x="2366748" y="954471"/>
                </a:lnTo>
                <a:cubicBezTo>
                  <a:pt x="2366748" y="954471"/>
                  <a:pt x="2317957" y="905680"/>
                  <a:pt x="2317957" y="808099"/>
                </a:cubicBezTo>
                <a:lnTo>
                  <a:pt x="2317957" y="673924"/>
                </a:lnTo>
                <a:cubicBezTo>
                  <a:pt x="2317957" y="673924"/>
                  <a:pt x="2330155" y="509255"/>
                  <a:pt x="2147189" y="503156"/>
                </a:cubicBezTo>
                <a:lnTo>
                  <a:pt x="1671478" y="503156"/>
                </a:lnTo>
                <a:cubicBezTo>
                  <a:pt x="1671478" y="503156"/>
                  <a:pt x="1592193" y="503156"/>
                  <a:pt x="1592193" y="417772"/>
                </a:cubicBezTo>
                <a:lnTo>
                  <a:pt x="1592193" y="0"/>
                </a:lnTo>
                <a:lnTo>
                  <a:pt x="415114" y="0"/>
                </a:lnTo>
                <a:lnTo>
                  <a:pt x="415114" y="149422"/>
                </a:lnTo>
                <a:cubicBezTo>
                  <a:pt x="415114" y="289696"/>
                  <a:pt x="409015" y="362882"/>
                  <a:pt x="195555" y="356783"/>
                </a:cubicBezTo>
                <a:close/>
              </a:path>
            </a:pathLst>
          </a:custGeom>
          <a:solidFill>
            <a:srgbClr val="99E3F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68" name="Google Shape;668;p5"/>
          <p:cNvSpPr/>
          <p:nvPr/>
        </p:nvSpPr>
        <p:spPr>
          <a:xfrm>
            <a:off x="2838006" y="2276658"/>
            <a:ext cx="366" cy="18906"/>
          </a:xfrm>
          <a:custGeom>
            <a:avLst/>
            <a:gdLst/>
            <a:ahLst/>
            <a:cxnLst/>
            <a:rect l="l" t="t" r="r" b="b"/>
            <a:pathLst>
              <a:path w="366" h="18906" extrusionOk="0">
                <a:moveTo>
                  <a:pt x="0" y="0"/>
                </a:moveTo>
                <a:cubicBezTo>
                  <a:pt x="0" y="488"/>
                  <a:pt x="0" y="1037"/>
                  <a:pt x="0" y="1525"/>
                </a:cubicBezTo>
                <a:cubicBezTo>
                  <a:pt x="0" y="7258"/>
                  <a:pt x="61" y="12930"/>
                  <a:pt x="244" y="18662"/>
                </a:cubicBezTo>
                <a:cubicBezTo>
                  <a:pt x="244" y="18723"/>
                  <a:pt x="305" y="18845"/>
                  <a:pt x="366" y="18906"/>
                </a:cubicBezTo>
                <a:cubicBezTo>
                  <a:pt x="183" y="12625"/>
                  <a:pt x="0" y="6343"/>
                  <a:pt x="0" y="0"/>
                </a:cubicBezTo>
                <a:close/>
              </a:path>
            </a:pathLst>
          </a:custGeom>
          <a:solidFill>
            <a:srgbClr val="00B9FF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69" name="Google Shape;669;p5"/>
          <p:cNvSpPr/>
          <p:nvPr/>
        </p:nvSpPr>
        <p:spPr>
          <a:xfrm>
            <a:off x="7505155" y="4364419"/>
            <a:ext cx="1036" cy="4757"/>
          </a:xfrm>
          <a:custGeom>
            <a:avLst/>
            <a:gdLst/>
            <a:ahLst/>
            <a:cxnLst/>
            <a:rect l="l" t="t" r="r" b="b"/>
            <a:pathLst>
              <a:path w="1036" h="4757" extrusionOk="0">
                <a:moveTo>
                  <a:pt x="0" y="0"/>
                </a:moveTo>
                <a:cubicBezTo>
                  <a:pt x="366" y="1586"/>
                  <a:pt x="671" y="3171"/>
                  <a:pt x="1037" y="4757"/>
                </a:cubicBezTo>
                <a:cubicBezTo>
                  <a:pt x="671" y="3171"/>
                  <a:pt x="366" y="1586"/>
                  <a:pt x="0" y="0"/>
                </a:cubicBezTo>
                <a:close/>
              </a:path>
            </a:pathLst>
          </a:custGeom>
          <a:solidFill>
            <a:srgbClr val="00B9FF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70" name="Google Shape;670;p5"/>
          <p:cNvSpPr/>
          <p:nvPr/>
        </p:nvSpPr>
        <p:spPr>
          <a:xfrm>
            <a:off x="7510156" y="4386070"/>
            <a:ext cx="365" cy="1402"/>
          </a:xfrm>
          <a:custGeom>
            <a:avLst/>
            <a:gdLst/>
            <a:ahLst/>
            <a:cxnLst/>
            <a:rect l="l" t="t" r="r" b="b"/>
            <a:pathLst>
              <a:path w="365" h="1402" extrusionOk="0">
                <a:moveTo>
                  <a:pt x="0" y="0"/>
                </a:moveTo>
                <a:cubicBezTo>
                  <a:pt x="122" y="488"/>
                  <a:pt x="244" y="976"/>
                  <a:pt x="366" y="1403"/>
                </a:cubicBezTo>
                <a:cubicBezTo>
                  <a:pt x="244" y="915"/>
                  <a:pt x="122" y="427"/>
                  <a:pt x="0" y="0"/>
                </a:cubicBezTo>
                <a:close/>
              </a:path>
            </a:pathLst>
          </a:custGeom>
          <a:solidFill>
            <a:srgbClr val="00B9FF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71" name="Google Shape;671;p5"/>
          <p:cNvSpPr/>
          <p:nvPr/>
        </p:nvSpPr>
        <p:spPr>
          <a:xfrm>
            <a:off x="7501557" y="4346061"/>
            <a:ext cx="121" cy="731"/>
          </a:xfrm>
          <a:custGeom>
            <a:avLst/>
            <a:gdLst/>
            <a:ahLst/>
            <a:cxnLst/>
            <a:rect l="l" t="t" r="r" b="b"/>
            <a:pathLst>
              <a:path w="121" h="731" extrusionOk="0">
                <a:moveTo>
                  <a:pt x="0" y="0"/>
                </a:moveTo>
                <a:cubicBezTo>
                  <a:pt x="0" y="0"/>
                  <a:pt x="122" y="488"/>
                  <a:pt x="122" y="732"/>
                </a:cubicBezTo>
                <a:cubicBezTo>
                  <a:pt x="122" y="488"/>
                  <a:pt x="0" y="244"/>
                  <a:pt x="0" y="0"/>
                </a:cubicBezTo>
                <a:close/>
              </a:path>
            </a:pathLst>
          </a:custGeom>
          <a:solidFill>
            <a:srgbClr val="00B9FF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72" name="Google Shape;672;p5"/>
          <p:cNvSpPr/>
          <p:nvPr/>
        </p:nvSpPr>
        <p:spPr>
          <a:xfrm>
            <a:off x="5713616" y="4907522"/>
            <a:ext cx="3049" cy="642697"/>
          </a:xfrm>
          <a:custGeom>
            <a:avLst/>
            <a:gdLst/>
            <a:ahLst/>
            <a:cxnLst/>
            <a:rect l="l" t="t" r="r" b="b"/>
            <a:pathLst>
              <a:path w="3049" h="642697" extrusionOk="0">
                <a:moveTo>
                  <a:pt x="0" y="642698"/>
                </a:moveTo>
                <a:lnTo>
                  <a:pt x="2927" y="642698"/>
                </a:lnTo>
                <a:cubicBezTo>
                  <a:pt x="2927" y="642698"/>
                  <a:pt x="3049" y="636599"/>
                  <a:pt x="3049" y="636599"/>
                </a:cubicBezTo>
                <a:lnTo>
                  <a:pt x="3049" y="0"/>
                </a:lnTo>
                <a:lnTo>
                  <a:pt x="0" y="0"/>
                </a:lnTo>
                <a:cubicBezTo>
                  <a:pt x="0" y="0"/>
                  <a:pt x="0" y="642698"/>
                  <a:pt x="0" y="642698"/>
                </a:cubicBezTo>
                <a:close/>
              </a:path>
            </a:pathLst>
          </a:custGeom>
          <a:solidFill>
            <a:srgbClr val="00B9FF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73" name="Google Shape;673;p5"/>
          <p:cNvSpPr/>
          <p:nvPr/>
        </p:nvSpPr>
        <p:spPr>
          <a:xfrm>
            <a:off x="2838250" y="2295321"/>
            <a:ext cx="743816" cy="725276"/>
          </a:xfrm>
          <a:custGeom>
            <a:avLst/>
            <a:gdLst/>
            <a:ahLst/>
            <a:cxnLst/>
            <a:rect l="l" t="t" r="r" b="b"/>
            <a:pathLst>
              <a:path w="743816" h="725276" extrusionOk="0">
                <a:moveTo>
                  <a:pt x="618790" y="601896"/>
                </a:moveTo>
                <a:lnTo>
                  <a:pt x="621839" y="601408"/>
                </a:lnTo>
                <a:cubicBezTo>
                  <a:pt x="690574" y="601408"/>
                  <a:pt x="743024" y="656725"/>
                  <a:pt x="743756" y="725276"/>
                </a:cubicBezTo>
                <a:cubicBezTo>
                  <a:pt x="743756" y="724727"/>
                  <a:pt x="743816" y="724178"/>
                  <a:pt x="743816" y="723629"/>
                </a:cubicBezTo>
                <a:cubicBezTo>
                  <a:pt x="743816" y="654468"/>
                  <a:pt x="691000" y="598359"/>
                  <a:pt x="621839" y="598359"/>
                </a:cubicBezTo>
                <a:lnTo>
                  <a:pt x="618790" y="598847"/>
                </a:lnTo>
                <a:cubicBezTo>
                  <a:pt x="283719" y="598847"/>
                  <a:pt x="10917" y="332632"/>
                  <a:pt x="122" y="244"/>
                </a:cubicBezTo>
                <a:cubicBezTo>
                  <a:pt x="122" y="183"/>
                  <a:pt x="61" y="61"/>
                  <a:pt x="0" y="0"/>
                </a:cubicBezTo>
                <a:cubicBezTo>
                  <a:pt x="9087" y="333973"/>
                  <a:pt x="282621" y="601896"/>
                  <a:pt x="618790" y="601896"/>
                </a:cubicBezTo>
                <a:close/>
              </a:path>
            </a:pathLst>
          </a:custGeom>
          <a:solidFill>
            <a:srgbClr val="00B9FF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74" name="Google Shape;674;p5"/>
          <p:cNvSpPr/>
          <p:nvPr/>
        </p:nvSpPr>
        <p:spPr>
          <a:xfrm>
            <a:off x="1927142" y="3662989"/>
            <a:ext cx="878052" cy="40008"/>
          </a:xfrm>
          <a:custGeom>
            <a:avLst/>
            <a:gdLst/>
            <a:ahLst/>
            <a:cxnLst/>
            <a:rect l="l" t="t" r="r" b="b"/>
            <a:pathLst>
              <a:path w="878052" h="40008" extrusionOk="0">
                <a:moveTo>
                  <a:pt x="761686" y="32141"/>
                </a:moveTo>
                <a:lnTo>
                  <a:pt x="129540" y="32141"/>
                </a:lnTo>
                <a:cubicBezTo>
                  <a:pt x="83066" y="32141"/>
                  <a:pt x="38911" y="20492"/>
                  <a:pt x="0" y="0"/>
                </a:cubicBezTo>
                <a:cubicBezTo>
                  <a:pt x="38789" y="21163"/>
                  <a:pt x="83310" y="33178"/>
                  <a:pt x="130577" y="33178"/>
                </a:cubicBezTo>
                <a:lnTo>
                  <a:pt x="785777" y="33178"/>
                </a:lnTo>
                <a:cubicBezTo>
                  <a:pt x="817125" y="33178"/>
                  <a:pt x="847985" y="35556"/>
                  <a:pt x="878052" y="40008"/>
                </a:cubicBezTo>
                <a:cubicBezTo>
                  <a:pt x="846094" y="34885"/>
                  <a:pt x="813343" y="32141"/>
                  <a:pt x="779922" y="32141"/>
                </a:cubicBezTo>
                <a:lnTo>
                  <a:pt x="761625" y="32141"/>
                </a:lnTo>
                <a:close/>
              </a:path>
            </a:pathLst>
          </a:custGeom>
          <a:solidFill>
            <a:srgbClr val="00B9FF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75" name="Google Shape;675;p5"/>
          <p:cNvSpPr/>
          <p:nvPr/>
        </p:nvSpPr>
        <p:spPr>
          <a:xfrm>
            <a:off x="2813976" y="3704401"/>
            <a:ext cx="6098" cy="1036"/>
          </a:xfrm>
          <a:custGeom>
            <a:avLst/>
            <a:gdLst/>
            <a:ahLst/>
            <a:cxnLst/>
            <a:rect l="l" t="t" r="r" b="b"/>
            <a:pathLst>
              <a:path w="6098" h="1036" extrusionOk="0">
                <a:moveTo>
                  <a:pt x="6099" y="1037"/>
                </a:moveTo>
                <a:cubicBezTo>
                  <a:pt x="4086" y="671"/>
                  <a:pt x="2074" y="366"/>
                  <a:pt x="0" y="0"/>
                </a:cubicBezTo>
                <a:cubicBezTo>
                  <a:pt x="2013" y="305"/>
                  <a:pt x="4086" y="671"/>
                  <a:pt x="6099" y="1037"/>
                </a:cubicBezTo>
                <a:close/>
              </a:path>
            </a:pathLst>
          </a:custGeom>
          <a:solidFill>
            <a:srgbClr val="00B9FF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76" name="Google Shape;676;p5"/>
          <p:cNvSpPr/>
          <p:nvPr/>
        </p:nvSpPr>
        <p:spPr>
          <a:xfrm>
            <a:off x="7554983" y="3971896"/>
            <a:ext cx="1464" cy="2988"/>
          </a:xfrm>
          <a:custGeom>
            <a:avLst/>
            <a:gdLst/>
            <a:ahLst/>
            <a:cxnLst/>
            <a:rect l="l" t="t" r="r" b="b"/>
            <a:pathLst>
              <a:path w="1464" h="2988" extrusionOk="0">
                <a:moveTo>
                  <a:pt x="1464" y="0"/>
                </a:moveTo>
                <a:cubicBezTo>
                  <a:pt x="976" y="976"/>
                  <a:pt x="488" y="2013"/>
                  <a:pt x="0" y="2989"/>
                </a:cubicBezTo>
                <a:cubicBezTo>
                  <a:pt x="488" y="2013"/>
                  <a:pt x="976" y="976"/>
                  <a:pt x="1464" y="0"/>
                </a:cubicBezTo>
                <a:close/>
              </a:path>
            </a:pathLst>
          </a:custGeom>
          <a:solidFill>
            <a:srgbClr val="00B9FF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77" name="Google Shape;677;p5"/>
          <p:cNvSpPr/>
          <p:nvPr/>
        </p:nvSpPr>
        <p:spPr>
          <a:xfrm>
            <a:off x="7493628" y="4197676"/>
            <a:ext cx="305" cy="3964"/>
          </a:xfrm>
          <a:custGeom>
            <a:avLst/>
            <a:gdLst/>
            <a:ahLst/>
            <a:cxnLst/>
            <a:rect l="l" t="t" r="r" b="b"/>
            <a:pathLst>
              <a:path w="305" h="3964" extrusionOk="0">
                <a:moveTo>
                  <a:pt x="305" y="0"/>
                </a:moveTo>
                <a:cubicBezTo>
                  <a:pt x="183" y="1342"/>
                  <a:pt x="122" y="2622"/>
                  <a:pt x="0" y="3964"/>
                </a:cubicBezTo>
                <a:cubicBezTo>
                  <a:pt x="61" y="2622"/>
                  <a:pt x="183" y="1342"/>
                  <a:pt x="305" y="0"/>
                </a:cubicBezTo>
                <a:close/>
              </a:path>
            </a:pathLst>
          </a:custGeom>
          <a:solidFill>
            <a:srgbClr val="00B9FF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78" name="Google Shape;678;p5"/>
          <p:cNvSpPr/>
          <p:nvPr/>
        </p:nvSpPr>
        <p:spPr>
          <a:xfrm>
            <a:off x="7629328" y="3859067"/>
            <a:ext cx="914" cy="1158"/>
          </a:xfrm>
          <a:custGeom>
            <a:avLst/>
            <a:gdLst/>
            <a:ahLst/>
            <a:cxnLst/>
            <a:rect l="l" t="t" r="r" b="b"/>
            <a:pathLst>
              <a:path w="914" h="1158" extrusionOk="0">
                <a:moveTo>
                  <a:pt x="915" y="0"/>
                </a:moveTo>
                <a:cubicBezTo>
                  <a:pt x="610" y="366"/>
                  <a:pt x="305" y="732"/>
                  <a:pt x="0" y="1159"/>
                </a:cubicBezTo>
                <a:cubicBezTo>
                  <a:pt x="305" y="793"/>
                  <a:pt x="610" y="427"/>
                  <a:pt x="915" y="0"/>
                </a:cubicBezTo>
                <a:close/>
              </a:path>
            </a:pathLst>
          </a:custGeom>
          <a:solidFill>
            <a:srgbClr val="00B9FF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79" name="Google Shape;679;p5"/>
          <p:cNvSpPr/>
          <p:nvPr/>
        </p:nvSpPr>
        <p:spPr>
          <a:xfrm>
            <a:off x="7646771" y="3837539"/>
            <a:ext cx="2134" cy="2439"/>
          </a:xfrm>
          <a:custGeom>
            <a:avLst/>
            <a:gdLst/>
            <a:ahLst/>
            <a:cxnLst/>
            <a:rect l="l" t="t" r="r" b="b"/>
            <a:pathLst>
              <a:path w="2134" h="2439" extrusionOk="0">
                <a:moveTo>
                  <a:pt x="2134" y="0"/>
                </a:moveTo>
                <a:cubicBezTo>
                  <a:pt x="1403" y="793"/>
                  <a:pt x="671" y="1586"/>
                  <a:pt x="0" y="2440"/>
                </a:cubicBezTo>
                <a:cubicBezTo>
                  <a:pt x="732" y="1647"/>
                  <a:pt x="1464" y="854"/>
                  <a:pt x="2134" y="0"/>
                </a:cubicBezTo>
                <a:close/>
              </a:path>
            </a:pathLst>
          </a:custGeom>
          <a:solidFill>
            <a:srgbClr val="00B9FF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80" name="Google Shape;680;p5"/>
          <p:cNvSpPr/>
          <p:nvPr/>
        </p:nvSpPr>
        <p:spPr>
          <a:xfrm>
            <a:off x="7509424" y="4094849"/>
            <a:ext cx="1158" cy="4696"/>
          </a:xfrm>
          <a:custGeom>
            <a:avLst/>
            <a:gdLst/>
            <a:ahLst/>
            <a:cxnLst/>
            <a:rect l="l" t="t" r="r" b="b"/>
            <a:pathLst>
              <a:path w="1158" h="4696" extrusionOk="0">
                <a:moveTo>
                  <a:pt x="1159" y="0"/>
                </a:moveTo>
                <a:cubicBezTo>
                  <a:pt x="732" y="1586"/>
                  <a:pt x="366" y="3172"/>
                  <a:pt x="0" y="4696"/>
                </a:cubicBezTo>
                <a:cubicBezTo>
                  <a:pt x="366" y="3110"/>
                  <a:pt x="793" y="1525"/>
                  <a:pt x="1159" y="0"/>
                </a:cubicBezTo>
                <a:close/>
              </a:path>
            </a:pathLst>
          </a:custGeom>
          <a:solidFill>
            <a:srgbClr val="00B9FF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81" name="Google Shape;681;p5"/>
          <p:cNvSpPr/>
          <p:nvPr/>
        </p:nvSpPr>
        <p:spPr>
          <a:xfrm>
            <a:off x="7675618" y="3806373"/>
            <a:ext cx="3781" cy="3598"/>
          </a:xfrm>
          <a:custGeom>
            <a:avLst/>
            <a:gdLst/>
            <a:ahLst/>
            <a:cxnLst/>
            <a:rect l="l" t="t" r="r" b="b"/>
            <a:pathLst>
              <a:path w="3781" h="3598" extrusionOk="0">
                <a:moveTo>
                  <a:pt x="3781" y="0"/>
                </a:moveTo>
                <a:cubicBezTo>
                  <a:pt x="2500" y="1220"/>
                  <a:pt x="1281" y="2440"/>
                  <a:pt x="0" y="3598"/>
                </a:cubicBezTo>
                <a:cubicBezTo>
                  <a:pt x="1281" y="2378"/>
                  <a:pt x="2500" y="1159"/>
                  <a:pt x="3781" y="0"/>
                </a:cubicBezTo>
                <a:close/>
              </a:path>
            </a:pathLst>
          </a:custGeom>
          <a:solidFill>
            <a:srgbClr val="00B9FF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82" name="Google Shape;682;p5"/>
          <p:cNvSpPr/>
          <p:nvPr/>
        </p:nvSpPr>
        <p:spPr>
          <a:xfrm>
            <a:off x="7505155" y="4115646"/>
            <a:ext cx="549" cy="2317"/>
          </a:xfrm>
          <a:custGeom>
            <a:avLst/>
            <a:gdLst/>
            <a:ahLst/>
            <a:cxnLst/>
            <a:rect l="l" t="t" r="r" b="b"/>
            <a:pathLst>
              <a:path w="549" h="2317" extrusionOk="0">
                <a:moveTo>
                  <a:pt x="549" y="0"/>
                </a:moveTo>
                <a:cubicBezTo>
                  <a:pt x="366" y="793"/>
                  <a:pt x="183" y="1586"/>
                  <a:pt x="0" y="2318"/>
                </a:cubicBezTo>
                <a:cubicBezTo>
                  <a:pt x="183" y="1525"/>
                  <a:pt x="366" y="732"/>
                  <a:pt x="549" y="0"/>
                </a:cubicBezTo>
                <a:close/>
              </a:path>
            </a:pathLst>
          </a:custGeom>
          <a:solidFill>
            <a:srgbClr val="00B9FF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83" name="Google Shape;683;p5"/>
          <p:cNvSpPr/>
          <p:nvPr/>
        </p:nvSpPr>
        <p:spPr>
          <a:xfrm>
            <a:off x="7515401" y="4076065"/>
            <a:ext cx="244" cy="731"/>
          </a:xfrm>
          <a:custGeom>
            <a:avLst/>
            <a:gdLst/>
            <a:ahLst/>
            <a:cxnLst/>
            <a:rect l="l" t="t" r="r" b="b"/>
            <a:pathLst>
              <a:path w="244" h="731" extrusionOk="0">
                <a:moveTo>
                  <a:pt x="244" y="0"/>
                </a:moveTo>
                <a:cubicBezTo>
                  <a:pt x="244" y="0"/>
                  <a:pt x="122" y="488"/>
                  <a:pt x="0" y="732"/>
                </a:cubicBezTo>
                <a:cubicBezTo>
                  <a:pt x="61" y="488"/>
                  <a:pt x="122" y="244"/>
                  <a:pt x="244" y="0"/>
                </a:cubicBezTo>
                <a:close/>
              </a:path>
            </a:pathLst>
          </a:custGeom>
          <a:solidFill>
            <a:srgbClr val="00B9FF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84" name="Google Shape;684;p5"/>
          <p:cNvSpPr/>
          <p:nvPr/>
        </p:nvSpPr>
        <p:spPr>
          <a:xfrm>
            <a:off x="7528087" y="4036239"/>
            <a:ext cx="488" cy="1280"/>
          </a:xfrm>
          <a:custGeom>
            <a:avLst/>
            <a:gdLst/>
            <a:ahLst/>
            <a:cxnLst/>
            <a:rect l="l" t="t" r="r" b="b"/>
            <a:pathLst>
              <a:path w="488" h="1280" extrusionOk="0">
                <a:moveTo>
                  <a:pt x="488" y="0"/>
                </a:moveTo>
                <a:cubicBezTo>
                  <a:pt x="305" y="427"/>
                  <a:pt x="183" y="854"/>
                  <a:pt x="0" y="1281"/>
                </a:cubicBezTo>
                <a:cubicBezTo>
                  <a:pt x="183" y="854"/>
                  <a:pt x="305" y="427"/>
                  <a:pt x="488" y="0"/>
                </a:cubicBezTo>
                <a:close/>
              </a:path>
            </a:pathLst>
          </a:custGeom>
          <a:solidFill>
            <a:srgbClr val="00B9FF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85" name="Google Shape;685;p5"/>
          <p:cNvSpPr/>
          <p:nvPr/>
        </p:nvSpPr>
        <p:spPr>
          <a:xfrm>
            <a:off x="7492591" y="4219998"/>
            <a:ext cx="122" cy="4025"/>
          </a:xfrm>
          <a:custGeom>
            <a:avLst/>
            <a:gdLst/>
            <a:ahLst/>
            <a:cxnLst/>
            <a:rect l="l" t="t" r="r" b="b"/>
            <a:pathLst>
              <a:path w="122" h="4025" extrusionOk="0">
                <a:moveTo>
                  <a:pt x="122" y="0"/>
                </a:moveTo>
                <a:cubicBezTo>
                  <a:pt x="122" y="1342"/>
                  <a:pt x="61" y="2683"/>
                  <a:pt x="0" y="4025"/>
                </a:cubicBezTo>
                <a:cubicBezTo>
                  <a:pt x="0" y="2683"/>
                  <a:pt x="61" y="1342"/>
                  <a:pt x="122" y="0"/>
                </a:cubicBezTo>
                <a:close/>
              </a:path>
            </a:pathLst>
          </a:custGeom>
          <a:solidFill>
            <a:srgbClr val="00B9FF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86" name="Google Shape;686;p5"/>
          <p:cNvSpPr/>
          <p:nvPr/>
        </p:nvSpPr>
        <p:spPr>
          <a:xfrm>
            <a:off x="7612617" y="3880048"/>
            <a:ext cx="976" cy="1280"/>
          </a:xfrm>
          <a:custGeom>
            <a:avLst/>
            <a:gdLst/>
            <a:ahLst/>
            <a:cxnLst/>
            <a:rect l="l" t="t" r="r" b="b"/>
            <a:pathLst>
              <a:path w="976" h="1280" extrusionOk="0">
                <a:moveTo>
                  <a:pt x="976" y="0"/>
                </a:moveTo>
                <a:cubicBezTo>
                  <a:pt x="671" y="427"/>
                  <a:pt x="305" y="854"/>
                  <a:pt x="0" y="1281"/>
                </a:cubicBezTo>
                <a:cubicBezTo>
                  <a:pt x="305" y="854"/>
                  <a:pt x="671" y="427"/>
                  <a:pt x="976" y="0"/>
                </a:cubicBezTo>
                <a:close/>
              </a:path>
            </a:pathLst>
          </a:custGeom>
          <a:solidFill>
            <a:srgbClr val="00B9FF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87" name="Google Shape;687;p5"/>
          <p:cNvSpPr/>
          <p:nvPr/>
        </p:nvSpPr>
        <p:spPr>
          <a:xfrm>
            <a:off x="7495275" y="4177916"/>
            <a:ext cx="426" cy="4391"/>
          </a:xfrm>
          <a:custGeom>
            <a:avLst/>
            <a:gdLst/>
            <a:ahLst/>
            <a:cxnLst/>
            <a:rect l="l" t="t" r="r" b="b"/>
            <a:pathLst>
              <a:path w="426" h="4391" extrusionOk="0">
                <a:moveTo>
                  <a:pt x="427" y="0"/>
                </a:moveTo>
                <a:cubicBezTo>
                  <a:pt x="244" y="1464"/>
                  <a:pt x="122" y="2928"/>
                  <a:pt x="0" y="4391"/>
                </a:cubicBezTo>
                <a:cubicBezTo>
                  <a:pt x="122" y="2928"/>
                  <a:pt x="305" y="1464"/>
                  <a:pt x="427" y="0"/>
                </a:cubicBezTo>
                <a:close/>
              </a:path>
            </a:pathLst>
          </a:custGeom>
          <a:solidFill>
            <a:srgbClr val="00B9FF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88" name="Google Shape;688;p5"/>
          <p:cNvSpPr/>
          <p:nvPr/>
        </p:nvSpPr>
        <p:spPr>
          <a:xfrm>
            <a:off x="7495580" y="4304223"/>
            <a:ext cx="244" cy="2378"/>
          </a:xfrm>
          <a:custGeom>
            <a:avLst/>
            <a:gdLst/>
            <a:ahLst/>
            <a:cxnLst/>
            <a:rect l="l" t="t" r="r" b="b"/>
            <a:pathLst>
              <a:path w="244" h="2378" extrusionOk="0">
                <a:moveTo>
                  <a:pt x="0" y="0"/>
                </a:moveTo>
                <a:cubicBezTo>
                  <a:pt x="61" y="793"/>
                  <a:pt x="183" y="1586"/>
                  <a:pt x="244" y="2378"/>
                </a:cubicBezTo>
                <a:cubicBezTo>
                  <a:pt x="183" y="1586"/>
                  <a:pt x="61" y="793"/>
                  <a:pt x="0" y="0"/>
                </a:cubicBezTo>
                <a:close/>
              </a:path>
            </a:pathLst>
          </a:custGeom>
          <a:solidFill>
            <a:srgbClr val="00B9FF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89" name="Google Shape;689;p5"/>
          <p:cNvSpPr/>
          <p:nvPr/>
        </p:nvSpPr>
        <p:spPr>
          <a:xfrm>
            <a:off x="7493628" y="4281169"/>
            <a:ext cx="305" cy="4696"/>
          </a:xfrm>
          <a:custGeom>
            <a:avLst/>
            <a:gdLst/>
            <a:ahLst/>
            <a:cxnLst/>
            <a:rect l="l" t="t" r="r" b="b"/>
            <a:pathLst>
              <a:path w="305" h="4696" extrusionOk="0">
                <a:moveTo>
                  <a:pt x="0" y="0"/>
                </a:moveTo>
                <a:cubicBezTo>
                  <a:pt x="122" y="1586"/>
                  <a:pt x="183" y="3110"/>
                  <a:pt x="305" y="4696"/>
                </a:cubicBezTo>
                <a:cubicBezTo>
                  <a:pt x="183" y="3110"/>
                  <a:pt x="61" y="1586"/>
                  <a:pt x="0" y="0"/>
                </a:cubicBezTo>
                <a:close/>
              </a:path>
            </a:pathLst>
          </a:custGeom>
          <a:solidFill>
            <a:srgbClr val="00B9FF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90" name="Google Shape;690;p5"/>
          <p:cNvSpPr/>
          <p:nvPr/>
        </p:nvSpPr>
        <p:spPr>
          <a:xfrm>
            <a:off x="7567424" y="3947684"/>
            <a:ext cx="1890" cy="3415"/>
          </a:xfrm>
          <a:custGeom>
            <a:avLst/>
            <a:gdLst/>
            <a:ahLst/>
            <a:cxnLst/>
            <a:rect l="l" t="t" r="r" b="b"/>
            <a:pathLst>
              <a:path w="1890" h="3415" extrusionOk="0">
                <a:moveTo>
                  <a:pt x="1891" y="0"/>
                </a:moveTo>
                <a:cubicBezTo>
                  <a:pt x="1281" y="1159"/>
                  <a:pt x="610" y="2257"/>
                  <a:pt x="0" y="3415"/>
                </a:cubicBezTo>
                <a:cubicBezTo>
                  <a:pt x="610" y="2257"/>
                  <a:pt x="1281" y="1159"/>
                  <a:pt x="1891" y="0"/>
                </a:cubicBezTo>
                <a:close/>
              </a:path>
            </a:pathLst>
          </a:custGeom>
          <a:solidFill>
            <a:srgbClr val="00B9FF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91" name="Google Shape;691;p5"/>
          <p:cNvSpPr/>
          <p:nvPr/>
        </p:nvSpPr>
        <p:spPr>
          <a:xfrm>
            <a:off x="7581208" y="3924142"/>
            <a:ext cx="2073" cy="3293"/>
          </a:xfrm>
          <a:custGeom>
            <a:avLst/>
            <a:gdLst/>
            <a:ahLst/>
            <a:cxnLst/>
            <a:rect l="l" t="t" r="r" b="b"/>
            <a:pathLst>
              <a:path w="2073" h="3293" extrusionOk="0">
                <a:moveTo>
                  <a:pt x="2073" y="0"/>
                </a:moveTo>
                <a:cubicBezTo>
                  <a:pt x="1403" y="1098"/>
                  <a:pt x="671" y="2195"/>
                  <a:pt x="0" y="3293"/>
                </a:cubicBezTo>
                <a:cubicBezTo>
                  <a:pt x="671" y="2195"/>
                  <a:pt x="1342" y="1098"/>
                  <a:pt x="2073" y="0"/>
                </a:cubicBezTo>
                <a:close/>
              </a:path>
            </a:pathLst>
          </a:custGeom>
          <a:solidFill>
            <a:srgbClr val="00B9FF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92" name="Google Shape;692;p5"/>
          <p:cNvSpPr/>
          <p:nvPr/>
        </p:nvSpPr>
        <p:spPr>
          <a:xfrm>
            <a:off x="7497958" y="4156326"/>
            <a:ext cx="488" cy="3354"/>
          </a:xfrm>
          <a:custGeom>
            <a:avLst/>
            <a:gdLst/>
            <a:ahLst/>
            <a:cxnLst/>
            <a:rect l="l" t="t" r="r" b="b"/>
            <a:pathLst>
              <a:path w="488" h="3354" extrusionOk="0">
                <a:moveTo>
                  <a:pt x="488" y="0"/>
                </a:moveTo>
                <a:cubicBezTo>
                  <a:pt x="305" y="1098"/>
                  <a:pt x="122" y="2195"/>
                  <a:pt x="0" y="3354"/>
                </a:cubicBezTo>
                <a:cubicBezTo>
                  <a:pt x="183" y="2257"/>
                  <a:pt x="305" y="1159"/>
                  <a:pt x="488" y="0"/>
                </a:cubicBezTo>
                <a:close/>
              </a:path>
            </a:pathLst>
          </a:custGeom>
          <a:solidFill>
            <a:srgbClr val="00B9FF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93" name="Google Shape;693;p5"/>
          <p:cNvSpPr/>
          <p:nvPr/>
        </p:nvSpPr>
        <p:spPr>
          <a:xfrm>
            <a:off x="7596333" y="3901516"/>
            <a:ext cx="1829" cy="2683"/>
          </a:xfrm>
          <a:custGeom>
            <a:avLst/>
            <a:gdLst/>
            <a:ahLst/>
            <a:cxnLst/>
            <a:rect l="l" t="t" r="r" b="b"/>
            <a:pathLst>
              <a:path w="1829" h="2683" extrusionOk="0">
                <a:moveTo>
                  <a:pt x="1830" y="0"/>
                </a:moveTo>
                <a:cubicBezTo>
                  <a:pt x="1220" y="915"/>
                  <a:pt x="610" y="1769"/>
                  <a:pt x="0" y="2683"/>
                </a:cubicBezTo>
                <a:cubicBezTo>
                  <a:pt x="610" y="1769"/>
                  <a:pt x="1220" y="915"/>
                  <a:pt x="1830" y="0"/>
                </a:cubicBezTo>
                <a:close/>
              </a:path>
            </a:pathLst>
          </a:custGeom>
          <a:solidFill>
            <a:srgbClr val="00B9FF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94" name="Google Shape;694;p5"/>
          <p:cNvSpPr/>
          <p:nvPr/>
        </p:nvSpPr>
        <p:spPr>
          <a:xfrm>
            <a:off x="7535283" y="4014222"/>
            <a:ext cx="1829" cy="4513"/>
          </a:xfrm>
          <a:custGeom>
            <a:avLst/>
            <a:gdLst/>
            <a:ahLst/>
            <a:cxnLst/>
            <a:rect l="l" t="t" r="r" b="b"/>
            <a:pathLst>
              <a:path w="1829" h="4513" extrusionOk="0">
                <a:moveTo>
                  <a:pt x="1830" y="0"/>
                </a:moveTo>
                <a:cubicBezTo>
                  <a:pt x="1220" y="1525"/>
                  <a:pt x="610" y="2989"/>
                  <a:pt x="0" y="4513"/>
                </a:cubicBezTo>
                <a:cubicBezTo>
                  <a:pt x="610" y="2989"/>
                  <a:pt x="1220" y="1525"/>
                  <a:pt x="1830" y="0"/>
                </a:cubicBezTo>
                <a:close/>
              </a:path>
            </a:pathLst>
          </a:custGeom>
          <a:solidFill>
            <a:srgbClr val="00B9FF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95" name="Google Shape;695;p5"/>
          <p:cNvSpPr/>
          <p:nvPr/>
        </p:nvSpPr>
        <p:spPr>
          <a:xfrm>
            <a:off x="7492652" y="4262141"/>
            <a:ext cx="122" cy="3354"/>
          </a:xfrm>
          <a:custGeom>
            <a:avLst/>
            <a:gdLst/>
            <a:ahLst/>
            <a:cxnLst/>
            <a:rect l="l" t="t" r="r" b="b"/>
            <a:pathLst>
              <a:path w="122" h="3354" extrusionOk="0">
                <a:moveTo>
                  <a:pt x="0" y="0"/>
                </a:moveTo>
                <a:cubicBezTo>
                  <a:pt x="0" y="1159"/>
                  <a:pt x="122" y="2257"/>
                  <a:pt x="122" y="3354"/>
                </a:cubicBezTo>
                <a:cubicBezTo>
                  <a:pt x="122" y="2257"/>
                  <a:pt x="0" y="1098"/>
                  <a:pt x="0" y="0"/>
                </a:cubicBezTo>
                <a:close/>
              </a:path>
            </a:pathLst>
          </a:custGeom>
          <a:solidFill>
            <a:srgbClr val="00B9FF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96" name="Google Shape;696;p5"/>
          <p:cNvSpPr/>
          <p:nvPr/>
        </p:nvSpPr>
        <p:spPr>
          <a:xfrm>
            <a:off x="7520890" y="4054109"/>
            <a:ext cx="1524" cy="4696"/>
          </a:xfrm>
          <a:custGeom>
            <a:avLst/>
            <a:gdLst/>
            <a:ahLst/>
            <a:cxnLst/>
            <a:rect l="l" t="t" r="r" b="b"/>
            <a:pathLst>
              <a:path w="1524" h="4696" extrusionOk="0">
                <a:moveTo>
                  <a:pt x="1525" y="0"/>
                </a:moveTo>
                <a:cubicBezTo>
                  <a:pt x="1037" y="1586"/>
                  <a:pt x="488" y="3110"/>
                  <a:pt x="0" y="4696"/>
                </a:cubicBezTo>
                <a:cubicBezTo>
                  <a:pt x="488" y="3110"/>
                  <a:pt x="1037" y="1586"/>
                  <a:pt x="1525" y="0"/>
                </a:cubicBezTo>
                <a:close/>
              </a:path>
            </a:pathLst>
          </a:custGeom>
          <a:solidFill>
            <a:srgbClr val="00B9FF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97" name="Google Shape;697;p5"/>
          <p:cNvSpPr/>
          <p:nvPr/>
        </p:nvSpPr>
        <p:spPr>
          <a:xfrm>
            <a:off x="7500886" y="4136139"/>
            <a:ext cx="792" cy="4635"/>
          </a:xfrm>
          <a:custGeom>
            <a:avLst/>
            <a:gdLst/>
            <a:ahLst/>
            <a:cxnLst/>
            <a:rect l="l" t="t" r="r" b="b"/>
            <a:pathLst>
              <a:path w="792" h="4635" extrusionOk="0">
                <a:moveTo>
                  <a:pt x="793" y="0"/>
                </a:moveTo>
                <a:cubicBezTo>
                  <a:pt x="488" y="1525"/>
                  <a:pt x="244" y="3110"/>
                  <a:pt x="0" y="4635"/>
                </a:cubicBezTo>
                <a:cubicBezTo>
                  <a:pt x="244" y="3110"/>
                  <a:pt x="549" y="1525"/>
                  <a:pt x="793" y="0"/>
                </a:cubicBezTo>
                <a:close/>
              </a:path>
            </a:pathLst>
          </a:custGeom>
          <a:solidFill>
            <a:srgbClr val="00B9FF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98" name="Google Shape;698;p5"/>
          <p:cNvSpPr/>
          <p:nvPr/>
        </p:nvSpPr>
        <p:spPr>
          <a:xfrm>
            <a:off x="7497897" y="4322947"/>
            <a:ext cx="670" cy="4818"/>
          </a:xfrm>
          <a:custGeom>
            <a:avLst/>
            <a:gdLst/>
            <a:ahLst/>
            <a:cxnLst/>
            <a:rect l="l" t="t" r="r" b="b"/>
            <a:pathLst>
              <a:path w="670" h="4818" extrusionOk="0">
                <a:moveTo>
                  <a:pt x="0" y="0"/>
                </a:moveTo>
                <a:cubicBezTo>
                  <a:pt x="244" y="1586"/>
                  <a:pt x="427" y="3232"/>
                  <a:pt x="671" y="4818"/>
                </a:cubicBezTo>
                <a:cubicBezTo>
                  <a:pt x="427" y="3232"/>
                  <a:pt x="183" y="1586"/>
                  <a:pt x="0" y="0"/>
                </a:cubicBezTo>
                <a:close/>
              </a:path>
            </a:pathLst>
          </a:custGeom>
          <a:solidFill>
            <a:srgbClr val="00B9FF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99" name="Google Shape;699;p5"/>
          <p:cNvSpPr/>
          <p:nvPr/>
        </p:nvSpPr>
        <p:spPr>
          <a:xfrm>
            <a:off x="7492348" y="4239331"/>
            <a:ext cx="6098" cy="4452"/>
          </a:xfrm>
          <a:custGeom>
            <a:avLst/>
            <a:gdLst/>
            <a:ahLst/>
            <a:cxnLst/>
            <a:rect l="l" t="t" r="r" b="b"/>
            <a:pathLst>
              <a:path w="6098" h="4452" extrusionOk="0">
                <a:moveTo>
                  <a:pt x="0" y="4452"/>
                </a:moveTo>
                <a:cubicBezTo>
                  <a:pt x="0" y="2988"/>
                  <a:pt x="0" y="1525"/>
                  <a:pt x="0" y="0"/>
                </a:cubicBezTo>
                <a:cubicBezTo>
                  <a:pt x="0" y="1464"/>
                  <a:pt x="0" y="2928"/>
                  <a:pt x="0" y="4452"/>
                </a:cubicBezTo>
                <a:close/>
              </a:path>
            </a:pathLst>
          </a:custGeom>
          <a:solidFill>
            <a:srgbClr val="00B9FF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00" name="Google Shape;700;p5"/>
          <p:cNvSpPr/>
          <p:nvPr/>
        </p:nvSpPr>
        <p:spPr>
          <a:xfrm>
            <a:off x="7543517" y="3996658"/>
            <a:ext cx="1098" cy="2500"/>
          </a:xfrm>
          <a:custGeom>
            <a:avLst/>
            <a:gdLst/>
            <a:ahLst/>
            <a:cxnLst/>
            <a:rect l="l" t="t" r="r" b="b"/>
            <a:pathLst>
              <a:path w="1098" h="2500" extrusionOk="0">
                <a:moveTo>
                  <a:pt x="0" y="2501"/>
                </a:moveTo>
                <a:cubicBezTo>
                  <a:pt x="366" y="1647"/>
                  <a:pt x="732" y="854"/>
                  <a:pt x="1098" y="0"/>
                </a:cubicBezTo>
                <a:cubicBezTo>
                  <a:pt x="1037" y="183"/>
                  <a:pt x="915" y="366"/>
                  <a:pt x="854" y="488"/>
                </a:cubicBezTo>
                <a:cubicBezTo>
                  <a:pt x="549" y="1159"/>
                  <a:pt x="305" y="1830"/>
                  <a:pt x="0" y="2440"/>
                </a:cubicBezTo>
                <a:close/>
              </a:path>
            </a:pathLst>
          </a:custGeom>
          <a:solidFill>
            <a:srgbClr val="00B9FF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01" name="Google Shape;701;p5"/>
          <p:cNvSpPr/>
          <p:nvPr/>
        </p:nvSpPr>
        <p:spPr>
          <a:xfrm>
            <a:off x="4299597" y="2670290"/>
            <a:ext cx="2016882" cy="1040831"/>
          </a:xfrm>
          <a:custGeom>
            <a:avLst/>
            <a:gdLst/>
            <a:ahLst/>
            <a:cxnLst/>
            <a:rect l="l" t="t" r="r" b="b"/>
            <a:pathLst>
              <a:path w="1994325" h="1022233" extrusionOk="0">
                <a:moveTo>
                  <a:pt x="1619246" y="939899"/>
                </a:moveTo>
                <a:lnTo>
                  <a:pt x="1994326" y="939899"/>
                </a:lnTo>
                <a:lnTo>
                  <a:pt x="1994326" y="366607"/>
                </a:lnTo>
                <a:lnTo>
                  <a:pt x="1576554" y="366607"/>
                </a:lnTo>
                <a:cubicBezTo>
                  <a:pt x="1472874" y="366607"/>
                  <a:pt x="1478973" y="269025"/>
                  <a:pt x="1478973" y="269025"/>
                </a:cubicBezTo>
                <a:lnTo>
                  <a:pt x="1478973" y="67763"/>
                </a:lnTo>
                <a:cubicBezTo>
                  <a:pt x="1478973" y="-11522"/>
                  <a:pt x="1363094" y="675"/>
                  <a:pt x="1363094" y="675"/>
                </a:cubicBezTo>
                <a:lnTo>
                  <a:pt x="143323" y="675"/>
                </a:lnTo>
                <a:cubicBezTo>
                  <a:pt x="-15247" y="675"/>
                  <a:pt x="3049" y="140949"/>
                  <a:pt x="3049" y="140949"/>
                </a:cubicBezTo>
                <a:lnTo>
                  <a:pt x="3049" y="269025"/>
                </a:lnTo>
                <a:lnTo>
                  <a:pt x="0" y="273721"/>
                </a:lnTo>
                <a:lnTo>
                  <a:pt x="0" y="413202"/>
                </a:lnTo>
                <a:cubicBezTo>
                  <a:pt x="99838" y="436987"/>
                  <a:pt x="85628" y="539387"/>
                  <a:pt x="85628" y="539387"/>
                </a:cubicBezTo>
                <a:lnTo>
                  <a:pt x="85628" y="778280"/>
                </a:lnTo>
                <a:lnTo>
                  <a:pt x="292745" y="778280"/>
                </a:lnTo>
                <a:cubicBezTo>
                  <a:pt x="292745" y="778280"/>
                  <a:pt x="469612" y="778280"/>
                  <a:pt x="475711" y="906356"/>
                </a:cubicBezTo>
                <a:cubicBezTo>
                  <a:pt x="479858" y="992959"/>
                  <a:pt x="534138" y="1016196"/>
                  <a:pt x="568840" y="1022234"/>
                </a:cubicBezTo>
                <a:lnTo>
                  <a:pt x="1433414" y="1022234"/>
                </a:lnTo>
                <a:cubicBezTo>
                  <a:pt x="1463482" y="974541"/>
                  <a:pt x="1518920" y="937643"/>
                  <a:pt x="1619246" y="939899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02" name="Google Shape;702;p5"/>
          <p:cNvSpPr/>
          <p:nvPr/>
        </p:nvSpPr>
        <p:spPr>
          <a:xfrm>
            <a:off x="3563038" y="3076889"/>
            <a:ext cx="5611" cy="8355"/>
          </a:xfrm>
          <a:custGeom>
            <a:avLst/>
            <a:gdLst/>
            <a:ahLst/>
            <a:cxnLst/>
            <a:rect l="l" t="t" r="r" b="b"/>
            <a:pathLst>
              <a:path w="5611" h="8355" extrusionOk="0">
                <a:moveTo>
                  <a:pt x="5611" y="1342"/>
                </a:moveTo>
                <a:cubicBezTo>
                  <a:pt x="5367" y="915"/>
                  <a:pt x="5062" y="488"/>
                  <a:pt x="4818" y="0"/>
                </a:cubicBezTo>
                <a:cubicBezTo>
                  <a:pt x="3354" y="2866"/>
                  <a:pt x="1708" y="5611"/>
                  <a:pt x="0" y="8355"/>
                </a:cubicBezTo>
                <a:lnTo>
                  <a:pt x="1769" y="8355"/>
                </a:lnTo>
                <a:cubicBezTo>
                  <a:pt x="3110" y="6038"/>
                  <a:pt x="4391" y="3720"/>
                  <a:pt x="5611" y="1342"/>
                </a:cubicBezTo>
                <a:close/>
              </a:path>
            </a:pathLst>
          </a:custGeom>
          <a:solidFill>
            <a:srgbClr val="0005C3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03" name="Google Shape;703;p5"/>
          <p:cNvSpPr/>
          <p:nvPr/>
        </p:nvSpPr>
        <p:spPr>
          <a:xfrm>
            <a:off x="3567795" y="3020597"/>
            <a:ext cx="14271" cy="57695"/>
          </a:xfrm>
          <a:custGeom>
            <a:avLst/>
            <a:gdLst/>
            <a:ahLst/>
            <a:cxnLst/>
            <a:rect l="l" t="t" r="r" b="b"/>
            <a:pathLst>
              <a:path w="14271" h="57695" extrusionOk="0">
                <a:moveTo>
                  <a:pt x="14271" y="1403"/>
                </a:moveTo>
                <a:cubicBezTo>
                  <a:pt x="14271" y="915"/>
                  <a:pt x="14210" y="427"/>
                  <a:pt x="14210" y="0"/>
                </a:cubicBezTo>
                <a:cubicBezTo>
                  <a:pt x="13966" y="20309"/>
                  <a:pt x="8843" y="39460"/>
                  <a:pt x="0" y="56353"/>
                </a:cubicBezTo>
                <a:cubicBezTo>
                  <a:pt x="244" y="56780"/>
                  <a:pt x="549" y="57207"/>
                  <a:pt x="793" y="57695"/>
                </a:cubicBezTo>
                <a:cubicBezTo>
                  <a:pt x="9331" y="40801"/>
                  <a:pt x="14210" y="21712"/>
                  <a:pt x="14210" y="1464"/>
                </a:cubicBezTo>
                <a:close/>
              </a:path>
            </a:pathLst>
          </a:custGeom>
          <a:solidFill>
            <a:srgbClr val="0005C3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04" name="Google Shape;704;p5"/>
          <p:cNvSpPr/>
          <p:nvPr/>
        </p:nvSpPr>
        <p:spPr>
          <a:xfrm>
            <a:off x="2838006" y="1656100"/>
            <a:ext cx="1887595" cy="1434085"/>
          </a:xfrm>
          <a:custGeom>
            <a:avLst/>
            <a:gdLst/>
            <a:ahLst/>
            <a:cxnLst/>
            <a:rect l="l" t="t" r="r" b="b"/>
            <a:pathLst>
              <a:path w="1887595" h="1434085" extrusionOk="0">
                <a:moveTo>
                  <a:pt x="619034" y="0"/>
                </a:moveTo>
                <a:cubicBezTo>
                  <a:pt x="277132" y="0"/>
                  <a:pt x="0" y="277132"/>
                  <a:pt x="0" y="619034"/>
                </a:cubicBezTo>
                <a:cubicBezTo>
                  <a:pt x="0" y="619522"/>
                  <a:pt x="0" y="620071"/>
                  <a:pt x="0" y="620559"/>
                </a:cubicBezTo>
                <a:cubicBezTo>
                  <a:pt x="0" y="626902"/>
                  <a:pt x="122" y="633183"/>
                  <a:pt x="366" y="639465"/>
                </a:cubicBezTo>
                <a:cubicBezTo>
                  <a:pt x="11161" y="971914"/>
                  <a:pt x="283963" y="1238068"/>
                  <a:pt x="619034" y="1238068"/>
                </a:cubicBezTo>
                <a:lnTo>
                  <a:pt x="622083" y="1237580"/>
                </a:lnTo>
                <a:cubicBezTo>
                  <a:pt x="691244" y="1237580"/>
                  <a:pt x="744060" y="1293690"/>
                  <a:pt x="744060" y="1362851"/>
                </a:cubicBezTo>
                <a:cubicBezTo>
                  <a:pt x="744060" y="1363399"/>
                  <a:pt x="744000" y="1363948"/>
                  <a:pt x="744000" y="1364497"/>
                </a:cubicBezTo>
                <a:cubicBezTo>
                  <a:pt x="744000" y="1364985"/>
                  <a:pt x="744060" y="1365473"/>
                  <a:pt x="744060" y="1365900"/>
                </a:cubicBezTo>
                <a:cubicBezTo>
                  <a:pt x="744060" y="1386148"/>
                  <a:pt x="739120" y="1405177"/>
                  <a:pt x="730643" y="1422131"/>
                </a:cubicBezTo>
                <a:cubicBezTo>
                  <a:pt x="729423" y="1424510"/>
                  <a:pt x="728143" y="1426889"/>
                  <a:pt x="726801" y="1429145"/>
                </a:cubicBezTo>
                <a:lnTo>
                  <a:pt x="1427376" y="1429145"/>
                </a:lnTo>
                <a:cubicBezTo>
                  <a:pt x="1432560" y="1429145"/>
                  <a:pt x="1437561" y="1429328"/>
                  <a:pt x="1442379" y="1429633"/>
                </a:cubicBezTo>
                <a:cubicBezTo>
                  <a:pt x="1453601" y="1430365"/>
                  <a:pt x="1463665" y="1431890"/>
                  <a:pt x="1472874" y="1434085"/>
                </a:cubicBezTo>
                <a:lnTo>
                  <a:pt x="1472874" y="609886"/>
                </a:lnTo>
                <a:cubicBezTo>
                  <a:pt x="1472874" y="609886"/>
                  <a:pt x="1454577" y="353734"/>
                  <a:pt x="1668037" y="359833"/>
                </a:cubicBezTo>
                <a:cubicBezTo>
                  <a:pt x="1881497" y="365931"/>
                  <a:pt x="1887596" y="292745"/>
                  <a:pt x="1887596" y="152471"/>
                </a:cubicBezTo>
                <a:lnTo>
                  <a:pt x="1887596" y="0"/>
                </a:lnTo>
                <a:cubicBezTo>
                  <a:pt x="1887596" y="0"/>
                  <a:pt x="619034" y="0"/>
                  <a:pt x="619034" y="0"/>
                </a:cubicBezTo>
                <a:close/>
              </a:path>
            </a:pathLst>
          </a:custGeom>
          <a:solidFill>
            <a:srgbClr val="66D5FF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05" name="Google Shape;705;p5"/>
          <p:cNvSpPr/>
          <p:nvPr/>
        </p:nvSpPr>
        <p:spPr>
          <a:xfrm>
            <a:off x="1784550" y="3430806"/>
            <a:ext cx="142591" cy="232244"/>
          </a:xfrm>
          <a:custGeom>
            <a:avLst/>
            <a:gdLst/>
            <a:ahLst/>
            <a:cxnLst/>
            <a:rect l="l" t="t" r="r" b="b"/>
            <a:pathLst>
              <a:path w="142591" h="232244" extrusionOk="0">
                <a:moveTo>
                  <a:pt x="142591" y="232184"/>
                </a:moveTo>
                <a:cubicBezTo>
                  <a:pt x="60257" y="187296"/>
                  <a:pt x="3659" y="101180"/>
                  <a:pt x="244" y="1647"/>
                </a:cubicBezTo>
                <a:cubicBezTo>
                  <a:pt x="183" y="1098"/>
                  <a:pt x="61" y="549"/>
                  <a:pt x="0" y="0"/>
                </a:cubicBezTo>
                <a:lnTo>
                  <a:pt x="0" y="46229"/>
                </a:lnTo>
                <a:cubicBezTo>
                  <a:pt x="17138" y="126795"/>
                  <a:pt x="70869" y="194493"/>
                  <a:pt x="142591" y="232245"/>
                </a:cubicBezTo>
                <a:close/>
              </a:path>
            </a:pathLst>
          </a:custGeom>
          <a:solidFill>
            <a:srgbClr val="BD6AFF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06" name="Google Shape;706;p5"/>
          <p:cNvSpPr/>
          <p:nvPr/>
        </p:nvSpPr>
        <p:spPr>
          <a:xfrm>
            <a:off x="2805316" y="3702998"/>
            <a:ext cx="8721" cy="1402"/>
          </a:xfrm>
          <a:custGeom>
            <a:avLst/>
            <a:gdLst/>
            <a:ahLst/>
            <a:cxnLst/>
            <a:rect l="l" t="t" r="r" b="b"/>
            <a:pathLst>
              <a:path w="8721" h="1402" extrusionOk="0">
                <a:moveTo>
                  <a:pt x="8721" y="1403"/>
                </a:moveTo>
                <a:cubicBezTo>
                  <a:pt x="5794" y="915"/>
                  <a:pt x="2927" y="427"/>
                  <a:pt x="0" y="0"/>
                </a:cubicBezTo>
                <a:cubicBezTo>
                  <a:pt x="2927" y="488"/>
                  <a:pt x="5855" y="915"/>
                  <a:pt x="8721" y="1403"/>
                </a:cubicBezTo>
                <a:close/>
              </a:path>
            </a:pathLst>
          </a:custGeom>
          <a:solidFill>
            <a:srgbClr val="BD6AFF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07" name="Google Shape;707;p5"/>
          <p:cNvSpPr/>
          <p:nvPr/>
        </p:nvSpPr>
        <p:spPr>
          <a:xfrm>
            <a:off x="3555597" y="3085245"/>
            <a:ext cx="9209" cy="10733"/>
          </a:xfrm>
          <a:custGeom>
            <a:avLst/>
            <a:gdLst/>
            <a:ahLst/>
            <a:cxnLst/>
            <a:rect l="l" t="t" r="r" b="b"/>
            <a:pathLst>
              <a:path w="9209" h="10733" extrusionOk="0">
                <a:moveTo>
                  <a:pt x="0" y="10734"/>
                </a:moveTo>
                <a:lnTo>
                  <a:pt x="2135" y="10734"/>
                </a:lnTo>
                <a:cubicBezTo>
                  <a:pt x="4635" y="7319"/>
                  <a:pt x="7014" y="3720"/>
                  <a:pt x="9209" y="0"/>
                </a:cubicBezTo>
                <a:lnTo>
                  <a:pt x="7441" y="0"/>
                </a:lnTo>
                <a:cubicBezTo>
                  <a:pt x="5184" y="3537"/>
                  <a:pt x="2866" y="7075"/>
                  <a:pt x="305" y="10368"/>
                </a:cubicBezTo>
                <a:lnTo>
                  <a:pt x="61" y="10673"/>
                </a:lnTo>
                <a:close/>
              </a:path>
            </a:pathLst>
          </a:custGeom>
          <a:solidFill>
            <a:srgbClr val="BD6AFF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08" name="Google Shape;708;p5"/>
          <p:cNvSpPr/>
          <p:nvPr/>
        </p:nvSpPr>
        <p:spPr>
          <a:xfrm>
            <a:off x="1778737" y="3085245"/>
            <a:ext cx="2618406" cy="1125056"/>
          </a:xfrm>
          <a:custGeom>
            <a:avLst/>
            <a:gdLst/>
            <a:ahLst/>
            <a:cxnLst/>
            <a:rect l="l" t="t" r="r" b="b"/>
            <a:pathLst>
              <a:path w="2618406" h="1125056" extrusionOk="0">
                <a:moveTo>
                  <a:pt x="2532142" y="4940"/>
                </a:moveTo>
                <a:cubicBezTo>
                  <a:pt x="2522933" y="2744"/>
                  <a:pt x="2512870" y="1220"/>
                  <a:pt x="2501648" y="488"/>
                </a:cubicBezTo>
                <a:cubicBezTo>
                  <a:pt x="2496830" y="183"/>
                  <a:pt x="2491890" y="0"/>
                  <a:pt x="2486645" y="0"/>
                </a:cubicBezTo>
                <a:lnTo>
                  <a:pt x="1786069" y="0"/>
                </a:lnTo>
                <a:cubicBezTo>
                  <a:pt x="1783874" y="3720"/>
                  <a:pt x="1781556" y="7258"/>
                  <a:pt x="1778995" y="10734"/>
                </a:cubicBezTo>
                <a:lnTo>
                  <a:pt x="1776860" y="10734"/>
                </a:lnTo>
                <a:lnTo>
                  <a:pt x="1777104" y="10429"/>
                </a:lnTo>
                <a:cubicBezTo>
                  <a:pt x="1779665" y="7136"/>
                  <a:pt x="1782044" y="3598"/>
                  <a:pt x="1784240" y="61"/>
                </a:cubicBezTo>
                <a:lnTo>
                  <a:pt x="1781922" y="61"/>
                </a:lnTo>
                <a:lnTo>
                  <a:pt x="1769724" y="16345"/>
                </a:lnTo>
                <a:cubicBezTo>
                  <a:pt x="1759722" y="25920"/>
                  <a:pt x="1745146" y="40313"/>
                  <a:pt x="1733131" y="46839"/>
                </a:cubicBezTo>
                <a:cubicBezTo>
                  <a:pt x="1721117" y="53365"/>
                  <a:pt x="1703918" y="55866"/>
                  <a:pt x="1690439" y="59037"/>
                </a:cubicBezTo>
                <a:lnTo>
                  <a:pt x="1672143" y="61172"/>
                </a:lnTo>
                <a:lnTo>
                  <a:pt x="1635793" y="61050"/>
                </a:lnTo>
                <a:lnTo>
                  <a:pt x="273187" y="61050"/>
                </a:lnTo>
                <a:cubicBezTo>
                  <a:pt x="123338" y="60989"/>
                  <a:pt x="1666" y="184185"/>
                  <a:pt x="19" y="333669"/>
                </a:cubicBezTo>
                <a:cubicBezTo>
                  <a:pt x="-225" y="353551"/>
                  <a:pt x="1849" y="373006"/>
                  <a:pt x="5813" y="391730"/>
                </a:cubicBezTo>
                <a:lnTo>
                  <a:pt x="5813" y="345500"/>
                </a:lnTo>
                <a:cubicBezTo>
                  <a:pt x="5874" y="346049"/>
                  <a:pt x="5996" y="346598"/>
                  <a:pt x="6057" y="347147"/>
                </a:cubicBezTo>
                <a:cubicBezTo>
                  <a:pt x="9412" y="446741"/>
                  <a:pt x="66009" y="532796"/>
                  <a:pt x="148404" y="577684"/>
                </a:cubicBezTo>
                <a:cubicBezTo>
                  <a:pt x="187315" y="598176"/>
                  <a:pt x="231471" y="609825"/>
                  <a:pt x="277944" y="609825"/>
                </a:cubicBezTo>
                <a:lnTo>
                  <a:pt x="928387" y="609825"/>
                </a:lnTo>
                <a:cubicBezTo>
                  <a:pt x="961809" y="609825"/>
                  <a:pt x="994560" y="612630"/>
                  <a:pt x="1026518" y="617692"/>
                </a:cubicBezTo>
                <a:cubicBezTo>
                  <a:pt x="1029445" y="618119"/>
                  <a:pt x="1032373" y="618607"/>
                  <a:pt x="1035239" y="619095"/>
                </a:cubicBezTo>
                <a:cubicBezTo>
                  <a:pt x="1037252" y="619461"/>
                  <a:pt x="1039325" y="619705"/>
                  <a:pt x="1041338" y="620132"/>
                </a:cubicBezTo>
                <a:cubicBezTo>
                  <a:pt x="1295660" y="667032"/>
                  <a:pt x="1495520" y="869392"/>
                  <a:pt x="1538761" y="1124995"/>
                </a:cubicBezTo>
                <a:lnTo>
                  <a:pt x="1544372" y="1124995"/>
                </a:lnTo>
                <a:cubicBezTo>
                  <a:pt x="1544372" y="1124995"/>
                  <a:pt x="1545286" y="1125056"/>
                  <a:pt x="1545286" y="1125056"/>
                </a:cubicBezTo>
                <a:cubicBezTo>
                  <a:pt x="1545043" y="1123409"/>
                  <a:pt x="1544921" y="1121763"/>
                  <a:pt x="1544677" y="1120116"/>
                </a:cubicBezTo>
                <a:lnTo>
                  <a:pt x="1547665" y="1121214"/>
                </a:lnTo>
                <a:lnTo>
                  <a:pt x="2282028" y="1121214"/>
                </a:lnTo>
                <a:lnTo>
                  <a:pt x="2282028" y="498033"/>
                </a:lnTo>
                <a:cubicBezTo>
                  <a:pt x="2275930" y="351660"/>
                  <a:pt x="2416203" y="369957"/>
                  <a:pt x="2416203" y="369957"/>
                </a:cubicBezTo>
                <a:lnTo>
                  <a:pt x="2617709" y="369957"/>
                </a:lnTo>
                <a:lnTo>
                  <a:pt x="2617709" y="131064"/>
                </a:lnTo>
                <a:cubicBezTo>
                  <a:pt x="2617709" y="131064"/>
                  <a:pt x="2631920" y="28665"/>
                  <a:pt x="2532081" y="4879"/>
                </a:cubicBezTo>
                <a:close/>
              </a:path>
            </a:pathLst>
          </a:custGeom>
          <a:solidFill>
            <a:srgbClr val="009CDA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09" name="Google Shape;709;p5"/>
          <p:cNvSpPr/>
          <p:nvPr/>
        </p:nvSpPr>
        <p:spPr>
          <a:xfrm>
            <a:off x="4060633" y="3454530"/>
            <a:ext cx="1683782" cy="1049796"/>
          </a:xfrm>
          <a:custGeom>
            <a:avLst/>
            <a:gdLst/>
            <a:ahLst/>
            <a:cxnLst/>
            <a:rect l="l" t="t" r="r" b="b"/>
            <a:pathLst>
              <a:path w="1683782" h="1049796" extrusionOk="0">
                <a:moveTo>
                  <a:pt x="1683661" y="244686"/>
                </a:moveTo>
                <a:lnTo>
                  <a:pt x="819087" y="244686"/>
                </a:lnTo>
                <a:cubicBezTo>
                  <a:pt x="784323" y="238648"/>
                  <a:pt x="730043" y="215412"/>
                  <a:pt x="725957" y="128808"/>
                </a:cubicBezTo>
                <a:cubicBezTo>
                  <a:pt x="719858" y="732"/>
                  <a:pt x="542991" y="732"/>
                  <a:pt x="542991" y="732"/>
                </a:cubicBezTo>
                <a:lnTo>
                  <a:pt x="134368" y="732"/>
                </a:lnTo>
                <a:cubicBezTo>
                  <a:pt x="134368" y="732"/>
                  <a:pt x="-5906" y="-17565"/>
                  <a:pt x="193" y="128808"/>
                </a:cubicBezTo>
                <a:lnTo>
                  <a:pt x="193" y="751989"/>
                </a:lnTo>
                <a:lnTo>
                  <a:pt x="257138" y="751989"/>
                </a:lnTo>
                <a:cubicBezTo>
                  <a:pt x="266774" y="752599"/>
                  <a:pt x="275313" y="753941"/>
                  <a:pt x="282875" y="755953"/>
                </a:cubicBezTo>
                <a:cubicBezTo>
                  <a:pt x="353683" y="774311"/>
                  <a:pt x="339412" y="845545"/>
                  <a:pt x="339412" y="845545"/>
                </a:cubicBezTo>
                <a:lnTo>
                  <a:pt x="339412" y="1031805"/>
                </a:lnTo>
                <a:lnTo>
                  <a:pt x="339290" y="1047723"/>
                </a:lnTo>
                <a:lnTo>
                  <a:pt x="1653044" y="1047723"/>
                </a:lnTo>
                <a:lnTo>
                  <a:pt x="1653044" y="1049796"/>
                </a:lnTo>
                <a:lnTo>
                  <a:pt x="1656094" y="1049796"/>
                </a:lnTo>
                <a:lnTo>
                  <a:pt x="1656094" y="442960"/>
                </a:lnTo>
                <a:cubicBezTo>
                  <a:pt x="1656094" y="442960"/>
                  <a:pt x="1631942" y="329216"/>
                  <a:pt x="1682624" y="246577"/>
                </a:cubicBezTo>
                <a:cubicBezTo>
                  <a:pt x="1682989" y="245967"/>
                  <a:pt x="1683355" y="245357"/>
                  <a:pt x="1683782" y="244747"/>
                </a:cubicBezTo>
                <a:close/>
              </a:path>
            </a:pathLst>
          </a:custGeom>
          <a:solidFill>
            <a:srgbClr val="0934B6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10" name="Google Shape;710;p5"/>
          <p:cNvSpPr/>
          <p:nvPr/>
        </p:nvSpPr>
        <p:spPr>
          <a:xfrm>
            <a:off x="7522476" y="4428335"/>
            <a:ext cx="6220" cy="17564"/>
          </a:xfrm>
          <a:custGeom>
            <a:avLst/>
            <a:gdLst/>
            <a:ahLst/>
            <a:cxnLst/>
            <a:rect l="l" t="t" r="r" b="b"/>
            <a:pathLst>
              <a:path w="6220" h="17564" extrusionOk="0">
                <a:moveTo>
                  <a:pt x="0" y="0"/>
                </a:moveTo>
                <a:cubicBezTo>
                  <a:pt x="1952" y="5855"/>
                  <a:pt x="4025" y="11710"/>
                  <a:pt x="6221" y="17565"/>
                </a:cubicBezTo>
                <a:cubicBezTo>
                  <a:pt x="4086" y="11710"/>
                  <a:pt x="2012" y="5855"/>
                  <a:pt x="0" y="0"/>
                </a:cubicBezTo>
                <a:close/>
              </a:path>
            </a:pathLst>
          </a:custGeom>
          <a:solidFill>
            <a:srgbClr val="B7E5FF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11" name="Google Shape;711;p5"/>
          <p:cNvSpPr/>
          <p:nvPr/>
        </p:nvSpPr>
        <p:spPr>
          <a:xfrm>
            <a:off x="7516804" y="4410160"/>
            <a:ext cx="4879" cy="15552"/>
          </a:xfrm>
          <a:custGeom>
            <a:avLst/>
            <a:gdLst/>
            <a:ahLst/>
            <a:cxnLst/>
            <a:rect l="l" t="t" r="r" b="b"/>
            <a:pathLst>
              <a:path w="4879" h="15552" extrusionOk="0">
                <a:moveTo>
                  <a:pt x="0" y="0"/>
                </a:moveTo>
                <a:cubicBezTo>
                  <a:pt x="1525" y="5184"/>
                  <a:pt x="3171" y="10368"/>
                  <a:pt x="4879" y="15552"/>
                </a:cubicBezTo>
                <a:cubicBezTo>
                  <a:pt x="3171" y="10368"/>
                  <a:pt x="1585" y="5184"/>
                  <a:pt x="0" y="0"/>
                </a:cubicBezTo>
                <a:close/>
              </a:path>
            </a:pathLst>
          </a:custGeom>
          <a:solidFill>
            <a:srgbClr val="B7E5FF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12" name="Google Shape;712;p5"/>
          <p:cNvSpPr/>
          <p:nvPr/>
        </p:nvSpPr>
        <p:spPr>
          <a:xfrm>
            <a:off x="7501679" y="4346793"/>
            <a:ext cx="3476" cy="17625"/>
          </a:xfrm>
          <a:custGeom>
            <a:avLst/>
            <a:gdLst/>
            <a:ahLst/>
            <a:cxnLst/>
            <a:rect l="l" t="t" r="r" b="b"/>
            <a:pathLst>
              <a:path w="3476" h="17625" extrusionOk="0">
                <a:moveTo>
                  <a:pt x="0" y="0"/>
                </a:moveTo>
                <a:cubicBezTo>
                  <a:pt x="1037" y="5916"/>
                  <a:pt x="2257" y="11771"/>
                  <a:pt x="3476" y="17626"/>
                </a:cubicBezTo>
                <a:cubicBezTo>
                  <a:pt x="2257" y="11771"/>
                  <a:pt x="1037" y="5916"/>
                  <a:pt x="0" y="0"/>
                </a:cubicBezTo>
                <a:close/>
              </a:path>
            </a:pathLst>
          </a:custGeom>
          <a:solidFill>
            <a:srgbClr val="B7E5FF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13" name="Google Shape;713;p5"/>
          <p:cNvSpPr/>
          <p:nvPr/>
        </p:nvSpPr>
        <p:spPr>
          <a:xfrm>
            <a:off x="7510522" y="4387533"/>
            <a:ext cx="4879" cy="17930"/>
          </a:xfrm>
          <a:custGeom>
            <a:avLst/>
            <a:gdLst/>
            <a:ahLst/>
            <a:cxnLst/>
            <a:rect l="l" t="t" r="r" b="b"/>
            <a:pathLst>
              <a:path w="4879" h="17930" extrusionOk="0">
                <a:moveTo>
                  <a:pt x="0" y="0"/>
                </a:moveTo>
                <a:cubicBezTo>
                  <a:pt x="1525" y="6038"/>
                  <a:pt x="3172" y="12015"/>
                  <a:pt x="4879" y="17931"/>
                </a:cubicBezTo>
                <a:cubicBezTo>
                  <a:pt x="3172" y="11954"/>
                  <a:pt x="1525" y="5977"/>
                  <a:pt x="0" y="0"/>
                </a:cubicBezTo>
                <a:close/>
              </a:path>
            </a:pathLst>
          </a:custGeom>
          <a:solidFill>
            <a:srgbClr val="B7E5FF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14" name="Google Shape;714;p5"/>
          <p:cNvSpPr/>
          <p:nvPr/>
        </p:nvSpPr>
        <p:spPr>
          <a:xfrm>
            <a:off x="7500093" y="4336974"/>
            <a:ext cx="1464" cy="9087"/>
          </a:xfrm>
          <a:custGeom>
            <a:avLst/>
            <a:gdLst/>
            <a:ahLst/>
            <a:cxnLst/>
            <a:rect l="l" t="t" r="r" b="b"/>
            <a:pathLst>
              <a:path w="1464" h="9087" extrusionOk="0">
                <a:moveTo>
                  <a:pt x="1464" y="9087"/>
                </a:moveTo>
                <a:cubicBezTo>
                  <a:pt x="915" y="6038"/>
                  <a:pt x="488" y="2988"/>
                  <a:pt x="0" y="0"/>
                </a:cubicBezTo>
                <a:cubicBezTo>
                  <a:pt x="0" y="61"/>
                  <a:pt x="0" y="122"/>
                  <a:pt x="0" y="183"/>
                </a:cubicBezTo>
                <a:cubicBezTo>
                  <a:pt x="488" y="3171"/>
                  <a:pt x="976" y="6099"/>
                  <a:pt x="1464" y="9087"/>
                </a:cubicBezTo>
                <a:close/>
              </a:path>
            </a:pathLst>
          </a:custGeom>
          <a:solidFill>
            <a:srgbClr val="B7E5FF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15" name="Google Shape;715;p5"/>
          <p:cNvSpPr/>
          <p:nvPr/>
        </p:nvSpPr>
        <p:spPr>
          <a:xfrm>
            <a:off x="7530343" y="4450291"/>
            <a:ext cx="5793" cy="14698"/>
          </a:xfrm>
          <a:custGeom>
            <a:avLst/>
            <a:gdLst/>
            <a:ahLst/>
            <a:cxnLst/>
            <a:rect l="l" t="t" r="r" b="b"/>
            <a:pathLst>
              <a:path w="5793" h="14698" extrusionOk="0">
                <a:moveTo>
                  <a:pt x="0" y="0"/>
                </a:moveTo>
                <a:cubicBezTo>
                  <a:pt x="1830" y="4940"/>
                  <a:pt x="3781" y="9819"/>
                  <a:pt x="5794" y="14698"/>
                </a:cubicBezTo>
                <a:cubicBezTo>
                  <a:pt x="3781" y="9819"/>
                  <a:pt x="1891" y="4940"/>
                  <a:pt x="0" y="0"/>
                </a:cubicBezTo>
                <a:close/>
              </a:path>
            </a:pathLst>
          </a:custGeom>
          <a:solidFill>
            <a:srgbClr val="B7E5FF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16" name="Google Shape;716;p5"/>
          <p:cNvSpPr/>
          <p:nvPr/>
        </p:nvSpPr>
        <p:spPr>
          <a:xfrm>
            <a:off x="7506192" y="4369237"/>
            <a:ext cx="3964" cy="16893"/>
          </a:xfrm>
          <a:custGeom>
            <a:avLst/>
            <a:gdLst/>
            <a:ahLst/>
            <a:cxnLst/>
            <a:rect l="l" t="t" r="r" b="b"/>
            <a:pathLst>
              <a:path w="3964" h="16893" extrusionOk="0">
                <a:moveTo>
                  <a:pt x="0" y="0"/>
                </a:moveTo>
                <a:cubicBezTo>
                  <a:pt x="1220" y="5672"/>
                  <a:pt x="2562" y="11283"/>
                  <a:pt x="3964" y="16894"/>
                </a:cubicBezTo>
                <a:cubicBezTo>
                  <a:pt x="2562" y="11283"/>
                  <a:pt x="1220" y="5672"/>
                  <a:pt x="0" y="0"/>
                </a:cubicBezTo>
                <a:close/>
              </a:path>
            </a:pathLst>
          </a:custGeom>
          <a:solidFill>
            <a:srgbClr val="B7E5FF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17" name="Google Shape;717;p5"/>
          <p:cNvSpPr/>
          <p:nvPr/>
        </p:nvSpPr>
        <p:spPr>
          <a:xfrm>
            <a:off x="7537540" y="4468343"/>
            <a:ext cx="7501" cy="17137"/>
          </a:xfrm>
          <a:custGeom>
            <a:avLst/>
            <a:gdLst/>
            <a:ahLst/>
            <a:cxnLst/>
            <a:rect l="l" t="t" r="r" b="b"/>
            <a:pathLst>
              <a:path w="7501" h="17137" extrusionOk="0">
                <a:moveTo>
                  <a:pt x="0" y="0"/>
                </a:moveTo>
                <a:cubicBezTo>
                  <a:pt x="2379" y="5733"/>
                  <a:pt x="4879" y="11466"/>
                  <a:pt x="7501" y="17138"/>
                </a:cubicBezTo>
                <a:cubicBezTo>
                  <a:pt x="4940" y="11466"/>
                  <a:pt x="2440" y="5733"/>
                  <a:pt x="0" y="0"/>
                </a:cubicBezTo>
                <a:close/>
              </a:path>
            </a:pathLst>
          </a:custGeom>
          <a:solidFill>
            <a:srgbClr val="B7E5FF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18" name="Google Shape;718;p5"/>
          <p:cNvSpPr/>
          <p:nvPr/>
        </p:nvSpPr>
        <p:spPr>
          <a:xfrm>
            <a:off x="7522415" y="4037581"/>
            <a:ext cx="5671" cy="16527"/>
          </a:xfrm>
          <a:custGeom>
            <a:avLst/>
            <a:gdLst/>
            <a:ahLst/>
            <a:cxnLst/>
            <a:rect l="l" t="t" r="r" b="b"/>
            <a:pathLst>
              <a:path w="5671" h="16527" extrusionOk="0">
                <a:moveTo>
                  <a:pt x="5672" y="0"/>
                </a:moveTo>
                <a:cubicBezTo>
                  <a:pt x="3659" y="5489"/>
                  <a:pt x="1769" y="11039"/>
                  <a:pt x="0" y="16528"/>
                </a:cubicBezTo>
                <a:cubicBezTo>
                  <a:pt x="1830" y="10978"/>
                  <a:pt x="3720" y="5489"/>
                  <a:pt x="5672" y="0"/>
                </a:cubicBezTo>
                <a:close/>
              </a:path>
            </a:pathLst>
          </a:custGeom>
          <a:solidFill>
            <a:srgbClr val="B7E5FF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19" name="Google Shape;719;p5"/>
          <p:cNvSpPr/>
          <p:nvPr/>
        </p:nvSpPr>
        <p:spPr>
          <a:xfrm>
            <a:off x="7528575" y="4018797"/>
            <a:ext cx="6708" cy="17503"/>
          </a:xfrm>
          <a:custGeom>
            <a:avLst/>
            <a:gdLst/>
            <a:ahLst/>
            <a:cxnLst/>
            <a:rect l="l" t="t" r="r" b="b"/>
            <a:pathLst>
              <a:path w="6708" h="17503" extrusionOk="0">
                <a:moveTo>
                  <a:pt x="6709" y="0"/>
                </a:moveTo>
                <a:cubicBezTo>
                  <a:pt x="4391" y="5794"/>
                  <a:pt x="2134" y="11649"/>
                  <a:pt x="0" y="17504"/>
                </a:cubicBezTo>
                <a:cubicBezTo>
                  <a:pt x="2134" y="11649"/>
                  <a:pt x="4391" y="5794"/>
                  <a:pt x="6709" y="0"/>
                </a:cubicBezTo>
                <a:close/>
              </a:path>
            </a:pathLst>
          </a:custGeom>
          <a:solidFill>
            <a:srgbClr val="B7E5FF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20" name="Google Shape;720;p5"/>
          <p:cNvSpPr/>
          <p:nvPr/>
        </p:nvSpPr>
        <p:spPr>
          <a:xfrm>
            <a:off x="7598163" y="3881328"/>
            <a:ext cx="14454" cy="20187"/>
          </a:xfrm>
          <a:custGeom>
            <a:avLst/>
            <a:gdLst/>
            <a:ahLst/>
            <a:cxnLst/>
            <a:rect l="l" t="t" r="r" b="b"/>
            <a:pathLst>
              <a:path w="14454" h="20187" extrusionOk="0">
                <a:moveTo>
                  <a:pt x="14454" y="0"/>
                </a:moveTo>
                <a:cubicBezTo>
                  <a:pt x="9453" y="6648"/>
                  <a:pt x="4635" y="13357"/>
                  <a:pt x="0" y="20187"/>
                </a:cubicBezTo>
                <a:cubicBezTo>
                  <a:pt x="4696" y="13418"/>
                  <a:pt x="9514" y="6648"/>
                  <a:pt x="14454" y="0"/>
                </a:cubicBezTo>
                <a:close/>
              </a:path>
            </a:pathLst>
          </a:custGeom>
          <a:solidFill>
            <a:srgbClr val="B7E5FF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21" name="Google Shape;721;p5"/>
          <p:cNvSpPr/>
          <p:nvPr/>
        </p:nvSpPr>
        <p:spPr>
          <a:xfrm>
            <a:off x="7630243" y="3839917"/>
            <a:ext cx="16528" cy="19089"/>
          </a:xfrm>
          <a:custGeom>
            <a:avLst/>
            <a:gdLst/>
            <a:ahLst/>
            <a:cxnLst/>
            <a:rect l="l" t="t" r="r" b="b"/>
            <a:pathLst>
              <a:path w="16528" h="19089" extrusionOk="0">
                <a:moveTo>
                  <a:pt x="16528" y="0"/>
                </a:moveTo>
                <a:cubicBezTo>
                  <a:pt x="10856" y="6282"/>
                  <a:pt x="5306" y="12625"/>
                  <a:pt x="0" y="19089"/>
                </a:cubicBezTo>
                <a:cubicBezTo>
                  <a:pt x="5367" y="12625"/>
                  <a:pt x="10917" y="6282"/>
                  <a:pt x="16528" y="0"/>
                </a:cubicBezTo>
                <a:close/>
              </a:path>
            </a:pathLst>
          </a:custGeom>
          <a:solidFill>
            <a:srgbClr val="B7E5FF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22" name="Google Shape;722;p5"/>
          <p:cNvSpPr/>
          <p:nvPr/>
        </p:nvSpPr>
        <p:spPr>
          <a:xfrm>
            <a:off x="7583342" y="3904138"/>
            <a:ext cx="12990" cy="20004"/>
          </a:xfrm>
          <a:custGeom>
            <a:avLst/>
            <a:gdLst/>
            <a:ahLst/>
            <a:cxnLst/>
            <a:rect l="l" t="t" r="r" b="b"/>
            <a:pathLst>
              <a:path w="12990" h="20004" extrusionOk="0">
                <a:moveTo>
                  <a:pt x="12991" y="0"/>
                </a:moveTo>
                <a:cubicBezTo>
                  <a:pt x="8477" y="6587"/>
                  <a:pt x="4147" y="13234"/>
                  <a:pt x="0" y="20004"/>
                </a:cubicBezTo>
                <a:cubicBezTo>
                  <a:pt x="4208" y="13295"/>
                  <a:pt x="8539" y="6587"/>
                  <a:pt x="12991" y="0"/>
                </a:cubicBezTo>
                <a:close/>
              </a:path>
            </a:pathLst>
          </a:custGeom>
          <a:solidFill>
            <a:srgbClr val="B7E5FF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23" name="Google Shape;723;p5"/>
          <p:cNvSpPr/>
          <p:nvPr/>
        </p:nvSpPr>
        <p:spPr>
          <a:xfrm>
            <a:off x="7556447" y="3951099"/>
            <a:ext cx="10977" cy="20797"/>
          </a:xfrm>
          <a:custGeom>
            <a:avLst/>
            <a:gdLst/>
            <a:ahLst/>
            <a:cxnLst/>
            <a:rect l="l" t="t" r="r" b="b"/>
            <a:pathLst>
              <a:path w="10977" h="20797" extrusionOk="0">
                <a:moveTo>
                  <a:pt x="10978" y="0"/>
                </a:moveTo>
                <a:cubicBezTo>
                  <a:pt x="7197" y="6892"/>
                  <a:pt x="3476" y="13783"/>
                  <a:pt x="0" y="20797"/>
                </a:cubicBezTo>
                <a:cubicBezTo>
                  <a:pt x="3537" y="13783"/>
                  <a:pt x="7197" y="6892"/>
                  <a:pt x="10978" y="0"/>
                </a:cubicBezTo>
                <a:close/>
              </a:path>
            </a:pathLst>
          </a:custGeom>
          <a:solidFill>
            <a:srgbClr val="B7E5FF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24" name="Google Shape;724;p5"/>
          <p:cNvSpPr/>
          <p:nvPr/>
        </p:nvSpPr>
        <p:spPr>
          <a:xfrm>
            <a:off x="7569315" y="3927436"/>
            <a:ext cx="11892" cy="20187"/>
          </a:xfrm>
          <a:custGeom>
            <a:avLst/>
            <a:gdLst/>
            <a:ahLst/>
            <a:cxnLst/>
            <a:rect l="l" t="t" r="r" b="b"/>
            <a:pathLst>
              <a:path w="11892" h="20187" extrusionOk="0">
                <a:moveTo>
                  <a:pt x="11893" y="0"/>
                </a:moveTo>
                <a:cubicBezTo>
                  <a:pt x="7806" y="6648"/>
                  <a:pt x="3842" y="13417"/>
                  <a:pt x="0" y="20187"/>
                </a:cubicBezTo>
                <a:cubicBezTo>
                  <a:pt x="3842" y="13417"/>
                  <a:pt x="7806" y="6648"/>
                  <a:pt x="11893" y="0"/>
                </a:cubicBezTo>
                <a:close/>
              </a:path>
            </a:pathLst>
          </a:custGeom>
          <a:solidFill>
            <a:srgbClr val="B7E5FF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25" name="Google Shape;725;p5"/>
          <p:cNvSpPr/>
          <p:nvPr/>
        </p:nvSpPr>
        <p:spPr>
          <a:xfrm>
            <a:off x="7613654" y="3860165"/>
            <a:ext cx="15674" cy="19882"/>
          </a:xfrm>
          <a:custGeom>
            <a:avLst/>
            <a:gdLst/>
            <a:ahLst/>
            <a:cxnLst/>
            <a:rect l="l" t="t" r="r" b="b"/>
            <a:pathLst>
              <a:path w="15674" h="19882" extrusionOk="0">
                <a:moveTo>
                  <a:pt x="15674" y="0"/>
                </a:moveTo>
                <a:cubicBezTo>
                  <a:pt x="10307" y="6526"/>
                  <a:pt x="5062" y="13173"/>
                  <a:pt x="0" y="19882"/>
                </a:cubicBezTo>
                <a:cubicBezTo>
                  <a:pt x="5062" y="13173"/>
                  <a:pt x="10307" y="6526"/>
                  <a:pt x="15674" y="0"/>
                </a:cubicBezTo>
                <a:close/>
              </a:path>
            </a:pathLst>
          </a:custGeom>
          <a:solidFill>
            <a:srgbClr val="B7E5FF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26" name="Google Shape;726;p5"/>
          <p:cNvSpPr/>
          <p:nvPr/>
        </p:nvSpPr>
        <p:spPr>
          <a:xfrm>
            <a:off x="7544615" y="3974885"/>
            <a:ext cx="10307" cy="21772"/>
          </a:xfrm>
          <a:custGeom>
            <a:avLst/>
            <a:gdLst/>
            <a:ahLst/>
            <a:cxnLst/>
            <a:rect l="l" t="t" r="r" b="b"/>
            <a:pathLst>
              <a:path w="10307" h="21772" extrusionOk="0">
                <a:moveTo>
                  <a:pt x="10307" y="0"/>
                </a:moveTo>
                <a:cubicBezTo>
                  <a:pt x="6709" y="7197"/>
                  <a:pt x="3293" y="14454"/>
                  <a:pt x="0" y="21773"/>
                </a:cubicBezTo>
                <a:cubicBezTo>
                  <a:pt x="3293" y="14454"/>
                  <a:pt x="6709" y="7197"/>
                  <a:pt x="10307" y="0"/>
                </a:cubicBezTo>
                <a:close/>
              </a:path>
            </a:pathLst>
          </a:custGeom>
          <a:solidFill>
            <a:srgbClr val="B7E5FF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27" name="Google Shape;727;p5"/>
          <p:cNvSpPr/>
          <p:nvPr/>
        </p:nvSpPr>
        <p:spPr>
          <a:xfrm>
            <a:off x="7537113" y="3999158"/>
            <a:ext cx="6403" cy="15064"/>
          </a:xfrm>
          <a:custGeom>
            <a:avLst/>
            <a:gdLst/>
            <a:ahLst/>
            <a:cxnLst/>
            <a:rect l="l" t="t" r="r" b="b"/>
            <a:pathLst>
              <a:path w="6403" h="15064" extrusionOk="0">
                <a:moveTo>
                  <a:pt x="6404" y="0"/>
                </a:moveTo>
                <a:cubicBezTo>
                  <a:pt x="4208" y="5001"/>
                  <a:pt x="2074" y="10002"/>
                  <a:pt x="0" y="15064"/>
                </a:cubicBezTo>
                <a:cubicBezTo>
                  <a:pt x="2074" y="10002"/>
                  <a:pt x="4208" y="5001"/>
                  <a:pt x="6404" y="0"/>
                </a:cubicBezTo>
                <a:close/>
              </a:path>
            </a:pathLst>
          </a:custGeom>
          <a:solidFill>
            <a:srgbClr val="B7E5FF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28" name="Google Shape;728;p5"/>
          <p:cNvSpPr/>
          <p:nvPr/>
        </p:nvSpPr>
        <p:spPr>
          <a:xfrm>
            <a:off x="7498446" y="4140774"/>
            <a:ext cx="2439" cy="15491"/>
          </a:xfrm>
          <a:custGeom>
            <a:avLst/>
            <a:gdLst/>
            <a:ahLst/>
            <a:cxnLst/>
            <a:rect l="l" t="t" r="r" b="b"/>
            <a:pathLst>
              <a:path w="2439" h="15491" extrusionOk="0">
                <a:moveTo>
                  <a:pt x="2439" y="0"/>
                </a:moveTo>
                <a:cubicBezTo>
                  <a:pt x="1586" y="5184"/>
                  <a:pt x="732" y="10307"/>
                  <a:pt x="0" y="15491"/>
                </a:cubicBezTo>
                <a:cubicBezTo>
                  <a:pt x="732" y="10307"/>
                  <a:pt x="1586" y="5123"/>
                  <a:pt x="2439" y="0"/>
                </a:cubicBezTo>
                <a:close/>
              </a:path>
            </a:pathLst>
          </a:custGeom>
          <a:solidFill>
            <a:srgbClr val="B7E5FF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29" name="Google Shape;729;p5"/>
          <p:cNvSpPr/>
          <p:nvPr/>
        </p:nvSpPr>
        <p:spPr>
          <a:xfrm>
            <a:off x="7493994" y="4285866"/>
            <a:ext cx="1646" cy="18357"/>
          </a:xfrm>
          <a:custGeom>
            <a:avLst/>
            <a:gdLst/>
            <a:ahLst/>
            <a:cxnLst/>
            <a:rect l="l" t="t" r="r" b="b"/>
            <a:pathLst>
              <a:path w="1646" h="18357" extrusionOk="0">
                <a:moveTo>
                  <a:pt x="0" y="0"/>
                </a:moveTo>
                <a:cubicBezTo>
                  <a:pt x="427" y="6160"/>
                  <a:pt x="976" y="12259"/>
                  <a:pt x="1647" y="18358"/>
                </a:cubicBezTo>
                <a:cubicBezTo>
                  <a:pt x="976" y="12259"/>
                  <a:pt x="488" y="6099"/>
                  <a:pt x="0" y="0"/>
                </a:cubicBezTo>
                <a:close/>
              </a:path>
            </a:pathLst>
          </a:custGeom>
          <a:solidFill>
            <a:srgbClr val="B7E5FF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30" name="Google Shape;730;p5"/>
          <p:cNvSpPr/>
          <p:nvPr/>
        </p:nvSpPr>
        <p:spPr>
          <a:xfrm>
            <a:off x="7495885" y="4306602"/>
            <a:ext cx="2012" cy="16344"/>
          </a:xfrm>
          <a:custGeom>
            <a:avLst/>
            <a:gdLst/>
            <a:ahLst/>
            <a:cxnLst/>
            <a:rect l="l" t="t" r="r" b="b"/>
            <a:pathLst>
              <a:path w="2012" h="16344" extrusionOk="0">
                <a:moveTo>
                  <a:pt x="0" y="0"/>
                </a:moveTo>
                <a:cubicBezTo>
                  <a:pt x="610" y="5428"/>
                  <a:pt x="1281" y="10917"/>
                  <a:pt x="2013" y="16345"/>
                </a:cubicBezTo>
                <a:cubicBezTo>
                  <a:pt x="1281" y="10917"/>
                  <a:pt x="549" y="5489"/>
                  <a:pt x="0" y="0"/>
                </a:cubicBezTo>
                <a:close/>
              </a:path>
            </a:pathLst>
          </a:custGeom>
          <a:solidFill>
            <a:srgbClr val="B7E5FF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31" name="Google Shape;731;p5"/>
          <p:cNvSpPr/>
          <p:nvPr/>
        </p:nvSpPr>
        <p:spPr>
          <a:xfrm>
            <a:off x="7515645" y="4058805"/>
            <a:ext cx="5244" cy="17198"/>
          </a:xfrm>
          <a:custGeom>
            <a:avLst/>
            <a:gdLst/>
            <a:ahLst/>
            <a:cxnLst/>
            <a:rect l="l" t="t" r="r" b="b"/>
            <a:pathLst>
              <a:path w="5244" h="17198" extrusionOk="0">
                <a:moveTo>
                  <a:pt x="5245" y="0"/>
                </a:moveTo>
                <a:cubicBezTo>
                  <a:pt x="3415" y="5733"/>
                  <a:pt x="1646" y="11466"/>
                  <a:pt x="0" y="17199"/>
                </a:cubicBezTo>
                <a:cubicBezTo>
                  <a:pt x="1646" y="11405"/>
                  <a:pt x="3415" y="5672"/>
                  <a:pt x="5245" y="0"/>
                </a:cubicBezTo>
                <a:close/>
              </a:path>
            </a:pathLst>
          </a:custGeom>
          <a:solidFill>
            <a:srgbClr val="B7E5FF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32" name="Google Shape;732;p5"/>
          <p:cNvSpPr/>
          <p:nvPr/>
        </p:nvSpPr>
        <p:spPr>
          <a:xfrm>
            <a:off x="7498629" y="4327704"/>
            <a:ext cx="1463" cy="9453"/>
          </a:xfrm>
          <a:custGeom>
            <a:avLst/>
            <a:gdLst/>
            <a:ahLst/>
            <a:cxnLst/>
            <a:rect l="l" t="t" r="r" b="b"/>
            <a:pathLst>
              <a:path w="1463" h="9453" extrusionOk="0">
                <a:moveTo>
                  <a:pt x="1464" y="9453"/>
                </a:moveTo>
                <a:cubicBezTo>
                  <a:pt x="1464" y="9453"/>
                  <a:pt x="1464" y="9331"/>
                  <a:pt x="1464" y="9270"/>
                </a:cubicBezTo>
                <a:cubicBezTo>
                  <a:pt x="976" y="6160"/>
                  <a:pt x="427" y="3110"/>
                  <a:pt x="0" y="0"/>
                </a:cubicBezTo>
                <a:cubicBezTo>
                  <a:pt x="488" y="3172"/>
                  <a:pt x="976" y="6282"/>
                  <a:pt x="1464" y="9453"/>
                </a:cubicBezTo>
                <a:close/>
              </a:path>
            </a:pathLst>
          </a:custGeom>
          <a:solidFill>
            <a:srgbClr val="B7E5FF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33" name="Google Shape;733;p5"/>
          <p:cNvSpPr/>
          <p:nvPr/>
        </p:nvSpPr>
        <p:spPr>
          <a:xfrm>
            <a:off x="7492287" y="4243783"/>
            <a:ext cx="365" cy="18357"/>
          </a:xfrm>
          <a:custGeom>
            <a:avLst/>
            <a:gdLst/>
            <a:ahLst/>
            <a:cxnLst/>
            <a:rect l="l" t="t" r="r" b="b"/>
            <a:pathLst>
              <a:path w="365" h="18357" extrusionOk="0">
                <a:moveTo>
                  <a:pt x="366" y="18357"/>
                </a:moveTo>
                <a:cubicBezTo>
                  <a:pt x="183" y="12259"/>
                  <a:pt x="61" y="6099"/>
                  <a:pt x="0" y="0"/>
                </a:cubicBezTo>
                <a:cubicBezTo>
                  <a:pt x="0" y="6099"/>
                  <a:pt x="122" y="12259"/>
                  <a:pt x="366" y="18357"/>
                </a:cubicBezTo>
                <a:close/>
              </a:path>
            </a:pathLst>
          </a:custGeom>
          <a:solidFill>
            <a:srgbClr val="B7E5FF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34" name="Google Shape;734;p5"/>
          <p:cNvSpPr/>
          <p:nvPr/>
        </p:nvSpPr>
        <p:spPr>
          <a:xfrm>
            <a:off x="7492348" y="4223962"/>
            <a:ext cx="243" cy="15369"/>
          </a:xfrm>
          <a:custGeom>
            <a:avLst/>
            <a:gdLst/>
            <a:ahLst/>
            <a:cxnLst/>
            <a:rect l="l" t="t" r="r" b="b"/>
            <a:pathLst>
              <a:path w="243" h="15369" extrusionOk="0">
                <a:moveTo>
                  <a:pt x="244" y="0"/>
                </a:moveTo>
                <a:cubicBezTo>
                  <a:pt x="122" y="5123"/>
                  <a:pt x="0" y="10246"/>
                  <a:pt x="0" y="15369"/>
                </a:cubicBezTo>
                <a:cubicBezTo>
                  <a:pt x="0" y="10246"/>
                  <a:pt x="122" y="5123"/>
                  <a:pt x="244" y="0"/>
                </a:cubicBezTo>
                <a:close/>
              </a:path>
            </a:pathLst>
          </a:custGeom>
          <a:solidFill>
            <a:srgbClr val="B7E5FF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35" name="Google Shape;735;p5"/>
          <p:cNvSpPr/>
          <p:nvPr/>
        </p:nvSpPr>
        <p:spPr>
          <a:xfrm>
            <a:off x="7648905" y="3820584"/>
            <a:ext cx="16101" cy="16954"/>
          </a:xfrm>
          <a:custGeom>
            <a:avLst/>
            <a:gdLst/>
            <a:ahLst/>
            <a:cxnLst/>
            <a:rect l="l" t="t" r="r" b="b"/>
            <a:pathLst>
              <a:path w="16101" h="16954" extrusionOk="0">
                <a:moveTo>
                  <a:pt x="0" y="16955"/>
                </a:moveTo>
                <a:cubicBezTo>
                  <a:pt x="5245" y="11222"/>
                  <a:pt x="10612" y="5550"/>
                  <a:pt x="16101" y="0"/>
                </a:cubicBezTo>
                <a:cubicBezTo>
                  <a:pt x="15369" y="732"/>
                  <a:pt x="14576" y="1525"/>
                  <a:pt x="13845" y="2257"/>
                </a:cubicBezTo>
                <a:cubicBezTo>
                  <a:pt x="9148" y="7075"/>
                  <a:pt x="4513" y="12015"/>
                  <a:pt x="0" y="16955"/>
                </a:cubicBezTo>
                <a:close/>
              </a:path>
            </a:pathLst>
          </a:custGeom>
          <a:solidFill>
            <a:srgbClr val="B7E5FF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36" name="Google Shape;736;p5"/>
          <p:cNvSpPr/>
          <p:nvPr/>
        </p:nvSpPr>
        <p:spPr>
          <a:xfrm>
            <a:off x="7492835" y="4265495"/>
            <a:ext cx="853" cy="15674"/>
          </a:xfrm>
          <a:custGeom>
            <a:avLst/>
            <a:gdLst/>
            <a:ahLst/>
            <a:cxnLst/>
            <a:rect l="l" t="t" r="r" b="b"/>
            <a:pathLst>
              <a:path w="853" h="15674" extrusionOk="0">
                <a:moveTo>
                  <a:pt x="0" y="0"/>
                </a:moveTo>
                <a:cubicBezTo>
                  <a:pt x="183" y="5245"/>
                  <a:pt x="488" y="10429"/>
                  <a:pt x="854" y="15674"/>
                </a:cubicBezTo>
                <a:cubicBezTo>
                  <a:pt x="488" y="10490"/>
                  <a:pt x="244" y="5245"/>
                  <a:pt x="0" y="0"/>
                </a:cubicBezTo>
                <a:close/>
              </a:path>
            </a:pathLst>
          </a:custGeom>
          <a:solidFill>
            <a:srgbClr val="B7E5FF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37" name="Google Shape;737;p5"/>
          <p:cNvSpPr/>
          <p:nvPr/>
        </p:nvSpPr>
        <p:spPr>
          <a:xfrm>
            <a:off x="7501679" y="4117964"/>
            <a:ext cx="3537" cy="18174"/>
          </a:xfrm>
          <a:custGeom>
            <a:avLst/>
            <a:gdLst/>
            <a:ahLst/>
            <a:cxnLst/>
            <a:rect l="l" t="t" r="r" b="b"/>
            <a:pathLst>
              <a:path w="3537" h="18174" extrusionOk="0">
                <a:moveTo>
                  <a:pt x="3537" y="0"/>
                </a:moveTo>
                <a:cubicBezTo>
                  <a:pt x="2257" y="6038"/>
                  <a:pt x="1098" y="12076"/>
                  <a:pt x="0" y="18175"/>
                </a:cubicBezTo>
                <a:cubicBezTo>
                  <a:pt x="1098" y="12137"/>
                  <a:pt x="2257" y="6038"/>
                  <a:pt x="3537" y="0"/>
                </a:cubicBezTo>
                <a:close/>
              </a:path>
            </a:pathLst>
          </a:custGeom>
          <a:solidFill>
            <a:srgbClr val="B7E5FF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38" name="Google Shape;738;p5"/>
          <p:cNvSpPr/>
          <p:nvPr/>
        </p:nvSpPr>
        <p:spPr>
          <a:xfrm>
            <a:off x="7510583" y="4076797"/>
            <a:ext cx="4817" cy="18052"/>
          </a:xfrm>
          <a:custGeom>
            <a:avLst/>
            <a:gdLst/>
            <a:ahLst/>
            <a:cxnLst/>
            <a:rect l="l" t="t" r="r" b="b"/>
            <a:pathLst>
              <a:path w="4817" h="18052" extrusionOk="0">
                <a:moveTo>
                  <a:pt x="4818" y="0"/>
                </a:moveTo>
                <a:cubicBezTo>
                  <a:pt x="3110" y="5977"/>
                  <a:pt x="1525" y="12015"/>
                  <a:pt x="0" y="18053"/>
                </a:cubicBezTo>
                <a:cubicBezTo>
                  <a:pt x="1525" y="12015"/>
                  <a:pt x="3110" y="5977"/>
                  <a:pt x="4818" y="0"/>
                </a:cubicBezTo>
                <a:close/>
              </a:path>
            </a:pathLst>
          </a:custGeom>
          <a:solidFill>
            <a:srgbClr val="B7E5FF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39" name="Google Shape;739;p5"/>
          <p:cNvSpPr/>
          <p:nvPr/>
        </p:nvSpPr>
        <p:spPr>
          <a:xfrm>
            <a:off x="7492652" y="4201640"/>
            <a:ext cx="975" cy="18357"/>
          </a:xfrm>
          <a:custGeom>
            <a:avLst/>
            <a:gdLst/>
            <a:ahLst/>
            <a:cxnLst/>
            <a:rect l="l" t="t" r="r" b="b"/>
            <a:pathLst>
              <a:path w="975" h="18357" extrusionOk="0">
                <a:moveTo>
                  <a:pt x="976" y="0"/>
                </a:moveTo>
                <a:cubicBezTo>
                  <a:pt x="549" y="6099"/>
                  <a:pt x="244" y="12198"/>
                  <a:pt x="0" y="18358"/>
                </a:cubicBezTo>
                <a:cubicBezTo>
                  <a:pt x="244" y="12259"/>
                  <a:pt x="549" y="6099"/>
                  <a:pt x="976" y="0"/>
                </a:cubicBezTo>
                <a:close/>
              </a:path>
            </a:pathLst>
          </a:custGeom>
          <a:solidFill>
            <a:srgbClr val="B7E5FF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40" name="Google Shape;740;p5"/>
          <p:cNvSpPr/>
          <p:nvPr/>
        </p:nvSpPr>
        <p:spPr>
          <a:xfrm>
            <a:off x="7505704" y="4099546"/>
            <a:ext cx="3720" cy="16100"/>
          </a:xfrm>
          <a:custGeom>
            <a:avLst/>
            <a:gdLst/>
            <a:ahLst/>
            <a:cxnLst/>
            <a:rect l="l" t="t" r="r" b="b"/>
            <a:pathLst>
              <a:path w="3720" h="16100" extrusionOk="0">
                <a:moveTo>
                  <a:pt x="3720" y="0"/>
                </a:moveTo>
                <a:cubicBezTo>
                  <a:pt x="2439" y="5367"/>
                  <a:pt x="1159" y="10734"/>
                  <a:pt x="0" y="16101"/>
                </a:cubicBezTo>
                <a:cubicBezTo>
                  <a:pt x="1159" y="10734"/>
                  <a:pt x="2378" y="5367"/>
                  <a:pt x="3720" y="0"/>
                </a:cubicBezTo>
                <a:close/>
              </a:path>
            </a:pathLst>
          </a:custGeom>
          <a:solidFill>
            <a:srgbClr val="B7E5FF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41" name="Google Shape;741;p5"/>
          <p:cNvSpPr/>
          <p:nvPr/>
        </p:nvSpPr>
        <p:spPr>
          <a:xfrm>
            <a:off x="7493933" y="4182307"/>
            <a:ext cx="1341" cy="15308"/>
          </a:xfrm>
          <a:custGeom>
            <a:avLst/>
            <a:gdLst/>
            <a:ahLst/>
            <a:cxnLst/>
            <a:rect l="l" t="t" r="r" b="b"/>
            <a:pathLst>
              <a:path w="1341" h="15308" extrusionOk="0">
                <a:moveTo>
                  <a:pt x="1342" y="0"/>
                </a:moveTo>
                <a:cubicBezTo>
                  <a:pt x="854" y="5123"/>
                  <a:pt x="366" y="10246"/>
                  <a:pt x="0" y="15308"/>
                </a:cubicBezTo>
                <a:cubicBezTo>
                  <a:pt x="366" y="10185"/>
                  <a:pt x="793" y="5062"/>
                  <a:pt x="1342" y="0"/>
                </a:cubicBezTo>
                <a:close/>
              </a:path>
            </a:pathLst>
          </a:custGeom>
          <a:solidFill>
            <a:srgbClr val="B7E5FF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42" name="Google Shape;742;p5"/>
          <p:cNvSpPr/>
          <p:nvPr/>
        </p:nvSpPr>
        <p:spPr>
          <a:xfrm>
            <a:off x="7495702" y="4159619"/>
            <a:ext cx="2256" cy="18296"/>
          </a:xfrm>
          <a:custGeom>
            <a:avLst/>
            <a:gdLst/>
            <a:ahLst/>
            <a:cxnLst/>
            <a:rect l="l" t="t" r="r" b="b"/>
            <a:pathLst>
              <a:path w="2256" h="18296" extrusionOk="0">
                <a:moveTo>
                  <a:pt x="2257" y="0"/>
                </a:moveTo>
                <a:cubicBezTo>
                  <a:pt x="1403" y="6099"/>
                  <a:pt x="671" y="12198"/>
                  <a:pt x="0" y="18297"/>
                </a:cubicBezTo>
                <a:cubicBezTo>
                  <a:pt x="671" y="12198"/>
                  <a:pt x="1403" y="6099"/>
                  <a:pt x="2257" y="0"/>
                </a:cubicBezTo>
                <a:close/>
              </a:path>
            </a:pathLst>
          </a:custGeom>
          <a:solidFill>
            <a:srgbClr val="B7E5FF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43" name="Google Shape;743;p5"/>
          <p:cNvSpPr/>
          <p:nvPr/>
        </p:nvSpPr>
        <p:spPr>
          <a:xfrm>
            <a:off x="5710792" y="3617028"/>
            <a:ext cx="2006175" cy="1933435"/>
          </a:xfrm>
          <a:custGeom>
            <a:avLst/>
            <a:gdLst/>
            <a:ahLst/>
            <a:cxnLst/>
            <a:rect l="l" t="t" r="r" b="b"/>
            <a:pathLst>
              <a:path w="2006175" h="1933435" extrusionOk="0">
                <a:moveTo>
                  <a:pt x="2006054" y="1298911"/>
                </a:moveTo>
                <a:cubicBezTo>
                  <a:pt x="2003736" y="1204378"/>
                  <a:pt x="1980317" y="1115091"/>
                  <a:pt x="1940187" y="1035623"/>
                </a:cubicBezTo>
                <a:cubicBezTo>
                  <a:pt x="1936832" y="1028975"/>
                  <a:pt x="1933355" y="1022389"/>
                  <a:pt x="1929757" y="1015924"/>
                </a:cubicBezTo>
                <a:lnTo>
                  <a:pt x="1930001" y="1015375"/>
                </a:lnTo>
                <a:cubicBezTo>
                  <a:pt x="1925549" y="1010435"/>
                  <a:pt x="1921280" y="1005373"/>
                  <a:pt x="1917072" y="1000311"/>
                </a:cubicBezTo>
                <a:cubicBezTo>
                  <a:pt x="1915974" y="998969"/>
                  <a:pt x="1914876" y="997688"/>
                  <a:pt x="1913778" y="996347"/>
                </a:cubicBezTo>
                <a:cubicBezTo>
                  <a:pt x="1909997" y="991711"/>
                  <a:pt x="1906277" y="987076"/>
                  <a:pt x="1902678" y="982380"/>
                </a:cubicBezTo>
                <a:cubicBezTo>
                  <a:pt x="1902251" y="981831"/>
                  <a:pt x="1901824" y="981343"/>
                  <a:pt x="1901459" y="980794"/>
                </a:cubicBezTo>
                <a:cubicBezTo>
                  <a:pt x="1897495" y="975610"/>
                  <a:pt x="1893713" y="970426"/>
                  <a:pt x="1889932" y="965120"/>
                </a:cubicBezTo>
                <a:cubicBezTo>
                  <a:pt x="1888956" y="963778"/>
                  <a:pt x="1888041" y="962437"/>
                  <a:pt x="1887065" y="961034"/>
                </a:cubicBezTo>
                <a:cubicBezTo>
                  <a:pt x="1883894" y="956521"/>
                  <a:pt x="1880783" y="951947"/>
                  <a:pt x="1877734" y="947312"/>
                </a:cubicBezTo>
                <a:cubicBezTo>
                  <a:pt x="1877124" y="946397"/>
                  <a:pt x="1876514" y="945543"/>
                  <a:pt x="1875965" y="944628"/>
                </a:cubicBezTo>
                <a:cubicBezTo>
                  <a:pt x="1872489" y="939261"/>
                  <a:pt x="1869135" y="933894"/>
                  <a:pt x="1865841" y="928466"/>
                </a:cubicBezTo>
                <a:cubicBezTo>
                  <a:pt x="1865049" y="927124"/>
                  <a:pt x="1864256" y="925783"/>
                  <a:pt x="1863463" y="924441"/>
                </a:cubicBezTo>
                <a:cubicBezTo>
                  <a:pt x="1860718" y="919867"/>
                  <a:pt x="1858096" y="915293"/>
                  <a:pt x="1855534" y="910657"/>
                </a:cubicBezTo>
                <a:cubicBezTo>
                  <a:pt x="1854924" y="909499"/>
                  <a:pt x="1854253" y="908401"/>
                  <a:pt x="1853583" y="907242"/>
                </a:cubicBezTo>
                <a:cubicBezTo>
                  <a:pt x="1850533" y="901692"/>
                  <a:pt x="1847606" y="896142"/>
                  <a:pt x="1844800" y="890531"/>
                </a:cubicBezTo>
                <a:cubicBezTo>
                  <a:pt x="1844130" y="889250"/>
                  <a:pt x="1843519" y="887970"/>
                  <a:pt x="1842910" y="886689"/>
                </a:cubicBezTo>
                <a:cubicBezTo>
                  <a:pt x="1840592" y="881993"/>
                  <a:pt x="1838336" y="877297"/>
                  <a:pt x="1836140" y="872601"/>
                </a:cubicBezTo>
                <a:cubicBezTo>
                  <a:pt x="1835530" y="871259"/>
                  <a:pt x="1834859" y="869917"/>
                  <a:pt x="1834249" y="868575"/>
                </a:cubicBezTo>
                <a:cubicBezTo>
                  <a:pt x="1831688" y="862904"/>
                  <a:pt x="1829187" y="857171"/>
                  <a:pt x="1826748" y="851438"/>
                </a:cubicBezTo>
                <a:cubicBezTo>
                  <a:pt x="1826260" y="850279"/>
                  <a:pt x="1825833" y="849181"/>
                  <a:pt x="1825345" y="848022"/>
                </a:cubicBezTo>
                <a:cubicBezTo>
                  <a:pt x="1823332" y="843143"/>
                  <a:pt x="1821442" y="838264"/>
                  <a:pt x="1819551" y="833324"/>
                </a:cubicBezTo>
                <a:cubicBezTo>
                  <a:pt x="1819002" y="831860"/>
                  <a:pt x="1818453" y="830397"/>
                  <a:pt x="1817904" y="828933"/>
                </a:cubicBezTo>
                <a:cubicBezTo>
                  <a:pt x="1815770" y="823078"/>
                  <a:pt x="1813696" y="817223"/>
                  <a:pt x="1811684" y="811368"/>
                </a:cubicBezTo>
                <a:cubicBezTo>
                  <a:pt x="1811378" y="810514"/>
                  <a:pt x="1811135" y="809599"/>
                  <a:pt x="1810830" y="808746"/>
                </a:cubicBezTo>
                <a:cubicBezTo>
                  <a:pt x="1809122" y="803562"/>
                  <a:pt x="1807536" y="798378"/>
                  <a:pt x="1805951" y="793193"/>
                </a:cubicBezTo>
                <a:cubicBezTo>
                  <a:pt x="1805463" y="791669"/>
                  <a:pt x="1805036" y="790083"/>
                  <a:pt x="1804609" y="788558"/>
                </a:cubicBezTo>
                <a:cubicBezTo>
                  <a:pt x="1802901" y="782581"/>
                  <a:pt x="1801254" y="776605"/>
                  <a:pt x="1799730" y="770628"/>
                </a:cubicBezTo>
                <a:cubicBezTo>
                  <a:pt x="1799608" y="770140"/>
                  <a:pt x="1799486" y="769652"/>
                  <a:pt x="1799364" y="769225"/>
                </a:cubicBezTo>
                <a:cubicBezTo>
                  <a:pt x="1797961" y="763614"/>
                  <a:pt x="1796619" y="758003"/>
                  <a:pt x="1795399" y="752331"/>
                </a:cubicBezTo>
                <a:cubicBezTo>
                  <a:pt x="1795033" y="750745"/>
                  <a:pt x="1794729" y="749160"/>
                  <a:pt x="1794363" y="747574"/>
                </a:cubicBezTo>
                <a:cubicBezTo>
                  <a:pt x="1793143" y="741719"/>
                  <a:pt x="1791923" y="735864"/>
                  <a:pt x="1790886" y="729948"/>
                </a:cubicBezTo>
                <a:cubicBezTo>
                  <a:pt x="1790886" y="729705"/>
                  <a:pt x="1790765" y="729461"/>
                  <a:pt x="1790765" y="729217"/>
                </a:cubicBezTo>
                <a:cubicBezTo>
                  <a:pt x="1790215" y="726228"/>
                  <a:pt x="1789789" y="723301"/>
                  <a:pt x="1789301" y="720312"/>
                </a:cubicBezTo>
                <a:cubicBezTo>
                  <a:pt x="1788813" y="717141"/>
                  <a:pt x="1788325" y="714030"/>
                  <a:pt x="1787837" y="710859"/>
                </a:cubicBezTo>
                <a:cubicBezTo>
                  <a:pt x="1787593" y="709273"/>
                  <a:pt x="1787349" y="707626"/>
                  <a:pt x="1787166" y="706041"/>
                </a:cubicBezTo>
                <a:cubicBezTo>
                  <a:pt x="1786434" y="700613"/>
                  <a:pt x="1785702" y="695185"/>
                  <a:pt x="1785153" y="689696"/>
                </a:cubicBezTo>
                <a:cubicBezTo>
                  <a:pt x="1785092" y="688903"/>
                  <a:pt x="1784971" y="688110"/>
                  <a:pt x="1784910" y="687317"/>
                </a:cubicBezTo>
                <a:cubicBezTo>
                  <a:pt x="1784239" y="681219"/>
                  <a:pt x="1783751" y="675059"/>
                  <a:pt x="1783263" y="668960"/>
                </a:cubicBezTo>
                <a:cubicBezTo>
                  <a:pt x="1783141" y="667374"/>
                  <a:pt x="1783019" y="665849"/>
                  <a:pt x="1782958" y="664264"/>
                </a:cubicBezTo>
                <a:cubicBezTo>
                  <a:pt x="1782592" y="659080"/>
                  <a:pt x="1782348" y="653835"/>
                  <a:pt x="1782104" y="648590"/>
                </a:cubicBezTo>
                <a:cubicBezTo>
                  <a:pt x="1782104" y="647492"/>
                  <a:pt x="1781982" y="646333"/>
                  <a:pt x="1781982" y="645235"/>
                </a:cubicBezTo>
                <a:cubicBezTo>
                  <a:pt x="1781799" y="639136"/>
                  <a:pt x="1781677" y="632977"/>
                  <a:pt x="1781616" y="626878"/>
                </a:cubicBezTo>
                <a:cubicBezTo>
                  <a:pt x="1781616" y="625414"/>
                  <a:pt x="1781616" y="623950"/>
                  <a:pt x="1781616" y="622425"/>
                </a:cubicBezTo>
                <a:cubicBezTo>
                  <a:pt x="1781616" y="617302"/>
                  <a:pt x="1781738" y="612179"/>
                  <a:pt x="1781860" y="607056"/>
                </a:cubicBezTo>
                <a:cubicBezTo>
                  <a:pt x="1781860" y="605715"/>
                  <a:pt x="1781921" y="604373"/>
                  <a:pt x="1781982" y="603031"/>
                </a:cubicBezTo>
                <a:cubicBezTo>
                  <a:pt x="1782226" y="596932"/>
                  <a:pt x="1782531" y="590773"/>
                  <a:pt x="1782958" y="584674"/>
                </a:cubicBezTo>
                <a:cubicBezTo>
                  <a:pt x="1783019" y="583332"/>
                  <a:pt x="1783141" y="582051"/>
                  <a:pt x="1783263" y="580709"/>
                </a:cubicBezTo>
                <a:cubicBezTo>
                  <a:pt x="1783629" y="575586"/>
                  <a:pt x="1784056" y="570463"/>
                  <a:pt x="1784605" y="565401"/>
                </a:cubicBezTo>
                <a:cubicBezTo>
                  <a:pt x="1784726" y="563937"/>
                  <a:pt x="1784910" y="562474"/>
                  <a:pt x="1785032" y="561010"/>
                </a:cubicBezTo>
                <a:cubicBezTo>
                  <a:pt x="1785702" y="554911"/>
                  <a:pt x="1786434" y="548812"/>
                  <a:pt x="1787288" y="542714"/>
                </a:cubicBezTo>
                <a:cubicBezTo>
                  <a:pt x="1787471" y="541616"/>
                  <a:pt x="1787593" y="540518"/>
                  <a:pt x="1787776" y="539359"/>
                </a:cubicBezTo>
                <a:cubicBezTo>
                  <a:pt x="1788508" y="534175"/>
                  <a:pt x="1789362" y="528991"/>
                  <a:pt x="1790215" y="523868"/>
                </a:cubicBezTo>
                <a:cubicBezTo>
                  <a:pt x="1790459" y="522343"/>
                  <a:pt x="1790765" y="520758"/>
                  <a:pt x="1791008" y="519233"/>
                </a:cubicBezTo>
                <a:cubicBezTo>
                  <a:pt x="1792106" y="513195"/>
                  <a:pt x="1793265" y="507096"/>
                  <a:pt x="1794546" y="501058"/>
                </a:cubicBezTo>
                <a:cubicBezTo>
                  <a:pt x="1794729" y="500265"/>
                  <a:pt x="1794912" y="499473"/>
                  <a:pt x="1795094" y="498741"/>
                </a:cubicBezTo>
                <a:cubicBezTo>
                  <a:pt x="1796253" y="493374"/>
                  <a:pt x="1797473" y="488007"/>
                  <a:pt x="1798815" y="482640"/>
                </a:cubicBezTo>
                <a:cubicBezTo>
                  <a:pt x="1799181" y="481054"/>
                  <a:pt x="1799608" y="479468"/>
                  <a:pt x="1799974" y="477944"/>
                </a:cubicBezTo>
                <a:cubicBezTo>
                  <a:pt x="1801498" y="471906"/>
                  <a:pt x="1803084" y="465868"/>
                  <a:pt x="1804792" y="459891"/>
                </a:cubicBezTo>
                <a:cubicBezTo>
                  <a:pt x="1804853" y="459647"/>
                  <a:pt x="1804914" y="459403"/>
                  <a:pt x="1805036" y="459159"/>
                </a:cubicBezTo>
                <a:cubicBezTo>
                  <a:pt x="1806682" y="453365"/>
                  <a:pt x="1808451" y="447632"/>
                  <a:pt x="1810281" y="441960"/>
                </a:cubicBezTo>
                <a:cubicBezTo>
                  <a:pt x="1810769" y="440375"/>
                  <a:pt x="1811318" y="438850"/>
                  <a:pt x="1811805" y="437264"/>
                </a:cubicBezTo>
                <a:cubicBezTo>
                  <a:pt x="1813635" y="431714"/>
                  <a:pt x="1815526" y="426225"/>
                  <a:pt x="1817477" y="420736"/>
                </a:cubicBezTo>
                <a:cubicBezTo>
                  <a:pt x="1817660" y="420309"/>
                  <a:pt x="1817782" y="419882"/>
                  <a:pt x="1817965" y="419456"/>
                </a:cubicBezTo>
                <a:cubicBezTo>
                  <a:pt x="1820100" y="413601"/>
                  <a:pt x="1822357" y="407746"/>
                  <a:pt x="1824674" y="401952"/>
                </a:cubicBezTo>
                <a:cubicBezTo>
                  <a:pt x="1825284" y="400427"/>
                  <a:pt x="1825894" y="398963"/>
                  <a:pt x="1826504" y="397439"/>
                </a:cubicBezTo>
                <a:cubicBezTo>
                  <a:pt x="1828577" y="392377"/>
                  <a:pt x="1830712" y="387376"/>
                  <a:pt x="1832907" y="382375"/>
                </a:cubicBezTo>
                <a:cubicBezTo>
                  <a:pt x="1833212" y="381704"/>
                  <a:pt x="1833457" y="381033"/>
                  <a:pt x="1833761" y="380423"/>
                </a:cubicBezTo>
                <a:cubicBezTo>
                  <a:pt x="1833822" y="380240"/>
                  <a:pt x="1833944" y="380057"/>
                  <a:pt x="1834005" y="379935"/>
                </a:cubicBezTo>
                <a:cubicBezTo>
                  <a:pt x="1837298" y="372616"/>
                  <a:pt x="1840714" y="365359"/>
                  <a:pt x="1844312" y="358162"/>
                </a:cubicBezTo>
                <a:cubicBezTo>
                  <a:pt x="1844800" y="357186"/>
                  <a:pt x="1845288" y="356150"/>
                  <a:pt x="1845776" y="355174"/>
                </a:cubicBezTo>
                <a:cubicBezTo>
                  <a:pt x="1849313" y="348160"/>
                  <a:pt x="1852973" y="341268"/>
                  <a:pt x="1856754" y="334377"/>
                </a:cubicBezTo>
                <a:cubicBezTo>
                  <a:pt x="1857364" y="333218"/>
                  <a:pt x="1858035" y="332120"/>
                  <a:pt x="1858644" y="330961"/>
                </a:cubicBezTo>
                <a:cubicBezTo>
                  <a:pt x="1862487" y="324191"/>
                  <a:pt x="1866451" y="317422"/>
                  <a:pt x="1870537" y="310774"/>
                </a:cubicBezTo>
                <a:cubicBezTo>
                  <a:pt x="1871208" y="309676"/>
                  <a:pt x="1871879" y="308578"/>
                  <a:pt x="1872611" y="307481"/>
                </a:cubicBezTo>
                <a:cubicBezTo>
                  <a:pt x="1876819" y="300772"/>
                  <a:pt x="1881149" y="294063"/>
                  <a:pt x="1885602" y="287476"/>
                </a:cubicBezTo>
                <a:cubicBezTo>
                  <a:pt x="1886211" y="286562"/>
                  <a:pt x="1886822" y="285708"/>
                  <a:pt x="1887431" y="284793"/>
                </a:cubicBezTo>
                <a:cubicBezTo>
                  <a:pt x="1892127" y="277962"/>
                  <a:pt x="1896945" y="271253"/>
                  <a:pt x="1901886" y="264606"/>
                </a:cubicBezTo>
                <a:cubicBezTo>
                  <a:pt x="1902190" y="264179"/>
                  <a:pt x="1902556" y="263752"/>
                  <a:pt x="1902861" y="263325"/>
                </a:cubicBezTo>
                <a:cubicBezTo>
                  <a:pt x="1907923" y="256616"/>
                  <a:pt x="1913168" y="249968"/>
                  <a:pt x="1918535" y="243443"/>
                </a:cubicBezTo>
                <a:cubicBezTo>
                  <a:pt x="1918841" y="243077"/>
                  <a:pt x="1919145" y="242711"/>
                  <a:pt x="1919450" y="242284"/>
                </a:cubicBezTo>
                <a:cubicBezTo>
                  <a:pt x="1924817" y="235819"/>
                  <a:pt x="1930367" y="229476"/>
                  <a:pt x="1935978" y="223194"/>
                </a:cubicBezTo>
                <a:cubicBezTo>
                  <a:pt x="1936710" y="222401"/>
                  <a:pt x="1937442" y="221609"/>
                  <a:pt x="1938113" y="220755"/>
                </a:cubicBezTo>
                <a:cubicBezTo>
                  <a:pt x="1942626" y="215815"/>
                  <a:pt x="1947261" y="210875"/>
                  <a:pt x="1951957" y="206057"/>
                </a:cubicBezTo>
                <a:cubicBezTo>
                  <a:pt x="1951591" y="206422"/>
                  <a:pt x="1951225" y="206788"/>
                  <a:pt x="1950798" y="207154"/>
                </a:cubicBezTo>
                <a:lnTo>
                  <a:pt x="1942199" y="207459"/>
                </a:lnTo>
                <a:lnTo>
                  <a:pt x="594352" y="207459"/>
                </a:lnTo>
                <a:lnTo>
                  <a:pt x="594352" y="98"/>
                </a:lnTo>
                <a:lnTo>
                  <a:pt x="219272" y="98"/>
                </a:lnTo>
                <a:cubicBezTo>
                  <a:pt x="119007" y="-2158"/>
                  <a:pt x="63507" y="34740"/>
                  <a:pt x="33440" y="82433"/>
                </a:cubicBezTo>
                <a:cubicBezTo>
                  <a:pt x="33074" y="83043"/>
                  <a:pt x="32708" y="83652"/>
                  <a:pt x="32281" y="84262"/>
                </a:cubicBezTo>
                <a:cubicBezTo>
                  <a:pt x="-18400" y="166902"/>
                  <a:pt x="5751" y="280646"/>
                  <a:pt x="5751" y="280646"/>
                </a:cubicBezTo>
                <a:lnTo>
                  <a:pt x="5751" y="1927337"/>
                </a:lnTo>
                <a:cubicBezTo>
                  <a:pt x="5751" y="1927337"/>
                  <a:pt x="5629" y="1933314"/>
                  <a:pt x="5629" y="1933436"/>
                </a:cubicBezTo>
                <a:lnTo>
                  <a:pt x="1387142" y="1933436"/>
                </a:lnTo>
                <a:cubicBezTo>
                  <a:pt x="1729044" y="1933436"/>
                  <a:pt x="2006176" y="1656304"/>
                  <a:pt x="2006176" y="1314402"/>
                </a:cubicBezTo>
                <a:cubicBezTo>
                  <a:pt x="2006176" y="1309279"/>
                  <a:pt x="2006054" y="1304217"/>
                  <a:pt x="2005932" y="1299155"/>
                </a:cubicBezTo>
                <a:close/>
              </a:path>
            </a:pathLst>
          </a:custGeom>
          <a:solidFill>
            <a:srgbClr val="0C3CD6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44" name="Google Shape;744;p5"/>
          <p:cNvSpPr/>
          <p:nvPr/>
        </p:nvSpPr>
        <p:spPr>
          <a:xfrm>
            <a:off x="3167405" y="4931186"/>
            <a:ext cx="1225199" cy="625132"/>
          </a:xfrm>
          <a:custGeom>
            <a:avLst/>
            <a:gdLst/>
            <a:ahLst/>
            <a:cxnLst/>
            <a:rect l="l" t="t" r="r" b="b"/>
            <a:pathLst>
              <a:path w="1225199" h="625132" extrusionOk="0">
                <a:moveTo>
                  <a:pt x="626657" y="625133"/>
                </a:moveTo>
                <a:lnTo>
                  <a:pt x="1225199" y="625133"/>
                </a:lnTo>
                <a:lnTo>
                  <a:pt x="1225199" y="624523"/>
                </a:lnTo>
                <a:cubicBezTo>
                  <a:pt x="1225199" y="624523"/>
                  <a:pt x="1082547" y="624523"/>
                  <a:pt x="1082547" y="624523"/>
                </a:cubicBezTo>
                <a:lnTo>
                  <a:pt x="1082547" y="619034"/>
                </a:lnTo>
                <a:lnTo>
                  <a:pt x="619034" y="619034"/>
                </a:lnTo>
                <a:cubicBezTo>
                  <a:pt x="277132" y="619034"/>
                  <a:pt x="0" y="341902"/>
                  <a:pt x="0" y="0"/>
                </a:cubicBezTo>
                <a:lnTo>
                  <a:pt x="0" y="80200"/>
                </a:lnTo>
                <a:cubicBezTo>
                  <a:pt x="42753" y="388131"/>
                  <a:pt x="307016" y="625133"/>
                  <a:pt x="626719" y="625133"/>
                </a:cubicBezTo>
                <a:close/>
              </a:path>
            </a:pathLst>
          </a:custGeom>
          <a:solidFill>
            <a:srgbClr val="8400ED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45" name="Google Shape;745;p5"/>
          <p:cNvSpPr/>
          <p:nvPr/>
        </p:nvSpPr>
        <p:spPr>
          <a:xfrm>
            <a:off x="3167344" y="4896788"/>
            <a:ext cx="1036" cy="34397"/>
          </a:xfrm>
          <a:custGeom>
            <a:avLst/>
            <a:gdLst/>
            <a:ahLst/>
            <a:cxnLst/>
            <a:rect l="l" t="t" r="r" b="b"/>
            <a:pathLst>
              <a:path w="1036" h="34397" extrusionOk="0">
                <a:moveTo>
                  <a:pt x="0" y="0"/>
                </a:moveTo>
                <a:lnTo>
                  <a:pt x="0" y="34398"/>
                </a:lnTo>
                <a:cubicBezTo>
                  <a:pt x="0" y="22871"/>
                  <a:pt x="427" y="11405"/>
                  <a:pt x="1037" y="0"/>
                </a:cubicBezTo>
                <a:lnTo>
                  <a:pt x="0" y="0"/>
                </a:lnTo>
                <a:close/>
              </a:path>
            </a:pathLst>
          </a:custGeom>
          <a:solidFill>
            <a:srgbClr val="8400ED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46" name="Google Shape;746;p5"/>
          <p:cNvSpPr/>
          <p:nvPr/>
        </p:nvSpPr>
        <p:spPr>
          <a:xfrm>
            <a:off x="3161245" y="4205422"/>
            <a:ext cx="1239916" cy="1344797"/>
          </a:xfrm>
          <a:custGeom>
            <a:avLst/>
            <a:gdLst/>
            <a:ahLst/>
            <a:cxnLst/>
            <a:rect l="l" t="t" r="r" b="b"/>
            <a:pathLst>
              <a:path w="1239916" h="1344797" extrusionOk="0">
                <a:moveTo>
                  <a:pt x="1182202" y="5062"/>
                </a:moveTo>
                <a:cubicBezTo>
                  <a:pt x="1174640" y="3110"/>
                  <a:pt x="1166101" y="1708"/>
                  <a:pt x="1156465" y="1098"/>
                </a:cubicBezTo>
                <a:lnTo>
                  <a:pt x="165157" y="1098"/>
                </a:lnTo>
                <a:lnTo>
                  <a:pt x="162169" y="0"/>
                </a:lnTo>
                <a:cubicBezTo>
                  <a:pt x="162413" y="1647"/>
                  <a:pt x="162535" y="3293"/>
                  <a:pt x="162778" y="4940"/>
                </a:cubicBezTo>
                <a:lnTo>
                  <a:pt x="161864" y="4940"/>
                </a:lnTo>
                <a:cubicBezTo>
                  <a:pt x="163205" y="12747"/>
                  <a:pt x="164425" y="20614"/>
                  <a:pt x="165462" y="28482"/>
                </a:cubicBezTo>
                <a:cubicBezTo>
                  <a:pt x="167292" y="48242"/>
                  <a:pt x="168328" y="68185"/>
                  <a:pt x="168328" y="88433"/>
                </a:cubicBezTo>
                <a:cubicBezTo>
                  <a:pt x="168328" y="108682"/>
                  <a:pt x="167414" y="127161"/>
                  <a:pt x="165645" y="146190"/>
                </a:cubicBezTo>
                <a:cubicBezTo>
                  <a:pt x="157351" y="238038"/>
                  <a:pt x="129418" y="324276"/>
                  <a:pt x="86116" y="400573"/>
                </a:cubicBezTo>
                <a:lnTo>
                  <a:pt x="85262" y="400695"/>
                </a:lnTo>
                <a:cubicBezTo>
                  <a:pt x="31043" y="494007"/>
                  <a:pt x="0" y="602445"/>
                  <a:pt x="0" y="718079"/>
                </a:cubicBezTo>
                <a:cubicBezTo>
                  <a:pt x="0" y="747903"/>
                  <a:pt x="2135" y="777238"/>
                  <a:pt x="6099" y="805903"/>
                </a:cubicBezTo>
                <a:lnTo>
                  <a:pt x="6099" y="691366"/>
                </a:lnTo>
                <a:lnTo>
                  <a:pt x="7136" y="691366"/>
                </a:lnTo>
                <a:cubicBezTo>
                  <a:pt x="6526" y="702771"/>
                  <a:pt x="6099" y="714237"/>
                  <a:pt x="6099" y="725764"/>
                </a:cubicBezTo>
                <a:cubicBezTo>
                  <a:pt x="6099" y="1067666"/>
                  <a:pt x="283231" y="1344798"/>
                  <a:pt x="625133" y="1344798"/>
                </a:cubicBezTo>
                <a:lnTo>
                  <a:pt x="1088646" y="1344798"/>
                </a:lnTo>
                <a:lnTo>
                  <a:pt x="1088646" y="582075"/>
                </a:lnTo>
                <a:cubicBezTo>
                  <a:pt x="1092427" y="455219"/>
                  <a:pt x="1158539" y="457170"/>
                  <a:pt x="1158539" y="457170"/>
                </a:cubicBezTo>
                <a:cubicBezTo>
                  <a:pt x="1232213" y="457170"/>
                  <a:pt x="1221113" y="352758"/>
                  <a:pt x="1221113" y="352758"/>
                </a:cubicBezTo>
                <a:lnTo>
                  <a:pt x="1221113" y="296709"/>
                </a:lnTo>
                <a:lnTo>
                  <a:pt x="1238617" y="296709"/>
                </a:lnTo>
                <a:lnTo>
                  <a:pt x="1238739" y="280791"/>
                </a:lnTo>
                <a:lnTo>
                  <a:pt x="1238739" y="94532"/>
                </a:lnTo>
                <a:cubicBezTo>
                  <a:pt x="1238739" y="94532"/>
                  <a:pt x="1253010" y="23298"/>
                  <a:pt x="1182202" y="4940"/>
                </a:cubicBezTo>
                <a:close/>
              </a:path>
            </a:pathLst>
          </a:custGeom>
          <a:solidFill>
            <a:srgbClr val="3E69F4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47" name="Google Shape;747;p5"/>
          <p:cNvSpPr/>
          <p:nvPr/>
        </p:nvSpPr>
        <p:spPr>
          <a:xfrm>
            <a:off x="4249891" y="5550220"/>
            <a:ext cx="142713" cy="5488"/>
          </a:xfrm>
          <a:custGeom>
            <a:avLst/>
            <a:gdLst/>
            <a:ahLst/>
            <a:cxnLst/>
            <a:rect l="l" t="t" r="r" b="b"/>
            <a:pathLst>
              <a:path w="142713" h="5488" extrusionOk="0">
                <a:moveTo>
                  <a:pt x="0" y="0"/>
                </a:moveTo>
                <a:lnTo>
                  <a:pt x="142713" y="0"/>
                </a:lnTo>
                <a:lnTo>
                  <a:pt x="142713" y="5489"/>
                </a:lnTo>
                <a:lnTo>
                  <a:pt x="0" y="5489"/>
                </a:lnTo>
                <a:close/>
              </a:path>
            </a:pathLst>
          </a:custGeom>
          <a:solidFill>
            <a:srgbClr val="3B89FF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48" name="Google Shape;748;p5"/>
          <p:cNvSpPr/>
          <p:nvPr/>
        </p:nvSpPr>
        <p:spPr>
          <a:xfrm>
            <a:off x="4249952" y="4502192"/>
            <a:ext cx="1463725" cy="1053577"/>
          </a:xfrm>
          <a:custGeom>
            <a:avLst/>
            <a:gdLst/>
            <a:ahLst/>
            <a:cxnLst/>
            <a:rect l="l" t="t" r="r" b="b"/>
            <a:pathLst>
              <a:path w="1463725" h="1053577" extrusionOk="0">
                <a:moveTo>
                  <a:pt x="1443050" y="0"/>
                </a:moveTo>
                <a:lnTo>
                  <a:pt x="149971" y="0"/>
                </a:lnTo>
                <a:lnTo>
                  <a:pt x="149971" y="2074"/>
                </a:lnTo>
                <a:lnTo>
                  <a:pt x="132467" y="2074"/>
                </a:lnTo>
                <a:lnTo>
                  <a:pt x="132467" y="56049"/>
                </a:lnTo>
                <a:cubicBezTo>
                  <a:pt x="132467" y="56049"/>
                  <a:pt x="143567" y="160461"/>
                  <a:pt x="69893" y="160461"/>
                </a:cubicBezTo>
                <a:cubicBezTo>
                  <a:pt x="69893" y="160461"/>
                  <a:pt x="3781" y="158509"/>
                  <a:pt x="0" y="285366"/>
                </a:cubicBezTo>
                <a:lnTo>
                  <a:pt x="0" y="1048089"/>
                </a:lnTo>
                <a:lnTo>
                  <a:pt x="142713" y="1048089"/>
                </a:lnTo>
                <a:lnTo>
                  <a:pt x="142713" y="1053577"/>
                </a:lnTo>
                <a:cubicBezTo>
                  <a:pt x="142713" y="1053577"/>
                  <a:pt x="1463725" y="1053577"/>
                  <a:pt x="1463725" y="1053577"/>
                </a:cubicBezTo>
                <a:lnTo>
                  <a:pt x="1463725" y="61"/>
                </a:lnTo>
                <a:lnTo>
                  <a:pt x="1443111" y="61"/>
                </a:lnTo>
                <a:close/>
              </a:path>
            </a:pathLst>
          </a:custGeom>
          <a:solidFill>
            <a:srgbClr val="6688F6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49" name="Google Shape;749;p5"/>
          <p:cNvSpPr/>
          <p:nvPr/>
        </p:nvSpPr>
        <p:spPr>
          <a:xfrm>
            <a:off x="4382358" y="4502192"/>
            <a:ext cx="17503" cy="2073"/>
          </a:xfrm>
          <a:custGeom>
            <a:avLst/>
            <a:gdLst/>
            <a:ahLst/>
            <a:cxnLst/>
            <a:rect l="l" t="t" r="r" b="b"/>
            <a:pathLst>
              <a:path w="17503" h="2073" extrusionOk="0">
                <a:moveTo>
                  <a:pt x="0" y="0"/>
                </a:moveTo>
                <a:lnTo>
                  <a:pt x="17504" y="0"/>
                </a:lnTo>
                <a:lnTo>
                  <a:pt x="17504" y="2074"/>
                </a:lnTo>
                <a:lnTo>
                  <a:pt x="0" y="2074"/>
                </a:lnTo>
                <a:close/>
              </a:path>
            </a:pathLst>
          </a:custGeom>
          <a:solidFill>
            <a:srgbClr val="3B89FF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50" name="Google Shape;750;p5"/>
          <p:cNvSpPr/>
          <p:nvPr/>
        </p:nvSpPr>
        <p:spPr>
          <a:xfrm>
            <a:off x="5902681" y="1656100"/>
            <a:ext cx="2140698" cy="988014"/>
          </a:xfrm>
          <a:custGeom>
            <a:avLst/>
            <a:gdLst/>
            <a:ahLst/>
            <a:cxnLst/>
            <a:rect l="l" t="t" r="r" b="b"/>
            <a:pathLst>
              <a:path w="2140698" h="988014" extrusionOk="0">
                <a:moveTo>
                  <a:pt x="0" y="0"/>
                </a:moveTo>
                <a:lnTo>
                  <a:pt x="0" y="420821"/>
                </a:lnTo>
                <a:cubicBezTo>
                  <a:pt x="0" y="506205"/>
                  <a:pt x="79285" y="506205"/>
                  <a:pt x="79285" y="506205"/>
                </a:cubicBezTo>
                <a:lnTo>
                  <a:pt x="554996" y="506205"/>
                </a:lnTo>
                <a:cubicBezTo>
                  <a:pt x="737962" y="512304"/>
                  <a:pt x="725764" y="676973"/>
                  <a:pt x="725764" y="676973"/>
                </a:cubicBezTo>
                <a:lnTo>
                  <a:pt x="725764" y="811148"/>
                </a:lnTo>
                <a:cubicBezTo>
                  <a:pt x="725764" y="908730"/>
                  <a:pt x="774555" y="957521"/>
                  <a:pt x="774555" y="957521"/>
                </a:cubicBezTo>
                <a:cubicBezTo>
                  <a:pt x="774555" y="957521"/>
                  <a:pt x="786752" y="988015"/>
                  <a:pt x="896532" y="988015"/>
                </a:cubicBezTo>
                <a:lnTo>
                  <a:pt x="1768668" y="988015"/>
                </a:lnTo>
                <a:cubicBezTo>
                  <a:pt x="1768668" y="988015"/>
                  <a:pt x="1847953" y="981916"/>
                  <a:pt x="1854052" y="927026"/>
                </a:cubicBezTo>
                <a:cubicBezTo>
                  <a:pt x="1860151" y="872137"/>
                  <a:pt x="1854052" y="634281"/>
                  <a:pt x="1854052" y="634281"/>
                </a:cubicBezTo>
                <a:cubicBezTo>
                  <a:pt x="1854052" y="634281"/>
                  <a:pt x="1841854" y="536699"/>
                  <a:pt x="1896744" y="536699"/>
                </a:cubicBezTo>
                <a:cubicBezTo>
                  <a:pt x="1951634" y="536699"/>
                  <a:pt x="2120267" y="542737"/>
                  <a:pt x="2134356" y="273412"/>
                </a:cubicBezTo>
                <a:cubicBezTo>
                  <a:pt x="2134417" y="271704"/>
                  <a:pt x="2134539" y="270057"/>
                  <a:pt x="2134600" y="268350"/>
                </a:cubicBezTo>
                <a:lnTo>
                  <a:pt x="2134600" y="3049"/>
                </a:lnTo>
                <a:cubicBezTo>
                  <a:pt x="2134600" y="3049"/>
                  <a:pt x="2134782" y="3049"/>
                  <a:pt x="2134782" y="3049"/>
                </a:cubicBezTo>
                <a:cubicBezTo>
                  <a:pt x="2135332" y="3049"/>
                  <a:pt x="2137954" y="2988"/>
                  <a:pt x="2140699" y="3049"/>
                </a:cubicBezTo>
                <a:lnTo>
                  <a:pt x="2140699" y="61"/>
                </a:lnTo>
                <a:lnTo>
                  <a:pt x="0" y="61"/>
                </a:lnTo>
                <a:close/>
              </a:path>
            </a:pathLst>
          </a:custGeom>
          <a:solidFill>
            <a:srgbClr val="092EA3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51" name="Google Shape;751;p5"/>
          <p:cNvSpPr/>
          <p:nvPr/>
        </p:nvSpPr>
        <p:spPr>
          <a:xfrm>
            <a:off x="8043379" y="1659149"/>
            <a:ext cx="6098" cy="6098"/>
          </a:xfrm>
          <a:custGeom>
            <a:avLst/>
            <a:gdLst/>
            <a:ahLst/>
            <a:cxnLst/>
            <a:rect l="l" t="t" r="r" b="b"/>
            <a:pathLst>
              <a:path w="6098" h="6098" extrusionOk="0">
                <a:moveTo>
                  <a:pt x="6099" y="0"/>
                </a:moveTo>
                <a:cubicBezTo>
                  <a:pt x="6099" y="0"/>
                  <a:pt x="3049" y="0"/>
                  <a:pt x="0" y="0"/>
                </a:cubicBezTo>
                <a:lnTo>
                  <a:pt x="0" y="0"/>
                </a:lnTo>
                <a:cubicBezTo>
                  <a:pt x="0" y="0"/>
                  <a:pt x="6099" y="0"/>
                  <a:pt x="6099" y="0"/>
                </a:cubicBezTo>
                <a:close/>
              </a:path>
            </a:pathLst>
          </a:custGeom>
          <a:solidFill>
            <a:srgbClr val="3B6AFF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52" name="Google Shape;752;p5"/>
          <p:cNvSpPr/>
          <p:nvPr/>
        </p:nvSpPr>
        <p:spPr>
          <a:xfrm>
            <a:off x="7679399" y="3792712"/>
            <a:ext cx="14759" cy="13661"/>
          </a:xfrm>
          <a:custGeom>
            <a:avLst/>
            <a:gdLst/>
            <a:ahLst/>
            <a:cxnLst/>
            <a:rect l="l" t="t" r="r" b="b"/>
            <a:pathLst>
              <a:path w="14759" h="13661" extrusionOk="0">
                <a:moveTo>
                  <a:pt x="14759" y="0"/>
                </a:moveTo>
                <a:cubicBezTo>
                  <a:pt x="9697" y="4513"/>
                  <a:pt x="4818" y="9087"/>
                  <a:pt x="0" y="13662"/>
                </a:cubicBezTo>
                <a:cubicBezTo>
                  <a:pt x="4818" y="9026"/>
                  <a:pt x="9758" y="4452"/>
                  <a:pt x="14759" y="0"/>
                </a:cubicBezTo>
                <a:close/>
              </a:path>
            </a:pathLst>
          </a:custGeom>
          <a:solidFill>
            <a:srgbClr val="3B6AFF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53" name="Google Shape;753;p5"/>
          <p:cNvSpPr/>
          <p:nvPr/>
        </p:nvSpPr>
        <p:spPr>
          <a:xfrm>
            <a:off x="7665067" y="3809972"/>
            <a:ext cx="10550" cy="10551"/>
          </a:xfrm>
          <a:custGeom>
            <a:avLst/>
            <a:gdLst/>
            <a:ahLst/>
            <a:cxnLst/>
            <a:rect l="l" t="t" r="r" b="b"/>
            <a:pathLst>
              <a:path w="10550" h="10551" extrusionOk="0">
                <a:moveTo>
                  <a:pt x="793" y="9697"/>
                </a:moveTo>
                <a:cubicBezTo>
                  <a:pt x="793" y="9697"/>
                  <a:pt x="244" y="10246"/>
                  <a:pt x="0" y="10551"/>
                </a:cubicBezTo>
                <a:cubicBezTo>
                  <a:pt x="3476" y="7014"/>
                  <a:pt x="7013" y="3476"/>
                  <a:pt x="10551" y="0"/>
                </a:cubicBezTo>
                <a:cubicBezTo>
                  <a:pt x="7258" y="3171"/>
                  <a:pt x="4025" y="6404"/>
                  <a:pt x="793" y="9636"/>
                </a:cubicBezTo>
                <a:close/>
              </a:path>
            </a:pathLst>
          </a:custGeom>
          <a:solidFill>
            <a:srgbClr val="3B6AFF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54" name="Google Shape;754;p5"/>
          <p:cNvSpPr/>
          <p:nvPr/>
        </p:nvSpPr>
        <p:spPr>
          <a:xfrm>
            <a:off x="7662689" y="3819669"/>
            <a:ext cx="3110" cy="3110"/>
          </a:xfrm>
          <a:custGeom>
            <a:avLst/>
            <a:gdLst/>
            <a:ahLst/>
            <a:cxnLst/>
            <a:rect l="l" t="t" r="r" b="b"/>
            <a:pathLst>
              <a:path w="3110" h="3110" extrusionOk="0">
                <a:moveTo>
                  <a:pt x="61" y="3110"/>
                </a:moveTo>
                <a:cubicBezTo>
                  <a:pt x="793" y="2318"/>
                  <a:pt x="1586" y="1586"/>
                  <a:pt x="2318" y="854"/>
                </a:cubicBezTo>
                <a:cubicBezTo>
                  <a:pt x="2622" y="549"/>
                  <a:pt x="2866" y="305"/>
                  <a:pt x="3110" y="0"/>
                </a:cubicBezTo>
                <a:cubicBezTo>
                  <a:pt x="2073" y="1037"/>
                  <a:pt x="1037" y="2074"/>
                  <a:pt x="0" y="3110"/>
                </a:cubicBezTo>
                <a:close/>
              </a:path>
            </a:pathLst>
          </a:custGeom>
          <a:solidFill>
            <a:srgbClr val="3B6AFF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55" name="Google Shape;755;p5"/>
          <p:cNvSpPr/>
          <p:nvPr/>
        </p:nvSpPr>
        <p:spPr>
          <a:xfrm>
            <a:off x="7601090" y="3818083"/>
            <a:ext cx="66416" cy="6220"/>
          </a:xfrm>
          <a:custGeom>
            <a:avLst/>
            <a:gdLst/>
            <a:ahLst/>
            <a:cxnLst/>
            <a:rect l="l" t="t" r="r" b="b"/>
            <a:pathLst>
              <a:path w="66416" h="6220" extrusionOk="0">
                <a:moveTo>
                  <a:pt x="60562" y="5855"/>
                </a:moveTo>
                <a:cubicBezTo>
                  <a:pt x="60928" y="5489"/>
                  <a:pt x="61294" y="5123"/>
                  <a:pt x="61721" y="4757"/>
                </a:cubicBezTo>
                <a:cubicBezTo>
                  <a:pt x="62757" y="3720"/>
                  <a:pt x="63794" y="2684"/>
                  <a:pt x="64831" y="1647"/>
                </a:cubicBezTo>
                <a:cubicBezTo>
                  <a:pt x="65380" y="1098"/>
                  <a:pt x="65868" y="549"/>
                  <a:pt x="66417" y="0"/>
                </a:cubicBezTo>
                <a:lnTo>
                  <a:pt x="64221" y="122"/>
                </a:lnTo>
                <a:lnTo>
                  <a:pt x="5550" y="122"/>
                </a:lnTo>
                <a:cubicBezTo>
                  <a:pt x="3660" y="2135"/>
                  <a:pt x="1830" y="4147"/>
                  <a:pt x="0" y="6221"/>
                </a:cubicBezTo>
                <a:lnTo>
                  <a:pt x="52023" y="6221"/>
                </a:lnTo>
                <a:lnTo>
                  <a:pt x="60623" y="5916"/>
                </a:lnTo>
                <a:close/>
              </a:path>
            </a:pathLst>
          </a:custGeom>
          <a:solidFill>
            <a:srgbClr val="3B6AFF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56" name="Google Shape;756;p5"/>
          <p:cNvSpPr/>
          <p:nvPr/>
        </p:nvSpPr>
        <p:spPr>
          <a:xfrm>
            <a:off x="8037463" y="1659122"/>
            <a:ext cx="5916" cy="27"/>
          </a:xfrm>
          <a:custGeom>
            <a:avLst/>
            <a:gdLst/>
            <a:ahLst/>
            <a:cxnLst/>
            <a:rect l="l" t="t" r="r" b="b"/>
            <a:pathLst>
              <a:path w="5916" h="27" extrusionOk="0">
                <a:moveTo>
                  <a:pt x="0" y="27"/>
                </a:moveTo>
                <a:lnTo>
                  <a:pt x="5916" y="27"/>
                </a:lnTo>
                <a:cubicBezTo>
                  <a:pt x="3172" y="-34"/>
                  <a:pt x="549" y="27"/>
                  <a:pt x="0" y="27"/>
                </a:cubicBezTo>
                <a:close/>
              </a:path>
            </a:pathLst>
          </a:custGeom>
          <a:solidFill>
            <a:srgbClr val="3B6AFF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57" name="Google Shape;757;p5"/>
          <p:cNvSpPr/>
          <p:nvPr/>
        </p:nvSpPr>
        <p:spPr>
          <a:xfrm>
            <a:off x="6303063" y="1659149"/>
            <a:ext cx="2737417" cy="2165094"/>
          </a:xfrm>
          <a:custGeom>
            <a:avLst/>
            <a:gdLst/>
            <a:ahLst/>
            <a:cxnLst/>
            <a:rect l="l" t="t" r="r" b="b"/>
            <a:pathLst>
              <a:path w="2737417" h="2165094" extrusionOk="0">
                <a:moveTo>
                  <a:pt x="1758613" y="0"/>
                </a:moveTo>
                <a:lnTo>
                  <a:pt x="1734400" y="0"/>
                </a:lnTo>
                <a:cubicBezTo>
                  <a:pt x="1734400" y="0"/>
                  <a:pt x="1734217" y="0"/>
                  <a:pt x="1734217" y="0"/>
                </a:cubicBezTo>
                <a:lnTo>
                  <a:pt x="1734217" y="265300"/>
                </a:lnTo>
                <a:cubicBezTo>
                  <a:pt x="1734156" y="267008"/>
                  <a:pt x="1734034" y="268716"/>
                  <a:pt x="1733973" y="270362"/>
                </a:cubicBezTo>
                <a:cubicBezTo>
                  <a:pt x="1719885" y="539688"/>
                  <a:pt x="1550885" y="533650"/>
                  <a:pt x="1496361" y="533650"/>
                </a:cubicBezTo>
                <a:cubicBezTo>
                  <a:pt x="1441838" y="533650"/>
                  <a:pt x="1453669" y="631232"/>
                  <a:pt x="1453669" y="631232"/>
                </a:cubicBezTo>
                <a:cubicBezTo>
                  <a:pt x="1453669" y="631232"/>
                  <a:pt x="1459768" y="869087"/>
                  <a:pt x="1453669" y="923977"/>
                </a:cubicBezTo>
                <a:cubicBezTo>
                  <a:pt x="1447571" y="978867"/>
                  <a:pt x="1368285" y="984965"/>
                  <a:pt x="1368285" y="984965"/>
                </a:cubicBezTo>
                <a:lnTo>
                  <a:pt x="496149" y="984965"/>
                </a:lnTo>
                <a:cubicBezTo>
                  <a:pt x="386370" y="984965"/>
                  <a:pt x="374172" y="954471"/>
                  <a:pt x="374172" y="954471"/>
                </a:cubicBezTo>
                <a:lnTo>
                  <a:pt x="93625" y="954471"/>
                </a:lnTo>
                <a:cubicBezTo>
                  <a:pt x="-22254" y="954471"/>
                  <a:pt x="2142" y="1149635"/>
                  <a:pt x="2142" y="1149635"/>
                </a:cubicBezTo>
                <a:lnTo>
                  <a:pt x="2142" y="2165094"/>
                </a:lnTo>
                <a:lnTo>
                  <a:pt x="1297966" y="2165094"/>
                </a:lnTo>
                <a:cubicBezTo>
                  <a:pt x="1299795" y="2163021"/>
                  <a:pt x="1301686" y="2161008"/>
                  <a:pt x="1303516" y="2158995"/>
                </a:cubicBezTo>
                <a:lnTo>
                  <a:pt x="1362187" y="2158995"/>
                </a:lnTo>
                <a:lnTo>
                  <a:pt x="1364382" y="2158873"/>
                </a:lnTo>
                <a:cubicBezTo>
                  <a:pt x="1363833" y="2159422"/>
                  <a:pt x="1363345" y="2159971"/>
                  <a:pt x="1362797" y="2160520"/>
                </a:cubicBezTo>
                <a:cubicBezTo>
                  <a:pt x="1366029" y="2157288"/>
                  <a:pt x="1369261" y="2154055"/>
                  <a:pt x="1372555" y="2150884"/>
                </a:cubicBezTo>
                <a:cubicBezTo>
                  <a:pt x="1373836" y="2149664"/>
                  <a:pt x="1375055" y="2148444"/>
                  <a:pt x="1376336" y="2147286"/>
                </a:cubicBezTo>
                <a:cubicBezTo>
                  <a:pt x="1381154" y="2142651"/>
                  <a:pt x="1386094" y="2138076"/>
                  <a:pt x="1391095" y="2133624"/>
                </a:cubicBezTo>
                <a:cubicBezTo>
                  <a:pt x="1495203" y="2040799"/>
                  <a:pt x="1622364" y="1990545"/>
                  <a:pt x="1750867" y="1981702"/>
                </a:cubicBezTo>
                <a:lnTo>
                  <a:pt x="1758552" y="1979140"/>
                </a:lnTo>
                <a:cubicBezTo>
                  <a:pt x="2290249" y="1979140"/>
                  <a:pt x="2722964" y="1550573"/>
                  <a:pt x="2737052" y="1016496"/>
                </a:cubicBezTo>
                <a:cubicBezTo>
                  <a:pt x="2737296" y="1007592"/>
                  <a:pt x="2737418" y="998627"/>
                  <a:pt x="2737418" y="989600"/>
                </a:cubicBezTo>
                <a:cubicBezTo>
                  <a:pt x="2737418" y="443082"/>
                  <a:pt x="2299154" y="61"/>
                  <a:pt x="1758552" y="61"/>
                </a:cubicBezTo>
                <a:close/>
              </a:path>
            </a:pathLst>
          </a:custGeom>
          <a:solidFill>
            <a:srgbClr val="57CFFF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58" name="Google Shape;758;p5"/>
          <p:cNvSpPr/>
          <p:nvPr/>
        </p:nvSpPr>
        <p:spPr>
          <a:xfrm>
            <a:off x="9802407" y="4244824"/>
            <a:ext cx="240955" cy="254111"/>
          </a:xfrm>
          <a:custGeom>
            <a:avLst/>
            <a:gdLst/>
            <a:ahLst/>
            <a:cxnLst/>
            <a:rect l="l" t="t" r="r" b="b"/>
            <a:pathLst>
              <a:path w="240955" h="254111" extrusionOk="0">
                <a:moveTo>
                  <a:pt x="240955" y="29"/>
                </a:moveTo>
                <a:lnTo>
                  <a:pt x="240955" y="32150"/>
                </a:lnTo>
                <a:cubicBezTo>
                  <a:pt x="240955" y="142763"/>
                  <a:pt x="152264" y="232424"/>
                  <a:pt x="41680" y="232424"/>
                </a:cubicBezTo>
                <a:lnTo>
                  <a:pt x="40769" y="232247"/>
                </a:lnTo>
                <a:cubicBezTo>
                  <a:pt x="25782" y="232247"/>
                  <a:pt x="11206" y="242004"/>
                  <a:pt x="4182" y="254111"/>
                </a:cubicBezTo>
                <a:cubicBezTo>
                  <a:pt x="4182" y="254111"/>
                  <a:pt x="-226" y="245707"/>
                  <a:pt x="9" y="233129"/>
                </a:cubicBezTo>
                <a:cubicBezTo>
                  <a:pt x="244" y="220551"/>
                  <a:pt x="8120" y="208708"/>
                  <a:pt x="8120" y="208708"/>
                </a:cubicBezTo>
                <a:cubicBezTo>
                  <a:pt x="8120" y="208708"/>
                  <a:pt x="19963" y="190958"/>
                  <a:pt x="45618" y="192927"/>
                </a:cubicBezTo>
                <a:cubicBezTo>
                  <a:pt x="71273" y="194896"/>
                  <a:pt x="167957" y="173208"/>
                  <a:pt x="195581" y="110055"/>
                </a:cubicBezTo>
                <a:cubicBezTo>
                  <a:pt x="195581" y="110055"/>
                  <a:pt x="225174" y="32003"/>
                  <a:pt x="240955" y="0"/>
                </a:cubicBezTo>
                <a:close/>
              </a:path>
            </a:pathLst>
          </a:custGeom>
          <a:solidFill>
            <a:srgbClr val="0F47F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59" name="Google Shape;759;p5"/>
          <p:cNvSpPr/>
          <p:nvPr/>
        </p:nvSpPr>
        <p:spPr>
          <a:xfrm>
            <a:off x="9880733" y="4612370"/>
            <a:ext cx="503373" cy="281000"/>
          </a:xfrm>
          <a:custGeom>
            <a:avLst/>
            <a:gdLst/>
            <a:ahLst/>
            <a:cxnLst/>
            <a:rect l="l" t="t" r="r" b="b"/>
            <a:pathLst>
              <a:path w="503373" h="281000" extrusionOk="0">
                <a:moveTo>
                  <a:pt x="398403" y="84900"/>
                </a:moveTo>
                <a:lnTo>
                  <a:pt x="220816" y="82931"/>
                </a:lnTo>
                <a:cubicBezTo>
                  <a:pt x="189254" y="82931"/>
                  <a:pt x="134006" y="94774"/>
                  <a:pt x="134006" y="94774"/>
                </a:cubicBezTo>
                <a:cubicBezTo>
                  <a:pt x="134006" y="94774"/>
                  <a:pt x="41260" y="130303"/>
                  <a:pt x="15605" y="205270"/>
                </a:cubicBezTo>
                <a:cubicBezTo>
                  <a:pt x="3350" y="241034"/>
                  <a:pt x="88" y="265337"/>
                  <a:pt x="0" y="281001"/>
                </a:cubicBezTo>
                <a:cubicBezTo>
                  <a:pt x="2410" y="279590"/>
                  <a:pt x="5143" y="278885"/>
                  <a:pt x="7846" y="278826"/>
                </a:cubicBezTo>
                <a:cubicBezTo>
                  <a:pt x="28212" y="189812"/>
                  <a:pt x="107851" y="123368"/>
                  <a:pt x="203036" y="123368"/>
                </a:cubicBezTo>
                <a:lnTo>
                  <a:pt x="415006" y="123368"/>
                </a:lnTo>
                <a:cubicBezTo>
                  <a:pt x="463819" y="123368"/>
                  <a:pt x="503374" y="83812"/>
                  <a:pt x="503374" y="35000"/>
                </a:cubicBezTo>
                <a:lnTo>
                  <a:pt x="503374" y="0"/>
                </a:lnTo>
                <a:cubicBezTo>
                  <a:pt x="491090" y="96713"/>
                  <a:pt x="398344" y="84900"/>
                  <a:pt x="398344" y="84900"/>
                </a:cubicBezTo>
                <a:close/>
              </a:path>
            </a:pathLst>
          </a:custGeom>
          <a:solidFill>
            <a:srgbClr val="0F47F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60" name="Google Shape;760;p5"/>
          <p:cNvSpPr/>
          <p:nvPr/>
        </p:nvSpPr>
        <p:spPr>
          <a:xfrm>
            <a:off x="8088318" y="4820402"/>
            <a:ext cx="1815101" cy="377155"/>
          </a:xfrm>
          <a:custGeom>
            <a:avLst/>
            <a:gdLst/>
            <a:ahLst/>
            <a:cxnLst/>
            <a:rect l="l" t="t" r="r" b="b"/>
            <a:pathLst>
              <a:path w="1815101" h="377155" extrusionOk="0">
                <a:moveTo>
                  <a:pt x="2998" y="0"/>
                </a:moveTo>
                <a:lnTo>
                  <a:pt x="0" y="78875"/>
                </a:lnTo>
                <a:cubicBezTo>
                  <a:pt x="0" y="243620"/>
                  <a:pt x="110555" y="377156"/>
                  <a:pt x="246970" y="377156"/>
                </a:cubicBezTo>
                <a:lnTo>
                  <a:pt x="1568131" y="377156"/>
                </a:lnTo>
                <a:cubicBezTo>
                  <a:pt x="1704518" y="377156"/>
                  <a:pt x="1815102" y="243620"/>
                  <a:pt x="1815102" y="78875"/>
                </a:cubicBezTo>
                <a:lnTo>
                  <a:pt x="1815102" y="999"/>
                </a:lnTo>
              </a:path>
            </a:pathLst>
          </a:custGeom>
          <a:solidFill>
            <a:srgbClr val="0F47F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61" name="Google Shape;761;p5"/>
          <p:cNvSpPr/>
          <p:nvPr/>
        </p:nvSpPr>
        <p:spPr>
          <a:xfrm>
            <a:off x="7756302" y="4331281"/>
            <a:ext cx="359534" cy="386295"/>
          </a:xfrm>
          <a:custGeom>
            <a:avLst/>
            <a:gdLst/>
            <a:ahLst/>
            <a:cxnLst/>
            <a:rect l="l" t="t" r="r" b="b"/>
            <a:pathLst>
              <a:path w="359534" h="386295" extrusionOk="0">
                <a:moveTo>
                  <a:pt x="0" y="0"/>
                </a:moveTo>
                <a:lnTo>
                  <a:pt x="0" y="47842"/>
                </a:lnTo>
                <a:cubicBezTo>
                  <a:pt x="0" y="212587"/>
                  <a:pt x="132066" y="346123"/>
                  <a:pt x="296811" y="346123"/>
                </a:cubicBezTo>
                <a:lnTo>
                  <a:pt x="298163" y="345888"/>
                </a:lnTo>
                <a:cubicBezTo>
                  <a:pt x="320497" y="345888"/>
                  <a:pt x="345153" y="368251"/>
                  <a:pt x="355585" y="386295"/>
                </a:cubicBezTo>
                <a:cubicBezTo>
                  <a:pt x="355585" y="386295"/>
                  <a:pt x="361463" y="368663"/>
                  <a:pt x="358877" y="347240"/>
                </a:cubicBezTo>
                <a:cubicBezTo>
                  <a:pt x="356614" y="328637"/>
                  <a:pt x="346769" y="310888"/>
                  <a:pt x="346769" y="310888"/>
                </a:cubicBezTo>
                <a:cubicBezTo>
                  <a:pt x="346769" y="310888"/>
                  <a:pt x="329137" y="284439"/>
                  <a:pt x="290933" y="287378"/>
                </a:cubicBezTo>
                <a:cubicBezTo>
                  <a:pt x="252730" y="290316"/>
                  <a:pt x="108733" y="257991"/>
                  <a:pt x="67591" y="163951"/>
                </a:cubicBezTo>
                <a:cubicBezTo>
                  <a:pt x="67591" y="163951"/>
                  <a:pt x="23510" y="47725"/>
                  <a:pt x="0" y="29"/>
                </a:cubicBezTo>
                <a:close/>
              </a:path>
            </a:pathLst>
          </a:custGeom>
          <a:solidFill>
            <a:srgbClr val="0F47F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62" name="Google Shape;762;p5"/>
          <p:cNvSpPr/>
          <p:nvPr/>
        </p:nvSpPr>
        <p:spPr>
          <a:xfrm>
            <a:off x="7755479" y="4039231"/>
            <a:ext cx="2628716" cy="1105459"/>
          </a:xfrm>
          <a:custGeom>
            <a:avLst/>
            <a:gdLst/>
            <a:ahLst/>
            <a:cxnLst/>
            <a:rect l="l" t="t" r="r" b="b"/>
            <a:pathLst>
              <a:path w="2628716" h="1105459" extrusionOk="0">
                <a:moveTo>
                  <a:pt x="2540320" y="481422"/>
                </a:moveTo>
                <a:lnTo>
                  <a:pt x="2087697" y="481422"/>
                </a:lnTo>
                <a:cubicBezTo>
                  <a:pt x="2065304" y="481422"/>
                  <a:pt x="2047173" y="463260"/>
                  <a:pt x="2047173" y="440897"/>
                </a:cubicBezTo>
                <a:cubicBezTo>
                  <a:pt x="2047173" y="418533"/>
                  <a:pt x="2064247" y="400372"/>
                  <a:pt x="2086640" y="400372"/>
                </a:cubicBezTo>
                <a:lnTo>
                  <a:pt x="2087639" y="400548"/>
                </a:lnTo>
                <a:cubicBezTo>
                  <a:pt x="2198252" y="400548"/>
                  <a:pt x="2287913" y="310888"/>
                  <a:pt x="2287913" y="200274"/>
                </a:cubicBezTo>
                <a:cubicBezTo>
                  <a:pt x="2287913" y="89660"/>
                  <a:pt x="2198252" y="0"/>
                  <a:pt x="2087639" y="0"/>
                </a:cubicBezTo>
                <a:lnTo>
                  <a:pt x="1606541" y="0"/>
                </a:lnTo>
                <a:cubicBezTo>
                  <a:pt x="1606541" y="147"/>
                  <a:pt x="1606541" y="323"/>
                  <a:pt x="1606541" y="470"/>
                </a:cubicBezTo>
                <a:lnTo>
                  <a:pt x="298280" y="470"/>
                </a:lnTo>
                <a:cubicBezTo>
                  <a:pt x="133536" y="470"/>
                  <a:pt x="0" y="134006"/>
                  <a:pt x="0" y="298751"/>
                </a:cubicBezTo>
                <a:cubicBezTo>
                  <a:pt x="0" y="463495"/>
                  <a:pt x="133536" y="597031"/>
                  <a:pt x="298280" y="597031"/>
                </a:cubicBezTo>
                <a:lnTo>
                  <a:pt x="299750" y="596796"/>
                </a:lnTo>
                <a:cubicBezTo>
                  <a:pt x="333075" y="596796"/>
                  <a:pt x="358524" y="623832"/>
                  <a:pt x="358524" y="657157"/>
                </a:cubicBezTo>
                <a:cubicBezTo>
                  <a:pt x="358524" y="665004"/>
                  <a:pt x="359112" y="671469"/>
                  <a:pt x="356408" y="678346"/>
                </a:cubicBezTo>
                <a:cubicBezTo>
                  <a:pt x="359905" y="693597"/>
                  <a:pt x="356614" y="679550"/>
                  <a:pt x="356614" y="679403"/>
                </a:cubicBezTo>
                <a:cubicBezTo>
                  <a:pt x="341391" y="718136"/>
                  <a:pt x="332840" y="761453"/>
                  <a:pt x="332840" y="807179"/>
                </a:cubicBezTo>
                <a:cubicBezTo>
                  <a:pt x="332840" y="971924"/>
                  <a:pt x="443394" y="1105460"/>
                  <a:pt x="579810" y="1105460"/>
                </a:cubicBezTo>
                <a:lnTo>
                  <a:pt x="1900971" y="1105460"/>
                </a:lnTo>
                <a:cubicBezTo>
                  <a:pt x="2037357" y="1105460"/>
                  <a:pt x="2147941" y="971924"/>
                  <a:pt x="2147941" y="807179"/>
                </a:cubicBezTo>
                <a:cubicBezTo>
                  <a:pt x="2147941" y="781759"/>
                  <a:pt x="2149264" y="771709"/>
                  <a:pt x="2150909" y="766595"/>
                </a:cubicBezTo>
                <a:cubicBezTo>
                  <a:pt x="2184352" y="702678"/>
                  <a:pt x="2251237" y="659067"/>
                  <a:pt x="2328379" y="659067"/>
                </a:cubicBezTo>
                <a:lnTo>
                  <a:pt x="2540349" y="659067"/>
                </a:lnTo>
                <a:cubicBezTo>
                  <a:pt x="2589161" y="659067"/>
                  <a:pt x="2628716" y="619512"/>
                  <a:pt x="2628716" y="570700"/>
                </a:cubicBezTo>
                <a:cubicBezTo>
                  <a:pt x="2628716" y="521888"/>
                  <a:pt x="2589161" y="481480"/>
                  <a:pt x="2540349" y="481480"/>
                </a:cubicBezTo>
                <a:close/>
              </a:path>
            </a:pathLst>
          </a:custGeom>
          <a:solidFill>
            <a:srgbClr val="7493F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763" name="Google Shape;763;p5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2992752" y="2032563"/>
            <a:ext cx="556343" cy="137331"/>
          </a:xfrm>
          <a:prstGeom prst="rect">
            <a:avLst/>
          </a:prstGeom>
          <a:noFill/>
          <a:ln>
            <a:noFill/>
          </a:ln>
        </p:spPr>
      </p:pic>
      <p:pic>
        <p:nvPicPr>
          <p:cNvPr id="764" name="Google Shape;764;p5"/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3717875" y="2426067"/>
            <a:ext cx="544243" cy="157828"/>
          </a:xfrm>
          <a:prstGeom prst="rect">
            <a:avLst/>
          </a:prstGeom>
          <a:noFill/>
          <a:ln>
            <a:noFill/>
          </a:ln>
        </p:spPr>
      </p:pic>
      <p:pic>
        <p:nvPicPr>
          <p:cNvPr id="765" name="Google Shape;765;p5"/>
          <p:cNvPicPr preferRelativeResize="0"/>
          <p:nvPr/>
        </p:nvPicPr>
        <p:blipFill rotWithShape="1">
          <a:blip r:embed="rId5">
            <a:alphaModFix/>
          </a:blip>
          <a:srcRect/>
          <a:stretch/>
        </p:blipFill>
        <p:spPr>
          <a:xfrm>
            <a:off x="2990135" y="2235835"/>
            <a:ext cx="692656" cy="226405"/>
          </a:xfrm>
          <a:prstGeom prst="rect">
            <a:avLst/>
          </a:prstGeom>
          <a:noFill/>
          <a:ln>
            <a:noFill/>
          </a:ln>
        </p:spPr>
      </p:pic>
      <p:pic>
        <p:nvPicPr>
          <p:cNvPr id="766" name="Google Shape;766;p5" descr="H2o.ai is the leading company that can make a huge difference - Passionate  In Marketing"/>
          <p:cNvPicPr preferRelativeResize="0"/>
          <p:nvPr/>
        </p:nvPicPr>
        <p:blipFill rotWithShape="1">
          <a:blip r:embed="rId6">
            <a:alphaModFix/>
          </a:blip>
          <a:srcRect/>
          <a:stretch/>
        </p:blipFill>
        <p:spPr>
          <a:xfrm>
            <a:off x="3089057" y="2587489"/>
            <a:ext cx="660999" cy="289186"/>
          </a:xfrm>
          <a:prstGeom prst="rect">
            <a:avLst/>
          </a:prstGeom>
          <a:noFill/>
          <a:ln>
            <a:noFill/>
          </a:ln>
        </p:spPr>
      </p:pic>
      <p:pic>
        <p:nvPicPr>
          <p:cNvPr id="767" name="Google Shape;767;p5" descr="LF AI &amp; Data Foundation Logos and Artwork - ONNX"/>
          <p:cNvPicPr preferRelativeResize="0"/>
          <p:nvPr/>
        </p:nvPicPr>
        <p:blipFill rotWithShape="1">
          <a:blip r:embed="rId7">
            <a:alphaModFix/>
          </a:blip>
          <a:srcRect/>
          <a:stretch/>
        </p:blipFill>
        <p:spPr>
          <a:xfrm>
            <a:off x="3680714" y="2073889"/>
            <a:ext cx="552056" cy="152773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768" name="Google Shape;768;p5"/>
          <p:cNvGrpSpPr/>
          <p:nvPr/>
        </p:nvGrpSpPr>
        <p:grpSpPr>
          <a:xfrm>
            <a:off x="3931143" y="1614964"/>
            <a:ext cx="814547" cy="408346"/>
            <a:chOff x="3833433" y="1764289"/>
            <a:chExt cx="482329" cy="241799"/>
          </a:xfrm>
        </p:grpSpPr>
        <p:pic>
          <p:nvPicPr>
            <p:cNvPr id="769" name="Google Shape;769;p5"/>
            <p:cNvPicPr preferRelativeResize="0"/>
            <p:nvPr/>
          </p:nvPicPr>
          <p:blipFill rotWithShape="1">
            <a:blip r:embed="rId8">
              <a:alphaModFix/>
            </a:blip>
            <a:srcRect/>
            <a:stretch/>
          </p:blipFill>
          <p:spPr>
            <a:xfrm>
              <a:off x="3833433" y="1764289"/>
              <a:ext cx="482329" cy="241164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770" name="Google Shape;770;p5"/>
            <p:cNvPicPr preferRelativeResize="0"/>
            <p:nvPr/>
          </p:nvPicPr>
          <p:blipFill rotWithShape="1">
            <a:blip r:embed="rId9">
              <a:alphaModFix/>
            </a:blip>
            <a:srcRect l="38746"/>
            <a:stretch/>
          </p:blipFill>
          <p:spPr>
            <a:xfrm>
              <a:off x="4019418" y="1764924"/>
              <a:ext cx="295447" cy="241164"/>
            </a:xfrm>
            <a:prstGeom prst="rect">
              <a:avLst/>
            </a:prstGeom>
            <a:noFill/>
            <a:ln>
              <a:noFill/>
            </a:ln>
          </p:spPr>
        </p:pic>
      </p:grpSp>
      <p:pic>
        <p:nvPicPr>
          <p:cNvPr id="771" name="Google Shape;771;p5"/>
          <p:cNvPicPr preferRelativeResize="0"/>
          <p:nvPr/>
        </p:nvPicPr>
        <p:blipFill rotWithShape="1">
          <a:blip r:embed="rId10">
            <a:alphaModFix/>
          </a:blip>
          <a:srcRect/>
          <a:stretch/>
        </p:blipFill>
        <p:spPr>
          <a:xfrm>
            <a:off x="3302163" y="1754176"/>
            <a:ext cx="590121" cy="227107"/>
          </a:xfrm>
          <a:prstGeom prst="rect">
            <a:avLst/>
          </a:prstGeom>
          <a:noFill/>
          <a:ln>
            <a:noFill/>
          </a:ln>
        </p:spPr>
      </p:pic>
      <p:pic>
        <p:nvPicPr>
          <p:cNvPr id="772" name="Google Shape;772;p5" descr="AI and Machine Learning Applications in Atlanta | Digital Scientists"/>
          <p:cNvPicPr preferRelativeResize="0"/>
          <p:nvPr/>
        </p:nvPicPr>
        <p:blipFill rotWithShape="1">
          <a:blip r:embed="rId11">
            <a:alphaModFix/>
          </a:blip>
          <a:srcRect/>
          <a:stretch/>
        </p:blipFill>
        <p:spPr>
          <a:xfrm>
            <a:off x="3462973" y="2663459"/>
            <a:ext cx="897796" cy="375251"/>
          </a:xfrm>
          <a:prstGeom prst="rect">
            <a:avLst/>
          </a:prstGeom>
          <a:noFill/>
          <a:ln>
            <a:noFill/>
          </a:ln>
        </p:spPr>
      </p:pic>
      <p:sp>
        <p:nvSpPr>
          <p:cNvPr id="773" name="Google Shape;773;p5"/>
          <p:cNvSpPr txBox="1"/>
          <p:nvPr/>
        </p:nvSpPr>
        <p:spPr>
          <a:xfrm>
            <a:off x="944018" y="1440388"/>
            <a:ext cx="1689036" cy="5847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Arial"/>
              <a:buNone/>
            </a:pPr>
            <a:r>
              <a:rPr lang="en-US" sz="1600" b="1" i="0" u="none" strike="noStrike" cap="none">
                <a:solidFill>
                  <a:srgbClr val="00B9FF"/>
                </a:solidFill>
                <a:latin typeface="Calibri"/>
                <a:ea typeface="Calibri"/>
                <a:cs typeface="Calibri"/>
                <a:sym typeface="Calibri"/>
              </a:rPr>
              <a:t>Machine learning National Park</a:t>
            </a:r>
            <a:endParaRPr/>
          </a:p>
        </p:txBody>
      </p:sp>
      <p:pic>
        <p:nvPicPr>
          <p:cNvPr id="774" name="Google Shape;774;p5"/>
          <p:cNvPicPr preferRelativeResize="0"/>
          <p:nvPr/>
        </p:nvPicPr>
        <p:blipFill rotWithShape="1">
          <a:blip r:embed="rId12">
            <a:alphaModFix/>
          </a:blip>
          <a:srcRect/>
          <a:stretch/>
        </p:blipFill>
        <p:spPr>
          <a:xfrm>
            <a:off x="4274981" y="5062512"/>
            <a:ext cx="807864" cy="177422"/>
          </a:xfrm>
          <a:prstGeom prst="rect">
            <a:avLst/>
          </a:prstGeom>
          <a:noFill/>
          <a:ln>
            <a:noFill/>
          </a:ln>
        </p:spPr>
      </p:pic>
      <p:pic>
        <p:nvPicPr>
          <p:cNvPr id="775" name="Google Shape;775;p5" descr="Apache HBase – Apache HBase™ Home"/>
          <p:cNvPicPr preferRelativeResize="0"/>
          <p:nvPr/>
        </p:nvPicPr>
        <p:blipFill rotWithShape="1">
          <a:blip r:embed="rId13">
            <a:alphaModFix/>
          </a:blip>
          <a:srcRect/>
          <a:stretch/>
        </p:blipFill>
        <p:spPr>
          <a:xfrm>
            <a:off x="4902524" y="4670363"/>
            <a:ext cx="750127" cy="191523"/>
          </a:xfrm>
          <a:prstGeom prst="rect">
            <a:avLst/>
          </a:prstGeom>
          <a:noFill/>
          <a:ln>
            <a:noFill/>
          </a:ln>
        </p:spPr>
      </p:pic>
      <p:pic>
        <p:nvPicPr>
          <p:cNvPr id="776" name="Google Shape;776;p5"/>
          <p:cNvPicPr preferRelativeResize="0"/>
          <p:nvPr/>
        </p:nvPicPr>
        <p:blipFill rotWithShape="1">
          <a:blip r:embed="rId14">
            <a:alphaModFix/>
          </a:blip>
          <a:srcRect/>
          <a:stretch/>
        </p:blipFill>
        <p:spPr>
          <a:xfrm>
            <a:off x="4456007" y="4611201"/>
            <a:ext cx="281980" cy="284793"/>
          </a:xfrm>
          <a:prstGeom prst="rect">
            <a:avLst/>
          </a:prstGeom>
          <a:noFill/>
          <a:ln>
            <a:noFill/>
          </a:ln>
        </p:spPr>
      </p:pic>
      <p:pic>
        <p:nvPicPr>
          <p:cNvPr id="777" name="Google Shape;777;p5"/>
          <p:cNvPicPr preferRelativeResize="0"/>
          <p:nvPr/>
        </p:nvPicPr>
        <p:blipFill rotWithShape="1">
          <a:blip r:embed="rId15">
            <a:alphaModFix/>
          </a:blip>
          <a:srcRect/>
          <a:stretch/>
        </p:blipFill>
        <p:spPr>
          <a:xfrm>
            <a:off x="4785510" y="5295397"/>
            <a:ext cx="856764" cy="230999"/>
          </a:xfrm>
          <a:prstGeom prst="rect">
            <a:avLst/>
          </a:prstGeom>
          <a:noFill/>
          <a:ln>
            <a:noFill/>
          </a:ln>
        </p:spPr>
      </p:pic>
      <p:pic>
        <p:nvPicPr>
          <p:cNvPr id="778" name="Google Shape;778;p5" descr="MQTT to Cassandra in Real-Time"/>
          <p:cNvPicPr preferRelativeResize="0"/>
          <p:nvPr/>
        </p:nvPicPr>
        <p:blipFill rotWithShape="1">
          <a:blip r:embed="rId16">
            <a:alphaModFix/>
          </a:blip>
          <a:srcRect/>
          <a:stretch/>
        </p:blipFill>
        <p:spPr>
          <a:xfrm>
            <a:off x="5133928" y="4950032"/>
            <a:ext cx="459927" cy="344706"/>
          </a:xfrm>
          <a:prstGeom prst="rect">
            <a:avLst/>
          </a:prstGeom>
          <a:noFill/>
          <a:ln>
            <a:noFill/>
          </a:ln>
        </p:spPr>
      </p:pic>
      <p:pic>
        <p:nvPicPr>
          <p:cNvPr id="779" name="Google Shape;779;p5"/>
          <p:cNvPicPr preferRelativeResize="0"/>
          <p:nvPr/>
        </p:nvPicPr>
        <p:blipFill rotWithShape="1">
          <a:blip r:embed="rId17">
            <a:alphaModFix/>
          </a:blip>
          <a:srcRect/>
          <a:stretch/>
        </p:blipFill>
        <p:spPr>
          <a:xfrm>
            <a:off x="6190758" y="1777260"/>
            <a:ext cx="506188" cy="262797"/>
          </a:xfrm>
          <a:prstGeom prst="rect">
            <a:avLst/>
          </a:prstGeom>
          <a:noFill/>
          <a:ln>
            <a:noFill/>
          </a:ln>
        </p:spPr>
      </p:pic>
      <p:pic>
        <p:nvPicPr>
          <p:cNvPr id="780" name="Google Shape;780;p5"/>
          <p:cNvPicPr preferRelativeResize="0"/>
          <p:nvPr/>
        </p:nvPicPr>
        <p:blipFill rotWithShape="1">
          <a:blip r:embed="rId18">
            <a:alphaModFix/>
          </a:blip>
          <a:srcRect/>
          <a:stretch/>
        </p:blipFill>
        <p:spPr>
          <a:xfrm>
            <a:off x="6725605" y="2255630"/>
            <a:ext cx="862910" cy="223311"/>
          </a:xfrm>
          <a:prstGeom prst="rect">
            <a:avLst/>
          </a:prstGeom>
          <a:noFill/>
          <a:ln>
            <a:noFill/>
          </a:ln>
        </p:spPr>
      </p:pic>
      <p:pic>
        <p:nvPicPr>
          <p:cNvPr id="781" name="Google Shape;781;p5" descr="Logo, company name&#10;&#10;Description automatically generated"/>
          <p:cNvPicPr preferRelativeResize="0"/>
          <p:nvPr/>
        </p:nvPicPr>
        <p:blipFill rotWithShape="1">
          <a:blip r:embed="rId19">
            <a:alphaModFix/>
          </a:blip>
          <a:srcRect/>
          <a:stretch/>
        </p:blipFill>
        <p:spPr>
          <a:xfrm>
            <a:off x="7108689" y="1736796"/>
            <a:ext cx="838793" cy="418479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782" name="Google Shape;782;p5"/>
          <p:cNvCxnSpPr/>
          <p:nvPr/>
        </p:nvCxnSpPr>
        <p:spPr>
          <a:xfrm rot="10800000">
            <a:off x="992945" y="2022256"/>
            <a:ext cx="2164500" cy="508500"/>
          </a:xfrm>
          <a:prstGeom prst="bentConnector3">
            <a:avLst>
              <a:gd name="adj1" fmla="val 18572"/>
            </a:avLst>
          </a:prstGeom>
          <a:noFill/>
          <a:ln w="12700" cap="flat" cmpd="sng">
            <a:solidFill>
              <a:schemeClr val="dk1"/>
            </a:solidFill>
            <a:prstDash val="dash"/>
            <a:round/>
            <a:headEnd type="none" w="sm" len="sm"/>
            <a:tailEnd type="none" w="sm" len="sm"/>
          </a:ln>
        </p:spPr>
      </p:cxnSp>
      <p:pic>
        <p:nvPicPr>
          <p:cNvPr id="783" name="Google Shape;783;p5"/>
          <p:cNvPicPr preferRelativeResize="0"/>
          <p:nvPr/>
        </p:nvPicPr>
        <p:blipFill rotWithShape="1">
          <a:blip r:embed="rId20">
            <a:alphaModFix/>
          </a:blip>
          <a:srcRect/>
          <a:stretch/>
        </p:blipFill>
        <p:spPr>
          <a:xfrm>
            <a:off x="4630887" y="2732082"/>
            <a:ext cx="590440" cy="332130"/>
          </a:xfrm>
          <a:prstGeom prst="rect">
            <a:avLst/>
          </a:prstGeom>
          <a:noFill/>
          <a:ln>
            <a:noFill/>
          </a:ln>
        </p:spPr>
      </p:pic>
      <p:pic>
        <p:nvPicPr>
          <p:cNvPr id="784" name="Google Shape;784;p5"/>
          <p:cNvPicPr preferRelativeResize="0"/>
          <p:nvPr/>
        </p:nvPicPr>
        <p:blipFill rotWithShape="1">
          <a:blip r:embed="rId21">
            <a:alphaModFix/>
          </a:blip>
          <a:srcRect/>
          <a:stretch/>
        </p:blipFill>
        <p:spPr>
          <a:xfrm>
            <a:off x="4962896" y="3237622"/>
            <a:ext cx="772345" cy="482716"/>
          </a:xfrm>
          <a:prstGeom prst="rect">
            <a:avLst/>
          </a:prstGeom>
          <a:noFill/>
          <a:ln>
            <a:noFill/>
          </a:ln>
        </p:spPr>
      </p:pic>
      <p:pic>
        <p:nvPicPr>
          <p:cNvPr id="785" name="Google Shape;785;p5"/>
          <p:cNvPicPr preferRelativeResize="0"/>
          <p:nvPr/>
        </p:nvPicPr>
        <p:blipFill rotWithShape="1">
          <a:blip r:embed="rId22">
            <a:alphaModFix/>
          </a:blip>
          <a:srcRect/>
          <a:stretch/>
        </p:blipFill>
        <p:spPr>
          <a:xfrm>
            <a:off x="4468850" y="3157423"/>
            <a:ext cx="530299" cy="153293"/>
          </a:xfrm>
          <a:prstGeom prst="rect">
            <a:avLst/>
          </a:prstGeom>
          <a:noFill/>
          <a:ln>
            <a:noFill/>
          </a:ln>
        </p:spPr>
      </p:pic>
      <p:pic>
        <p:nvPicPr>
          <p:cNvPr id="786" name="Google Shape;786;p5"/>
          <p:cNvPicPr preferRelativeResize="0"/>
          <p:nvPr/>
        </p:nvPicPr>
        <p:blipFill rotWithShape="1">
          <a:blip r:embed="rId23">
            <a:alphaModFix/>
          </a:blip>
          <a:srcRect/>
          <a:stretch/>
        </p:blipFill>
        <p:spPr>
          <a:xfrm>
            <a:off x="5196887" y="3104726"/>
            <a:ext cx="777318" cy="200115"/>
          </a:xfrm>
          <a:prstGeom prst="rect">
            <a:avLst/>
          </a:prstGeom>
          <a:noFill/>
          <a:ln>
            <a:noFill/>
          </a:ln>
        </p:spPr>
      </p:pic>
      <p:pic>
        <p:nvPicPr>
          <p:cNvPr id="787" name="Google Shape;787;p5"/>
          <p:cNvPicPr preferRelativeResize="0"/>
          <p:nvPr/>
        </p:nvPicPr>
        <p:blipFill rotWithShape="1">
          <a:blip r:embed="rId24">
            <a:alphaModFix/>
          </a:blip>
          <a:srcRect/>
          <a:stretch/>
        </p:blipFill>
        <p:spPr>
          <a:xfrm>
            <a:off x="5884975" y="3328375"/>
            <a:ext cx="342215" cy="204861"/>
          </a:xfrm>
          <a:prstGeom prst="rect">
            <a:avLst/>
          </a:prstGeom>
          <a:noFill/>
          <a:ln>
            <a:noFill/>
          </a:ln>
        </p:spPr>
      </p:pic>
      <p:pic>
        <p:nvPicPr>
          <p:cNvPr id="788" name="Google Shape;788;p5"/>
          <p:cNvPicPr preferRelativeResize="0"/>
          <p:nvPr/>
        </p:nvPicPr>
        <p:blipFill rotWithShape="1">
          <a:blip r:embed="rId25">
            <a:alphaModFix/>
          </a:blip>
          <a:srcRect/>
          <a:stretch/>
        </p:blipFill>
        <p:spPr>
          <a:xfrm>
            <a:off x="4400614" y="1944624"/>
            <a:ext cx="786049" cy="442159"/>
          </a:xfrm>
          <a:prstGeom prst="rect">
            <a:avLst/>
          </a:prstGeom>
          <a:noFill/>
          <a:ln>
            <a:noFill/>
          </a:ln>
        </p:spPr>
      </p:pic>
      <p:pic>
        <p:nvPicPr>
          <p:cNvPr id="789" name="Google Shape;789;p5"/>
          <p:cNvPicPr preferRelativeResize="0"/>
          <p:nvPr/>
        </p:nvPicPr>
        <p:blipFill rotWithShape="1">
          <a:blip r:embed="rId26">
            <a:alphaModFix/>
          </a:blip>
          <a:srcRect/>
          <a:stretch/>
        </p:blipFill>
        <p:spPr>
          <a:xfrm>
            <a:off x="5075511" y="2311779"/>
            <a:ext cx="451492" cy="300921"/>
          </a:xfrm>
          <a:prstGeom prst="rect">
            <a:avLst/>
          </a:prstGeom>
          <a:noFill/>
          <a:ln>
            <a:noFill/>
          </a:ln>
        </p:spPr>
      </p:pic>
      <p:pic>
        <p:nvPicPr>
          <p:cNvPr id="790" name="Google Shape;790;p5"/>
          <p:cNvPicPr preferRelativeResize="0"/>
          <p:nvPr/>
        </p:nvPicPr>
        <p:blipFill rotWithShape="1">
          <a:blip r:embed="rId27">
            <a:alphaModFix/>
          </a:blip>
          <a:srcRect/>
          <a:stretch/>
        </p:blipFill>
        <p:spPr>
          <a:xfrm>
            <a:off x="4363267" y="2345843"/>
            <a:ext cx="611249" cy="247127"/>
          </a:xfrm>
          <a:prstGeom prst="rect">
            <a:avLst/>
          </a:prstGeom>
          <a:noFill/>
          <a:ln>
            <a:noFill/>
          </a:ln>
        </p:spPr>
      </p:pic>
      <p:pic>
        <p:nvPicPr>
          <p:cNvPr id="791" name="Google Shape;791;p5"/>
          <p:cNvPicPr preferRelativeResize="0"/>
          <p:nvPr/>
        </p:nvPicPr>
        <p:blipFill rotWithShape="1">
          <a:blip r:embed="rId28">
            <a:alphaModFix/>
          </a:blip>
          <a:srcRect/>
          <a:stretch/>
        </p:blipFill>
        <p:spPr>
          <a:xfrm>
            <a:off x="5216735" y="1833547"/>
            <a:ext cx="605306" cy="272508"/>
          </a:xfrm>
          <a:prstGeom prst="rect">
            <a:avLst/>
          </a:prstGeom>
          <a:noFill/>
          <a:ln>
            <a:noFill/>
          </a:ln>
        </p:spPr>
      </p:pic>
      <p:pic>
        <p:nvPicPr>
          <p:cNvPr id="792" name="Google Shape;792;p5"/>
          <p:cNvPicPr preferRelativeResize="0"/>
          <p:nvPr/>
        </p:nvPicPr>
        <p:blipFill rotWithShape="1">
          <a:blip r:embed="rId29">
            <a:alphaModFix/>
          </a:blip>
          <a:srcRect/>
          <a:stretch/>
        </p:blipFill>
        <p:spPr>
          <a:xfrm>
            <a:off x="5575940" y="2052899"/>
            <a:ext cx="940373" cy="642834"/>
          </a:xfrm>
          <a:prstGeom prst="rect">
            <a:avLst/>
          </a:prstGeom>
          <a:noFill/>
          <a:ln>
            <a:noFill/>
          </a:ln>
        </p:spPr>
      </p:pic>
      <p:pic>
        <p:nvPicPr>
          <p:cNvPr id="793" name="Google Shape;793;p5"/>
          <p:cNvPicPr preferRelativeResize="0"/>
          <p:nvPr/>
        </p:nvPicPr>
        <p:blipFill rotWithShape="1">
          <a:blip r:embed="rId30">
            <a:alphaModFix/>
          </a:blip>
          <a:srcRect/>
          <a:stretch/>
        </p:blipFill>
        <p:spPr>
          <a:xfrm>
            <a:off x="5875950" y="2711750"/>
            <a:ext cx="314808" cy="243945"/>
          </a:xfrm>
          <a:prstGeom prst="rect">
            <a:avLst/>
          </a:prstGeom>
          <a:noFill/>
          <a:ln>
            <a:noFill/>
          </a:ln>
        </p:spPr>
      </p:pic>
      <p:pic>
        <p:nvPicPr>
          <p:cNvPr id="794" name="Google Shape;794;p5" descr="Brand Assets - Prefect"/>
          <p:cNvPicPr preferRelativeResize="0"/>
          <p:nvPr/>
        </p:nvPicPr>
        <p:blipFill rotWithShape="1">
          <a:blip r:embed="rId31">
            <a:alphaModFix/>
          </a:blip>
          <a:srcRect/>
          <a:stretch/>
        </p:blipFill>
        <p:spPr>
          <a:xfrm>
            <a:off x="5089357" y="4276795"/>
            <a:ext cx="581819" cy="148917"/>
          </a:xfrm>
          <a:prstGeom prst="rect">
            <a:avLst/>
          </a:prstGeom>
          <a:noFill/>
          <a:ln>
            <a:noFill/>
          </a:ln>
        </p:spPr>
      </p:pic>
      <p:pic>
        <p:nvPicPr>
          <p:cNvPr id="795" name="Google Shape;795;p5" descr="Kubeflow logo? · Issue #187 · kubeflow/kubeflow · GitHub"/>
          <p:cNvPicPr preferRelativeResize="0"/>
          <p:nvPr/>
        </p:nvPicPr>
        <p:blipFill rotWithShape="1">
          <a:blip r:embed="rId32">
            <a:alphaModFix/>
          </a:blip>
          <a:srcRect/>
          <a:stretch/>
        </p:blipFill>
        <p:spPr>
          <a:xfrm>
            <a:off x="4477535" y="3962835"/>
            <a:ext cx="503600" cy="503600"/>
          </a:xfrm>
          <a:prstGeom prst="rect">
            <a:avLst/>
          </a:prstGeom>
          <a:noFill/>
          <a:ln>
            <a:noFill/>
          </a:ln>
        </p:spPr>
      </p:pic>
      <p:pic>
        <p:nvPicPr>
          <p:cNvPr id="796" name="Google Shape;796;p5" descr="GitHub - Netflix/metaflow: Build and manage real-life data science projects  with ease!"/>
          <p:cNvPicPr preferRelativeResize="0"/>
          <p:nvPr/>
        </p:nvPicPr>
        <p:blipFill rotWithShape="1">
          <a:blip r:embed="rId33">
            <a:alphaModFix/>
          </a:blip>
          <a:srcRect/>
          <a:stretch/>
        </p:blipFill>
        <p:spPr>
          <a:xfrm>
            <a:off x="4231232" y="3717066"/>
            <a:ext cx="735811" cy="367906"/>
          </a:xfrm>
          <a:prstGeom prst="rect">
            <a:avLst/>
          </a:prstGeom>
          <a:noFill/>
          <a:ln>
            <a:noFill/>
          </a:ln>
        </p:spPr>
      </p:pic>
      <p:pic>
        <p:nvPicPr>
          <p:cNvPr id="797" name="Google Shape;797;p5" descr="Managed MLflow – Databricks"/>
          <p:cNvPicPr preferRelativeResize="0"/>
          <p:nvPr/>
        </p:nvPicPr>
        <p:blipFill rotWithShape="1">
          <a:blip r:embed="rId34">
            <a:alphaModFix/>
          </a:blip>
          <a:srcRect/>
          <a:stretch/>
        </p:blipFill>
        <p:spPr>
          <a:xfrm>
            <a:off x="5075923" y="3874231"/>
            <a:ext cx="558784" cy="215894"/>
          </a:xfrm>
          <a:prstGeom prst="rect">
            <a:avLst/>
          </a:prstGeom>
          <a:noFill/>
          <a:ln>
            <a:noFill/>
          </a:ln>
        </p:spPr>
      </p:pic>
      <p:pic>
        <p:nvPicPr>
          <p:cNvPr id="798" name="Google Shape;798;p5" descr="Text&#10;&#10;Description automatically generated with medium confidence"/>
          <p:cNvPicPr preferRelativeResize="0"/>
          <p:nvPr/>
        </p:nvPicPr>
        <p:blipFill rotWithShape="1">
          <a:blip r:embed="rId35">
            <a:alphaModFix/>
          </a:blip>
          <a:srcRect/>
          <a:stretch/>
        </p:blipFill>
        <p:spPr>
          <a:xfrm>
            <a:off x="4130636" y="3506080"/>
            <a:ext cx="607423" cy="302092"/>
          </a:xfrm>
          <a:prstGeom prst="rect">
            <a:avLst/>
          </a:prstGeom>
          <a:noFill/>
          <a:ln>
            <a:noFill/>
          </a:ln>
        </p:spPr>
      </p:pic>
      <p:pic>
        <p:nvPicPr>
          <p:cNvPr id="799" name="Google Shape;799;p5"/>
          <p:cNvPicPr preferRelativeResize="0"/>
          <p:nvPr/>
        </p:nvPicPr>
        <p:blipFill rotWithShape="1">
          <a:blip r:embed="rId36">
            <a:alphaModFix/>
          </a:blip>
          <a:srcRect/>
          <a:stretch/>
        </p:blipFill>
        <p:spPr>
          <a:xfrm>
            <a:off x="3491540" y="4324741"/>
            <a:ext cx="779196" cy="204564"/>
          </a:xfrm>
          <a:prstGeom prst="rect">
            <a:avLst/>
          </a:prstGeom>
          <a:noFill/>
          <a:ln>
            <a:noFill/>
          </a:ln>
        </p:spPr>
      </p:pic>
      <p:pic>
        <p:nvPicPr>
          <p:cNvPr id="800" name="Google Shape;800;p5"/>
          <p:cNvPicPr preferRelativeResize="0"/>
          <p:nvPr/>
        </p:nvPicPr>
        <p:blipFill rotWithShape="1">
          <a:blip r:embed="rId37">
            <a:alphaModFix/>
          </a:blip>
          <a:srcRect/>
          <a:stretch/>
        </p:blipFill>
        <p:spPr>
          <a:xfrm>
            <a:off x="3369468" y="4791221"/>
            <a:ext cx="761175" cy="189547"/>
          </a:xfrm>
          <a:prstGeom prst="rect">
            <a:avLst/>
          </a:prstGeom>
          <a:noFill/>
          <a:ln>
            <a:noFill/>
          </a:ln>
        </p:spPr>
      </p:pic>
      <p:pic>
        <p:nvPicPr>
          <p:cNvPr id="801" name="Google Shape;801;p5" descr="How to read REST API in Pentaho Kettle | ZappySys Blog"/>
          <p:cNvPicPr preferRelativeResize="0"/>
          <p:nvPr/>
        </p:nvPicPr>
        <p:blipFill rotWithShape="1">
          <a:blip r:embed="rId38">
            <a:alphaModFix/>
          </a:blip>
          <a:srcRect/>
          <a:stretch/>
        </p:blipFill>
        <p:spPr>
          <a:xfrm>
            <a:off x="3314061" y="4305005"/>
            <a:ext cx="643459" cy="678346"/>
          </a:xfrm>
          <a:prstGeom prst="rect">
            <a:avLst/>
          </a:prstGeom>
          <a:noFill/>
          <a:ln>
            <a:noFill/>
          </a:ln>
        </p:spPr>
      </p:pic>
      <p:pic>
        <p:nvPicPr>
          <p:cNvPr id="802" name="Google Shape;802;p5" descr="Cascading 2.7 User Guide"/>
          <p:cNvPicPr preferRelativeResize="0"/>
          <p:nvPr/>
        </p:nvPicPr>
        <p:blipFill rotWithShape="1">
          <a:blip r:embed="rId39">
            <a:alphaModFix/>
          </a:blip>
          <a:srcRect/>
          <a:stretch/>
        </p:blipFill>
        <p:spPr>
          <a:xfrm>
            <a:off x="3537287" y="5007463"/>
            <a:ext cx="575269" cy="533301"/>
          </a:xfrm>
          <a:prstGeom prst="rect">
            <a:avLst/>
          </a:prstGeom>
          <a:noFill/>
          <a:ln>
            <a:noFill/>
          </a:ln>
        </p:spPr>
      </p:pic>
      <p:pic>
        <p:nvPicPr>
          <p:cNvPr id="803" name="Google Shape;803;p5" descr="Spark Streaming (procesamiento por lotes y tiempo real) - Diego Calvo"/>
          <p:cNvPicPr preferRelativeResize="0"/>
          <p:nvPr/>
        </p:nvPicPr>
        <p:blipFill rotWithShape="1">
          <a:blip r:embed="rId40">
            <a:alphaModFix/>
          </a:blip>
          <a:srcRect/>
          <a:stretch/>
        </p:blipFill>
        <p:spPr>
          <a:xfrm>
            <a:off x="8194914" y="4404793"/>
            <a:ext cx="718033" cy="452913"/>
          </a:xfrm>
          <a:prstGeom prst="rect">
            <a:avLst/>
          </a:prstGeom>
          <a:noFill/>
          <a:ln>
            <a:noFill/>
          </a:ln>
        </p:spPr>
      </p:pic>
      <p:pic>
        <p:nvPicPr>
          <p:cNvPr id="804" name="Google Shape;804;p5"/>
          <p:cNvPicPr preferRelativeResize="0"/>
          <p:nvPr/>
        </p:nvPicPr>
        <p:blipFill rotWithShape="1">
          <a:blip r:embed="rId41">
            <a:alphaModFix/>
          </a:blip>
          <a:srcRect/>
          <a:stretch/>
        </p:blipFill>
        <p:spPr>
          <a:xfrm>
            <a:off x="9468768" y="4542214"/>
            <a:ext cx="577143" cy="210656"/>
          </a:xfrm>
          <a:prstGeom prst="rect">
            <a:avLst/>
          </a:prstGeom>
          <a:noFill/>
          <a:ln>
            <a:noFill/>
          </a:ln>
        </p:spPr>
      </p:pic>
      <p:pic>
        <p:nvPicPr>
          <p:cNvPr id="805" name="Google Shape;805;p5" descr="GitHub - OryxProject/oryx: Oryx 2: Lambda architecture on Apache Spark,  Apache Kafka for real-time large scale machine learning"/>
          <p:cNvPicPr preferRelativeResize="0"/>
          <p:nvPr/>
        </p:nvPicPr>
        <p:blipFill rotWithShape="1">
          <a:blip r:embed="rId42">
            <a:alphaModFix/>
          </a:blip>
          <a:srcRect/>
          <a:stretch/>
        </p:blipFill>
        <p:spPr>
          <a:xfrm>
            <a:off x="8999726" y="4448400"/>
            <a:ext cx="340703" cy="340703"/>
          </a:xfrm>
          <a:prstGeom prst="rect">
            <a:avLst/>
          </a:prstGeom>
          <a:noFill/>
          <a:ln>
            <a:noFill/>
          </a:ln>
        </p:spPr>
      </p:pic>
      <p:pic>
        <p:nvPicPr>
          <p:cNvPr id="806" name="Google Shape;806;p5"/>
          <p:cNvPicPr preferRelativeResize="0"/>
          <p:nvPr/>
        </p:nvPicPr>
        <p:blipFill rotWithShape="1">
          <a:blip r:embed="rId43">
            <a:alphaModFix/>
          </a:blip>
          <a:srcRect/>
          <a:stretch/>
        </p:blipFill>
        <p:spPr>
          <a:xfrm>
            <a:off x="8292047" y="4882281"/>
            <a:ext cx="453861" cy="226931"/>
          </a:xfrm>
          <a:prstGeom prst="rect">
            <a:avLst/>
          </a:prstGeom>
          <a:noFill/>
          <a:ln>
            <a:noFill/>
          </a:ln>
        </p:spPr>
      </p:pic>
      <p:pic>
        <p:nvPicPr>
          <p:cNvPr id="807" name="Google Shape;807;p5"/>
          <p:cNvPicPr preferRelativeResize="0"/>
          <p:nvPr/>
        </p:nvPicPr>
        <p:blipFill rotWithShape="1">
          <a:blip r:embed="rId44">
            <a:alphaModFix/>
          </a:blip>
          <a:srcRect/>
          <a:stretch/>
        </p:blipFill>
        <p:spPr>
          <a:xfrm>
            <a:off x="8883372" y="4882281"/>
            <a:ext cx="494486" cy="208782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808" name="Google Shape;808;p5"/>
          <p:cNvGrpSpPr/>
          <p:nvPr/>
        </p:nvGrpSpPr>
        <p:grpSpPr>
          <a:xfrm>
            <a:off x="9233706" y="4089334"/>
            <a:ext cx="592381" cy="290405"/>
            <a:chOff x="4402524" y="4121762"/>
            <a:chExt cx="384498" cy="188494"/>
          </a:xfrm>
        </p:grpSpPr>
        <p:pic>
          <p:nvPicPr>
            <p:cNvPr id="809" name="Google Shape;809;p5"/>
            <p:cNvPicPr preferRelativeResize="0"/>
            <p:nvPr/>
          </p:nvPicPr>
          <p:blipFill rotWithShape="1">
            <a:blip r:embed="rId45">
              <a:alphaModFix/>
            </a:blip>
            <a:srcRect r="49237"/>
            <a:stretch/>
          </p:blipFill>
          <p:spPr>
            <a:xfrm>
              <a:off x="4402524" y="4121762"/>
              <a:ext cx="195180" cy="188494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810" name="Google Shape;810;p5"/>
            <p:cNvPicPr preferRelativeResize="0"/>
            <p:nvPr/>
          </p:nvPicPr>
          <p:blipFill rotWithShape="1">
            <a:blip r:embed="rId46">
              <a:alphaModFix/>
            </a:blip>
            <a:srcRect l="49237"/>
            <a:stretch/>
          </p:blipFill>
          <p:spPr>
            <a:xfrm>
              <a:off x="4591842" y="4121762"/>
              <a:ext cx="195180" cy="188494"/>
            </a:xfrm>
            <a:prstGeom prst="rect">
              <a:avLst/>
            </a:prstGeom>
            <a:noFill/>
            <a:ln>
              <a:noFill/>
            </a:ln>
          </p:spPr>
        </p:pic>
      </p:grpSp>
      <p:pic>
        <p:nvPicPr>
          <p:cNvPr id="811" name="Google Shape;811;p5"/>
          <p:cNvPicPr preferRelativeResize="0"/>
          <p:nvPr/>
        </p:nvPicPr>
        <p:blipFill rotWithShape="1">
          <a:blip r:embed="rId47">
            <a:alphaModFix/>
          </a:blip>
          <a:srcRect/>
          <a:stretch/>
        </p:blipFill>
        <p:spPr>
          <a:xfrm>
            <a:off x="7781400" y="4097464"/>
            <a:ext cx="1371521" cy="358661"/>
          </a:xfrm>
          <a:prstGeom prst="rect">
            <a:avLst/>
          </a:prstGeom>
          <a:noFill/>
          <a:ln>
            <a:noFill/>
          </a:ln>
        </p:spPr>
      </p:pic>
      <p:pic>
        <p:nvPicPr>
          <p:cNvPr id="812" name="Google Shape;812;p5"/>
          <p:cNvPicPr preferRelativeResize="0"/>
          <p:nvPr/>
        </p:nvPicPr>
        <p:blipFill rotWithShape="1">
          <a:blip r:embed="rId48">
            <a:alphaModFix/>
          </a:blip>
          <a:srcRect/>
          <a:stretch/>
        </p:blipFill>
        <p:spPr>
          <a:xfrm>
            <a:off x="2862821" y="3470618"/>
            <a:ext cx="205415" cy="194983"/>
          </a:xfrm>
          <a:prstGeom prst="rect">
            <a:avLst/>
          </a:prstGeom>
          <a:noFill/>
          <a:ln>
            <a:noFill/>
          </a:ln>
        </p:spPr>
      </p:pic>
      <p:pic>
        <p:nvPicPr>
          <p:cNvPr id="813" name="Google Shape;813;p5"/>
          <p:cNvPicPr preferRelativeResize="0"/>
          <p:nvPr/>
        </p:nvPicPr>
        <p:blipFill rotWithShape="1">
          <a:blip r:embed="rId49">
            <a:alphaModFix/>
          </a:blip>
          <a:srcRect/>
          <a:stretch/>
        </p:blipFill>
        <p:spPr>
          <a:xfrm>
            <a:off x="2364426" y="3165598"/>
            <a:ext cx="890500" cy="296833"/>
          </a:xfrm>
          <a:prstGeom prst="rect">
            <a:avLst/>
          </a:prstGeom>
          <a:noFill/>
          <a:ln>
            <a:noFill/>
          </a:ln>
        </p:spPr>
      </p:pic>
      <p:pic>
        <p:nvPicPr>
          <p:cNvPr id="814" name="Google Shape;814;p5"/>
          <p:cNvPicPr preferRelativeResize="0"/>
          <p:nvPr/>
        </p:nvPicPr>
        <p:blipFill rotWithShape="1">
          <a:blip r:embed="rId50">
            <a:alphaModFix/>
          </a:blip>
          <a:srcRect/>
          <a:stretch/>
        </p:blipFill>
        <p:spPr>
          <a:xfrm>
            <a:off x="1963201" y="3208795"/>
            <a:ext cx="446786" cy="174529"/>
          </a:xfrm>
          <a:prstGeom prst="rect">
            <a:avLst/>
          </a:prstGeom>
          <a:noFill/>
          <a:ln>
            <a:noFill/>
          </a:ln>
        </p:spPr>
      </p:pic>
      <p:pic>
        <p:nvPicPr>
          <p:cNvPr id="815" name="Google Shape;815;p5"/>
          <p:cNvPicPr preferRelativeResize="0"/>
          <p:nvPr/>
        </p:nvPicPr>
        <p:blipFill rotWithShape="1">
          <a:blip r:embed="rId51">
            <a:alphaModFix/>
          </a:blip>
          <a:srcRect/>
          <a:stretch/>
        </p:blipFill>
        <p:spPr>
          <a:xfrm>
            <a:off x="1958779" y="3469772"/>
            <a:ext cx="684297" cy="181433"/>
          </a:xfrm>
          <a:prstGeom prst="rect">
            <a:avLst/>
          </a:prstGeom>
          <a:noFill/>
          <a:ln>
            <a:noFill/>
          </a:ln>
        </p:spPr>
      </p:pic>
      <p:pic>
        <p:nvPicPr>
          <p:cNvPr id="816" name="Google Shape;816;p5"/>
          <p:cNvPicPr preferRelativeResize="0"/>
          <p:nvPr/>
        </p:nvPicPr>
        <p:blipFill rotWithShape="1">
          <a:blip r:embed="rId52">
            <a:alphaModFix/>
          </a:blip>
          <a:srcRect/>
          <a:stretch/>
        </p:blipFill>
        <p:spPr>
          <a:xfrm>
            <a:off x="3527193" y="3198629"/>
            <a:ext cx="643105" cy="184495"/>
          </a:xfrm>
          <a:prstGeom prst="rect">
            <a:avLst/>
          </a:prstGeom>
          <a:noFill/>
          <a:ln>
            <a:noFill/>
          </a:ln>
        </p:spPr>
      </p:pic>
      <p:pic>
        <p:nvPicPr>
          <p:cNvPr id="817" name="Google Shape;817;p5"/>
          <p:cNvPicPr preferRelativeResize="0"/>
          <p:nvPr/>
        </p:nvPicPr>
        <p:blipFill rotWithShape="1">
          <a:blip r:embed="rId53">
            <a:alphaModFix/>
          </a:blip>
          <a:srcRect/>
          <a:stretch/>
        </p:blipFill>
        <p:spPr>
          <a:xfrm>
            <a:off x="3186507" y="3407739"/>
            <a:ext cx="793734" cy="164328"/>
          </a:xfrm>
          <a:prstGeom prst="rect">
            <a:avLst/>
          </a:prstGeom>
          <a:noFill/>
          <a:ln>
            <a:noFill/>
          </a:ln>
        </p:spPr>
      </p:pic>
      <p:pic>
        <p:nvPicPr>
          <p:cNvPr id="818" name="Google Shape;818;p5" descr="Shiny: la forma de crear un dashboard interactivo en R"/>
          <p:cNvPicPr preferRelativeResize="0"/>
          <p:nvPr/>
        </p:nvPicPr>
        <p:blipFill rotWithShape="1">
          <a:blip r:embed="rId54">
            <a:alphaModFix/>
          </a:blip>
          <a:srcRect/>
          <a:stretch/>
        </p:blipFill>
        <p:spPr>
          <a:xfrm>
            <a:off x="3369394" y="3624310"/>
            <a:ext cx="1012946" cy="487628"/>
          </a:xfrm>
          <a:prstGeom prst="rect">
            <a:avLst/>
          </a:prstGeom>
          <a:noFill/>
          <a:ln>
            <a:noFill/>
          </a:ln>
        </p:spPr>
      </p:pic>
      <p:pic>
        <p:nvPicPr>
          <p:cNvPr id="819" name="Google Shape;819;p5"/>
          <p:cNvPicPr preferRelativeResize="0"/>
          <p:nvPr/>
        </p:nvPicPr>
        <p:blipFill rotWithShape="1">
          <a:blip r:embed="rId55">
            <a:alphaModFix/>
          </a:blip>
          <a:srcRect/>
          <a:stretch/>
        </p:blipFill>
        <p:spPr>
          <a:xfrm>
            <a:off x="6456991" y="2749382"/>
            <a:ext cx="1281832" cy="227202"/>
          </a:xfrm>
          <a:prstGeom prst="rect">
            <a:avLst/>
          </a:prstGeom>
          <a:noFill/>
          <a:ln>
            <a:noFill/>
          </a:ln>
        </p:spPr>
      </p:pic>
      <p:pic>
        <p:nvPicPr>
          <p:cNvPr id="820" name="Google Shape;820;p5"/>
          <p:cNvPicPr preferRelativeResize="0"/>
          <p:nvPr/>
        </p:nvPicPr>
        <p:blipFill rotWithShape="1">
          <a:blip r:embed="rId56">
            <a:alphaModFix/>
          </a:blip>
          <a:srcRect/>
          <a:stretch/>
        </p:blipFill>
        <p:spPr>
          <a:xfrm>
            <a:off x="8256399" y="2452769"/>
            <a:ext cx="718813" cy="372458"/>
          </a:xfrm>
          <a:prstGeom prst="rect">
            <a:avLst/>
          </a:prstGeom>
          <a:noFill/>
          <a:ln>
            <a:noFill/>
          </a:ln>
        </p:spPr>
      </p:pic>
      <p:pic>
        <p:nvPicPr>
          <p:cNvPr id="821" name="Google Shape;821;p5"/>
          <p:cNvPicPr preferRelativeResize="0"/>
          <p:nvPr/>
        </p:nvPicPr>
        <p:blipFill rotWithShape="1">
          <a:blip r:embed="rId57">
            <a:alphaModFix/>
          </a:blip>
          <a:srcRect/>
          <a:stretch/>
        </p:blipFill>
        <p:spPr>
          <a:xfrm>
            <a:off x="7875022" y="2308986"/>
            <a:ext cx="707050" cy="129810"/>
          </a:xfrm>
          <a:prstGeom prst="rect">
            <a:avLst/>
          </a:prstGeom>
          <a:noFill/>
          <a:ln>
            <a:noFill/>
          </a:ln>
        </p:spPr>
      </p:pic>
      <p:pic>
        <p:nvPicPr>
          <p:cNvPr id="822" name="Google Shape;822;p5"/>
          <p:cNvPicPr preferRelativeResize="0"/>
          <p:nvPr/>
        </p:nvPicPr>
        <p:blipFill rotWithShape="1">
          <a:blip r:embed="rId58">
            <a:alphaModFix/>
          </a:blip>
          <a:srcRect/>
          <a:stretch/>
        </p:blipFill>
        <p:spPr>
          <a:xfrm>
            <a:off x="8116193" y="1768376"/>
            <a:ext cx="378390" cy="438618"/>
          </a:xfrm>
          <a:prstGeom prst="rect">
            <a:avLst/>
          </a:prstGeom>
          <a:noFill/>
          <a:ln>
            <a:noFill/>
          </a:ln>
        </p:spPr>
      </p:pic>
      <p:pic>
        <p:nvPicPr>
          <p:cNvPr id="823" name="Google Shape;823;p5"/>
          <p:cNvPicPr preferRelativeResize="0"/>
          <p:nvPr/>
        </p:nvPicPr>
        <p:blipFill rotWithShape="1">
          <a:blip r:embed="rId59">
            <a:alphaModFix/>
          </a:blip>
          <a:srcRect/>
          <a:stretch/>
        </p:blipFill>
        <p:spPr>
          <a:xfrm>
            <a:off x="6300994" y="3284808"/>
            <a:ext cx="911420" cy="455710"/>
          </a:xfrm>
          <a:prstGeom prst="rect">
            <a:avLst/>
          </a:prstGeom>
          <a:noFill/>
          <a:ln>
            <a:noFill/>
          </a:ln>
        </p:spPr>
      </p:pic>
      <p:pic>
        <p:nvPicPr>
          <p:cNvPr id="824" name="Google Shape;824;p5"/>
          <p:cNvPicPr preferRelativeResize="0"/>
          <p:nvPr/>
        </p:nvPicPr>
        <p:blipFill rotWithShape="1">
          <a:blip r:embed="rId60">
            <a:alphaModFix/>
          </a:blip>
          <a:srcRect/>
          <a:stretch/>
        </p:blipFill>
        <p:spPr>
          <a:xfrm>
            <a:off x="7239068" y="3164038"/>
            <a:ext cx="357264" cy="400835"/>
          </a:xfrm>
          <a:prstGeom prst="rect">
            <a:avLst/>
          </a:prstGeom>
          <a:noFill/>
          <a:ln>
            <a:noFill/>
          </a:ln>
        </p:spPr>
      </p:pic>
      <p:pic>
        <p:nvPicPr>
          <p:cNvPr id="825" name="Google Shape;825;p5" descr="Datalore Software - 2023 Reviews, Pricing &amp; Demo"/>
          <p:cNvPicPr preferRelativeResize="0"/>
          <p:nvPr/>
        </p:nvPicPr>
        <p:blipFill rotWithShape="1">
          <a:blip r:embed="rId61">
            <a:alphaModFix/>
          </a:blip>
          <a:srcRect/>
          <a:stretch/>
        </p:blipFill>
        <p:spPr>
          <a:xfrm>
            <a:off x="7690349" y="3166692"/>
            <a:ext cx="327233" cy="327233"/>
          </a:xfrm>
          <a:prstGeom prst="rect">
            <a:avLst/>
          </a:prstGeom>
          <a:noFill/>
          <a:ln>
            <a:noFill/>
          </a:ln>
        </p:spPr>
      </p:pic>
      <p:pic>
        <p:nvPicPr>
          <p:cNvPr id="826" name="Google Shape;826;p5" descr="Does anyone in here have a white logo for sublime? - General Discussion -  Sublime Forum"/>
          <p:cNvPicPr preferRelativeResize="0"/>
          <p:nvPr/>
        </p:nvPicPr>
        <p:blipFill rotWithShape="1">
          <a:blip r:embed="rId62">
            <a:alphaModFix/>
          </a:blip>
          <a:srcRect/>
          <a:stretch/>
        </p:blipFill>
        <p:spPr>
          <a:xfrm>
            <a:off x="8238802" y="3089759"/>
            <a:ext cx="337428" cy="337428"/>
          </a:xfrm>
          <a:prstGeom prst="rect">
            <a:avLst/>
          </a:prstGeom>
          <a:noFill/>
          <a:ln>
            <a:noFill/>
          </a:ln>
        </p:spPr>
      </p:pic>
      <p:pic>
        <p:nvPicPr>
          <p:cNvPr id="827" name="Google Shape;827;p5" descr="RStudio Logo Usage Guidelines - RStudio"/>
          <p:cNvPicPr preferRelativeResize="0"/>
          <p:nvPr/>
        </p:nvPicPr>
        <p:blipFill rotWithShape="1">
          <a:blip r:embed="rId63">
            <a:alphaModFix/>
          </a:blip>
          <a:srcRect/>
          <a:stretch/>
        </p:blipFill>
        <p:spPr>
          <a:xfrm>
            <a:off x="7909844" y="2797577"/>
            <a:ext cx="748899" cy="262797"/>
          </a:xfrm>
          <a:prstGeom prst="rect">
            <a:avLst/>
          </a:prstGeom>
          <a:noFill/>
          <a:ln>
            <a:noFill/>
          </a:ln>
        </p:spPr>
      </p:pic>
      <p:pic>
        <p:nvPicPr>
          <p:cNvPr id="828" name="Google Shape;828;p5"/>
          <p:cNvPicPr preferRelativeResize="0"/>
          <p:nvPr/>
        </p:nvPicPr>
        <p:blipFill rotWithShape="1">
          <a:blip r:embed="rId64">
            <a:alphaModFix/>
          </a:blip>
          <a:srcRect/>
          <a:stretch/>
        </p:blipFill>
        <p:spPr>
          <a:xfrm>
            <a:off x="6280188" y="3865851"/>
            <a:ext cx="698807" cy="167058"/>
          </a:xfrm>
          <a:prstGeom prst="rect">
            <a:avLst/>
          </a:prstGeom>
          <a:noFill/>
          <a:ln>
            <a:noFill/>
          </a:ln>
        </p:spPr>
      </p:pic>
      <p:pic>
        <p:nvPicPr>
          <p:cNvPr id="829" name="Google Shape;829;p5" descr="Microsoft Azure — Implement Blob Storage part one | by Mustafa Saeed |  Medium"/>
          <p:cNvPicPr preferRelativeResize="0"/>
          <p:nvPr/>
        </p:nvPicPr>
        <p:blipFill rotWithShape="1">
          <a:blip r:embed="rId65">
            <a:alphaModFix/>
          </a:blip>
          <a:srcRect/>
          <a:stretch/>
        </p:blipFill>
        <p:spPr>
          <a:xfrm>
            <a:off x="6599946" y="5124538"/>
            <a:ext cx="902772" cy="386901"/>
          </a:xfrm>
          <a:prstGeom prst="rect">
            <a:avLst/>
          </a:prstGeom>
          <a:noFill/>
          <a:ln>
            <a:noFill/>
          </a:ln>
        </p:spPr>
      </p:pic>
      <p:pic>
        <p:nvPicPr>
          <p:cNvPr id="830" name="Google Shape;830;p5"/>
          <p:cNvPicPr preferRelativeResize="0"/>
          <p:nvPr/>
        </p:nvPicPr>
        <p:blipFill rotWithShape="1">
          <a:blip r:embed="rId66">
            <a:alphaModFix/>
          </a:blip>
          <a:srcRect/>
          <a:stretch/>
        </p:blipFill>
        <p:spPr>
          <a:xfrm>
            <a:off x="6758734" y="4702964"/>
            <a:ext cx="496695" cy="231791"/>
          </a:xfrm>
          <a:prstGeom prst="rect">
            <a:avLst/>
          </a:prstGeom>
          <a:noFill/>
          <a:ln>
            <a:noFill/>
          </a:ln>
        </p:spPr>
      </p:pic>
      <p:pic>
        <p:nvPicPr>
          <p:cNvPr id="831" name="Google Shape;831;p5" descr="Alation - Wikipedia"/>
          <p:cNvPicPr preferRelativeResize="0"/>
          <p:nvPr/>
        </p:nvPicPr>
        <p:blipFill rotWithShape="1">
          <a:blip r:embed="rId67">
            <a:alphaModFix/>
          </a:blip>
          <a:srcRect/>
          <a:stretch/>
        </p:blipFill>
        <p:spPr>
          <a:xfrm>
            <a:off x="6549228" y="4952342"/>
            <a:ext cx="717075" cy="243435"/>
          </a:xfrm>
          <a:prstGeom prst="rect">
            <a:avLst/>
          </a:prstGeom>
          <a:noFill/>
          <a:ln>
            <a:noFill/>
          </a:ln>
        </p:spPr>
      </p:pic>
      <p:pic>
        <p:nvPicPr>
          <p:cNvPr id="832" name="Google Shape;832;p5"/>
          <p:cNvPicPr preferRelativeResize="0"/>
          <p:nvPr/>
        </p:nvPicPr>
        <p:blipFill rotWithShape="1">
          <a:blip r:embed="rId68">
            <a:alphaModFix/>
          </a:blip>
          <a:srcRect/>
          <a:stretch/>
        </p:blipFill>
        <p:spPr>
          <a:xfrm>
            <a:off x="7047728" y="3925788"/>
            <a:ext cx="332247" cy="298939"/>
          </a:xfrm>
          <a:prstGeom prst="rect">
            <a:avLst/>
          </a:prstGeom>
          <a:noFill/>
          <a:ln>
            <a:noFill/>
          </a:ln>
        </p:spPr>
      </p:pic>
      <p:pic>
        <p:nvPicPr>
          <p:cNvPr id="833" name="Google Shape;833;p5"/>
          <p:cNvPicPr preferRelativeResize="0"/>
          <p:nvPr/>
        </p:nvPicPr>
        <p:blipFill rotWithShape="1">
          <a:blip r:embed="rId69">
            <a:alphaModFix/>
          </a:blip>
          <a:srcRect/>
          <a:stretch/>
        </p:blipFill>
        <p:spPr>
          <a:xfrm>
            <a:off x="5781392" y="5306466"/>
            <a:ext cx="747851" cy="196051"/>
          </a:xfrm>
          <a:prstGeom prst="rect">
            <a:avLst/>
          </a:prstGeom>
          <a:noFill/>
          <a:ln>
            <a:noFill/>
          </a:ln>
        </p:spPr>
      </p:pic>
      <p:pic>
        <p:nvPicPr>
          <p:cNvPr id="834" name="Google Shape;834;p5"/>
          <p:cNvPicPr preferRelativeResize="0"/>
          <p:nvPr/>
        </p:nvPicPr>
        <p:blipFill rotWithShape="1">
          <a:blip r:embed="rId70">
            <a:alphaModFix/>
          </a:blip>
          <a:srcRect/>
          <a:stretch/>
        </p:blipFill>
        <p:spPr>
          <a:xfrm>
            <a:off x="6426525" y="4104854"/>
            <a:ext cx="604547" cy="164210"/>
          </a:xfrm>
          <a:prstGeom prst="rect">
            <a:avLst/>
          </a:prstGeom>
          <a:noFill/>
          <a:ln>
            <a:noFill/>
          </a:ln>
        </p:spPr>
      </p:pic>
      <p:pic>
        <p:nvPicPr>
          <p:cNvPr id="835" name="Google Shape;835;p5" descr="The data modeling platform for BigQuery"/>
          <p:cNvPicPr preferRelativeResize="0"/>
          <p:nvPr/>
        </p:nvPicPr>
        <p:blipFill rotWithShape="1">
          <a:blip r:embed="rId71">
            <a:alphaModFix/>
          </a:blip>
          <a:srcRect/>
          <a:stretch/>
        </p:blipFill>
        <p:spPr>
          <a:xfrm>
            <a:off x="5830614" y="4644499"/>
            <a:ext cx="595911" cy="203375"/>
          </a:xfrm>
          <a:prstGeom prst="rect">
            <a:avLst/>
          </a:prstGeom>
          <a:noFill/>
          <a:ln>
            <a:noFill/>
          </a:ln>
        </p:spPr>
      </p:pic>
      <p:pic>
        <p:nvPicPr>
          <p:cNvPr id="836" name="Google Shape;836;p5" descr="Google Cloud Platform Google Storage Cloud computing Google App Engine,  cloud computing, blue, angle png | PNGEgg"/>
          <p:cNvPicPr preferRelativeResize="0"/>
          <p:nvPr/>
        </p:nvPicPr>
        <p:blipFill rotWithShape="1">
          <a:blip r:embed="rId72">
            <a:alphaModFix/>
          </a:blip>
          <a:srcRect/>
          <a:stretch/>
        </p:blipFill>
        <p:spPr>
          <a:xfrm>
            <a:off x="6248425" y="4366797"/>
            <a:ext cx="235185" cy="209340"/>
          </a:xfrm>
          <a:prstGeom prst="rect">
            <a:avLst/>
          </a:prstGeom>
          <a:noFill/>
          <a:ln>
            <a:noFill/>
          </a:ln>
        </p:spPr>
      </p:pic>
      <p:pic>
        <p:nvPicPr>
          <p:cNvPr id="837" name="Google Shape;837;p5" descr="Impala ODBC and JDBC Drivers - Simba - insightsoftware"/>
          <p:cNvPicPr preferRelativeResize="0"/>
          <p:nvPr/>
        </p:nvPicPr>
        <p:blipFill rotWithShape="1">
          <a:blip r:embed="rId73">
            <a:alphaModFix/>
          </a:blip>
          <a:srcRect/>
          <a:stretch/>
        </p:blipFill>
        <p:spPr>
          <a:xfrm>
            <a:off x="5507245" y="3648014"/>
            <a:ext cx="932579" cy="746063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838" name="Google Shape;838;p5"/>
          <p:cNvGrpSpPr/>
          <p:nvPr/>
        </p:nvGrpSpPr>
        <p:grpSpPr>
          <a:xfrm>
            <a:off x="6612589" y="4357577"/>
            <a:ext cx="671637" cy="290184"/>
            <a:chOff x="4727505" y="3229516"/>
            <a:chExt cx="503728" cy="217638"/>
          </a:xfrm>
        </p:grpSpPr>
        <p:pic>
          <p:nvPicPr>
            <p:cNvPr id="839" name="Google Shape;839;p5" descr="Data Analysis using Amazon Athena"/>
            <p:cNvPicPr preferRelativeResize="0"/>
            <p:nvPr/>
          </p:nvPicPr>
          <p:blipFill rotWithShape="1">
            <a:blip r:embed="rId74">
              <a:alphaModFix/>
            </a:blip>
            <a:srcRect r="60165"/>
            <a:stretch/>
          </p:blipFill>
          <p:spPr>
            <a:xfrm>
              <a:off x="4727505" y="3233559"/>
              <a:ext cx="200658" cy="213595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840" name="Google Shape;840;p5" descr="Data Analysis using Amazon Athena"/>
            <p:cNvPicPr preferRelativeResize="0"/>
            <p:nvPr/>
          </p:nvPicPr>
          <p:blipFill rotWithShape="1">
            <a:blip r:embed="rId75">
              <a:alphaModFix/>
            </a:blip>
            <a:srcRect l="39834"/>
            <a:stretch/>
          </p:blipFill>
          <p:spPr>
            <a:xfrm>
              <a:off x="4928163" y="3229516"/>
              <a:ext cx="303070" cy="213595"/>
            </a:xfrm>
            <a:prstGeom prst="rect">
              <a:avLst/>
            </a:prstGeom>
            <a:noFill/>
            <a:ln>
              <a:noFill/>
            </a:ln>
          </p:spPr>
        </p:pic>
      </p:grpSp>
      <p:grpSp>
        <p:nvGrpSpPr>
          <p:cNvPr id="841" name="Google Shape;841;p5"/>
          <p:cNvGrpSpPr/>
          <p:nvPr/>
        </p:nvGrpSpPr>
        <p:grpSpPr>
          <a:xfrm>
            <a:off x="5823737" y="4968018"/>
            <a:ext cx="662380" cy="210329"/>
            <a:chOff x="4105486" y="3514706"/>
            <a:chExt cx="496785" cy="157747"/>
          </a:xfrm>
        </p:grpSpPr>
        <p:pic>
          <p:nvPicPr>
            <p:cNvPr id="842" name="Google Shape;842;p5" descr="Dremio | The Easy and Open Data Lakehouse"/>
            <p:cNvPicPr preferRelativeResize="0"/>
            <p:nvPr/>
          </p:nvPicPr>
          <p:blipFill rotWithShape="1">
            <a:blip r:embed="rId76">
              <a:alphaModFix/>
            </a:blip>
            <a:srcRect t="1" r="58251" b="-1"/>
            <a:stretch/>
          </p:blipFill>
          <p:spPr>
            <a:xfrm>
              <a:off x="4105486" y="3514706"/>
              <a:ext cx="207401" cy="157747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843" name="Google Shape;843;p5" descr="Dremio | The Easy and Open Data Lakehouse"/>
            <p:cNvPicPr preferRelativeResize="0"/>
            <p:nvPr/>
          </p:nvPicPr>
          <p:blipFill rotWithShape="1">
            <a:blip r:embed="rId77">
              <a:alphaModFix/>
            </a:blip>
            <a:srcRect l="28231" t="18956" b="6188"/>
            <a:stretch/>
          </p:blipFill>
          <p:spPr>
            <a:xfrm>
              <a:off x="4245734" y="3542718"/>
              <a:ext cx="356537" cy="118080"/>
            </a:xfrm>
            <a:prstGeom prst="rect">
              <a:avLst/>
            </a:prstGeom>
            <a:noFill/>
            <a:ln>
              <a:noFill/>
            </a:ln>
          </p:spPr>
        </p:pic>
      </p:grpSp>
      <p:pic>
        <p:nvPicPr>
          <p:cNvPr id="844" name="Google Shape;844;p5" descr="Logo, company name&#10;&#10;Description automatically generated"/>
          <p:cNvPicPr preferRelativeResize="0"/>
          <p:nvPr/>
        </p:nvPicPr>
        <p:blipFill rotWithShape="1">
          <a:blip r:embed="rId78">
            <a:alphaModFix/>
          </a:blip>
          <a:srcRect/>
          <a:stretch/>
        </p:blipFill>
        <p:spPr>
          <a:xfrm>
            <a:off x="6396064" y="3066813"/>
            <a:ext cx="753417" cy="238582"/>
          </a:xfrm>
          <a:prstGeom prst="rect">
            <a:avLst/>
          </a:prstGeom>
          <a:noFill/>
          <a:ln>
            <a:noFill/>
          </a:ln>
        </p:spPr>
      </p:pic>
      <p:sp>
        <p:nvSpPr>
          <p:cNvPr id="845" name="Google Shape;845;p5"/>
          <p:cNvSpPr/>
          <p:nvPr/>
        </p:nvSpPr>
        <p:spPr>
          <a:xfrm>
            <a:off x="3141797" y="2497039"/>
            <a:ext cx="68414" cy="69975"/>
          </a:xfrm>
          <a:prstGeom prst="ellipse">
            <a:avLst/>
          </a:prstGeom>
          <a:solidFill>
            <a:schemeClr val="dk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846" name="Google Shape;846;p5"/>
          <p:cNvCxnSpPr/>
          <p:nvPr/>
        </p:nvCxnSpPr>
        <p:spPr>
          <a:xfrm rot="10800000">
            <a:off x="993096" y="2739401"/>
            <a:ext cx="3483300" cy="285300"/>
          </a:xfrm>
          <a:prstGeom prst="bentConnector3">
            <a:avLst>
              <a:gd name="adj1" fmla="val 50001"/>
            </a:avLst>
          </a:prstGeom>
          <a:noFill/>
          <a:ln w="12700" cap="flat" cmpd="sng">
            <a:solidFill>
              <a:schemeClr val="dk1"/>
            </a:solidFill>
            <a:prstDash val="dash"/>
            <a:round/>
            <a:headEnd type="none" w="sm" len="sm"/>
            <a:tailEnd type="none" w="sm" len="sm"/>
          </a:ln>
        </p:spPr>
      </p:cxnSp>
      <p:sp>
        <p:nvSpPr>
          <p:cNvPr id="847" name="Google Shape;847;p5"/>
          <p:cNvSpPr/>
          <p:nvPr/>
        </p:nvSpPr>
        <p:spPr>
          <a:xfrm>
            <a:off x="4460743" y="2990978"/>
            <a:ext cx="68414" cy="69975"/>
          </a:xfrm>
          <a:prstGeom prst="ellipse">
            <a:avLst/>
          </a:prstGeom>
          <a:solidFill>
            <a:schemeClr val="dk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48" name="Google Shape;848;p5"/>
          <p:cNvSpPr txBox="1"/>
          <p:nvPr/>
        </p:nvSpPr>
        <p:spPr>
          <a:xfrm>
            <a:off x="952424" y="2155748"/>
            <a:ext cx="1689036" cy="5847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Arial"/>
              <a:buNone/>
            </a:pPr>
            <a:r>
              <a:rPr lang="en-US" sz="1600" b="1" i="0" u="none" strike="noStrike" cap="none">
                <a:solidFill>
                  <a:srgbClr val="00B9FF"/>
                </a:solidFill>
                <a:latin typeface="Calibri"/>
                <a:ea typeface="Calibri"/>
                <a:cs typeface="Calibri"/>
                <a:sym typeface="Calibri"/>
              </a:rPr>
              <a:t>Infrastructure territory</a:t>
            </a:r>
            <a:endParaRPr/>
          </a:p>
        </p:txBody>
      </p:sp>
      <p:cxnSp>
        <p:nvCxnSpPr>
          <p:cNvPr id="849" name="Google Shape;849;p5"/>
          <p:cNvCxnSpPr/>
          <p:nvPr/>
        </p:nvCxnSpPr>
        <p:spPr>
          <a:xfrm rot="10800000">
            <a:off x="550358" y="3635902"/>
            <a:ext cx="2753100" cy="275100"/>
          </a:xfrm>
          <a:prstGeom prst="bentConnector3">
            <a:avLst>
              <a:gd name="adj1" fmla="val 58152"/>
            </a:avLst>
          </a:prstGeom>
          <a:noFill/>
          <a:ln w="12700" cap="flat" cmpd="sng">
            <a:solidFill>
              <a:schemeClr val="dk1"/>
            </a:solidFill>
            <a:prstDash val="dash"/>
            <a:round/>
            <a:headEnd type="none" w="sm" len="sm"/>
            <a:tailEnd type="none" w="sm" len="sm"/>
          </a:ln>
        </p:spPr>
      </p:cxnSp>
      <p:sp>
        <p:nvSpPr>
          <p:cNvPr id="850" name="Google Shape;850;p5"/>
          <p:cNvSpPr/>
          <p:nvPr/>
        </p:nvSpPr>
        <p:spPr>
          <a:xfrm>
            <a:off x="3287806" y="3877274"/>
            <a:ext cx="68414" cy="69975"/>
          </a:xfrm>
          <a:prstGeom prst="ellipse">
            <a:avLst/>
          </a:prstGeom>
          <a:solidFill>
            <a:schemeClr val="dk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51" name="Google Shape;851;p5"/>
          <p:cNvSpPr txBox="1"/>
          <p:nvPr/>
        </p:nvSpPr>
        <p:spPr>
          <a:xfrm>
            <a:off x="549402" y="3055068"/>
            <a:ext cx="1202681" cy="5847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Arial"/>
              <a:buNone/>
            </a:pPr>
            <a:r>
              <a:rPr lang="en-US" sz="1600" b="1" i="0" u="none" strike="noStrike" cap="none">
                <a:solidFill>
                  <a:srgbClr val="00B9FF"/>
                </a:solidFill>
                <a:latin typeface="Calibri"/>
                <a:ea typeface="Calibri"/>
                <a:cs typeface="Calibri"/>
                <a:sym typeface="Calibri"/>
              </a:rPr>
              <a:t>Visualization territory</a:t>
            </a:r>
            <a:endParaRPr/>
          </a:p>
        </p:txBody>
      </p:sp>
      <p:cxnSp>
        <p:nvCxnSpPr>
          <p:cNvPr id="852" name="Google Shape;852;p5"/>
          <p:cNvCxnSpPr/>
          <p:nvPr/>
        </p:nvCxnSpPr>
        <p:spPr>
          <a:xfrm flipH="1">
            <a:off x="549424" y="4114855"/>
            <a:ext cx="3717600" cy="494400"/>
          </a:xfrm>
          <a:prstGeom prst="bentConnector3">
            <a:avLst>
              <a:gd name="adj1" fmla="val 60362"/>
            </a:avLst>
          </a:prstGeom>
          <a:noFill/>
          <a:ln w="12700" cap="flat" cmpd="sng">
            <a:solidFill>
              <a:schemeClr val="dk1"/>
            </a:solidFill>
            <a:prstDash val="dash"/>
            <a:round/>
            <a:headEnd type="none" w="sm" len="sm"/>
            <a:tailEnd type="none" w="sm" len="sm"/>
          </a:ln>
        </p:spPr>
      </p:cxnSp>
      <p:sp>
        <p:nvSpPr>
          <p:cNvPr id="853" name="Google Shape;853;p5"/>
          <p:cNvSpPr/>
          <p:nvPr/>
        </p:nvSpPr>
        <p:spPr>
          <a:xfrm>
            <a:off x="4251369" y="4081134"/>
            <a:ext cx="68414" cy="69975"/>
          </a:xfrm>
          <a:prstGeom prst="ellipse">
            <a:avLst/>
          </a:prstGeom>
          <a:solidFill>
            <a:schemeClr val="dk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54" name="Google Shape;854;p5"/>
          <p:cNvSpPr txBox="1"/>
          <p:nvPr/>
        </p:nvSpPr>
        <p:spPr>
          <a:xfrm>
            <a:off x="550863" y="4027266"/>
            <a:ext cx="1602820" cy="5847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0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Arial"/>
              <a:buNone/>
            </a:pPr>
            <a:r>
              <a:rPr lang="en-US" sz="1600" b="1" i="0" u="none" strike="noStrike" cap="none">
                <a:solidFill>
                  <a:srgbClr val="0F47F2"/>
                </a:solidFill>
                <a:latin typeface="Calibri"/>
                <a:ea typeface="Calibri"/>
                <a:cs typeface="Calibri"/>
                <a:sym typeface="Calibri"/>
              </a:rPr>
              <a:t>Orchestrator precinct</a:t>
            </a:r>
            <a:endParaRPr/>
          </a:p>
        </p:txBody>
      </p:sp>
      <p:cxnSp>
        <p:nvCxnSpPr>
          <p:cNvPr id="855" name="Google Shape;855;p5"/>
          <p:cNvCxnSpPr/>
          <p:nvPr/>
        </p:nvCxnSpPr>
        <p:spPr>
          <a:xfrm flipH="1">
            <a:off x="1005301" y="5176498"/>
            <a:ext cx="2529000" cy="305400"/>
          </a:xfrm>
          <a:prstGeom prst="bentConnector3">
            <a:avLst>
              <a:gd name="adj1" fmla="val 41131"/>
            </a:avLst>
          </a:prstGeom>
          <a:noFill/>
          <a:ln w="12700" cap="flat" cmpd="sng">
            <a:solidFill>
              <a:schemeClr val="dk1"/>
            </a:solidFill>
            <a:prstDash val="dash"/>
            <a:round/>
            <a:headEnd type="none" w="sm" len="sm"/>
            <a:tailEnd type="none" w="sm" len="sm"/>
          </a:ln>
        </p:spPr>
      </p:cxnSp>
      <p:sp>
        <p:nvSpPr>
          <p:cNvPr id="856" name="Google Shape;856;p5"/>
          <p:cNvSpPr/>
          <p:nvPr/>
        </p:nvSpPr>
        <p:spPr>
          <a:xfrm>
            <a:off x="3518644" y="5142780"/>
            <a:ext cx="68414" cy="69975"/>
          </a:xfrm>
          <a:prstGeom prst="ellipse">
            <a:avLst/>
          </a:prstGeom>
          <a:solidFill>
            <a:schemeClr val="dk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57" name="Google Shape;857;p5"/>
          <p:cNvSpPr txBox="1"/>
          <p:nvPr/>
        </p:nvSpPr>
        <p:spPr>
          <a:xfrm>
            <a:off x="1111937" y="4899038"/>
            <a:ext cx="1276246" cy="5847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Arial"/>
              <a:buNone/>
            </a:pPr>
            <a:r>
              <a:rPr lang="en-US" sz="1600" b="1" i="0" u="none" strike="noStrike" cap="none">
                <a:solidFill>
                  <a:srgbClr val="0F47F2"/>
                </a:solidFill>
                <a:latin typeface="Calibri"/>
                <a:ea typeface="Calibri"/>
                <a:cs typeface="Calibri"/>
                <a:sym typeface="Calibri"/>
              </a:rPr>
              <a:t>Big Data/</a:t>
            </a:r>
            <a:endParaRPr/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Arial"/>
              <a:buNone/>
            </a:pPr>
            <a:r>
              <a:rPr lang="en-US" sz="1600" b="1" i="0" u="none" strike="noStrike" cap="none">
                <a:solidFill>
                  <a:srgbClr val="0F47F2"/>
                </a:solidFill>
                <a:latin typeface="Calibri"/>
                <a:ea typeface="Calibri"/>
                <a:cs typeface="Calibri"/>
                <a:sym typeface="Calibri"/>
              </a:rPr>
              <a:t>Distributed</a:t>
            </a:r>
            <a:endParaRPr/>
          </a:p>
        </p:txBody>
      </p:sp>
      <p:pic>
        <p:nvPicPr>
          <p:cNvPr id="858" name="Google Shape;858;p5"/>
          <p:cNvPicPr preferRelativeResize="0"/>
          <p:nvPr/>
        </p:nvPicPr>
        <p:blipFill rotWithShape="1">
          <a:blip r:embed="rId79">
            <a:alphaModFix/>
          </a:blip>
          <a:srcRect l="23496" t="39347" r="69812" b="56595"/>
          <a:stretch/>
        </p:blipFill>
        <p:spPr>
          <a:xfrm>
            <a:off x="3150218" y="3616860"/>
            <a:ext cx="520677" cy="226205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859" name="Google Shape;859;p5"/>
          <p:cNvCxnSpPr/>
          <p:nvPr/>
        </p:nvCxnSpPr>
        <p:spPr>
          <a:xfrm flipH="1">
            <a:off x="1778849" y="5432676"/>
            <a:ext cx="2679000" cy="738600"/>
          </a:xfrm>
          <a:prstGeom prst="bentConnector3">
            <a:avLst>
              <a:gd name="adj1" fmla="val -1045"/>
            </a:avLst>
          </a:prstGeom>
          <a:noFill/>
          <a:ln w="12700" cap="flat" cmpd="sng">
            <a:solidFill>
              <a:schemeClr val="dk1"/>
            </a:solidFill>
            <a:prstDash val="dash"/>
            <a:round/>
            <a:headEnd type="none" w="sm" len="sm"/>
            <a:tailEnd type="none" w="sm" len="sm"/>
          </a:ln>
        </p:spPr>
      </p:cxnSp>
      <p:sp>
        <p:nvSpPr>
          <p:cNvPr id="860" name="Google Shape;860;p5"/>
          <p:cNvSpPr/>
          <p:nvPr/>
        </p:nvSpPr>
        <p:spPr>
          <a:xfrm>
            <a:off x="4448583" y="5398960"/>
            <a:ext cx="68414" cy="69975"/>
          </a:xfrm>
          <a:prstGeom prst="ellipse">
            <a:avLst/>
          </a:prstGeom>
          <a:solidFill>
            <a:schemeClr val="dk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61" name="Google Shape;861;p5"/>
          <p:cNvSpPr txBox="1"/>
          <p:nvPr/>
        </p:nvSpPr>
        <p:spPr>
          <a:xfrm>
            <a:off x="1743079" y="5823426"/>
            <a:ext cx="1424204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Arial"/>
              <a:buNone/>
            </a:pPr>
            <a:r>
              <a:rPr lang="en-US" sz="1600" b="1" i="0" u="none" strike="noStrike" cap="none">
                <a:solidFill>
                  <a:srgbClr val="0F47F2"/>
                </a:solidFill>
                <a:latin typeface="Calibri"/>
                <a:ea typeface="Calibri"/>
                <a:cs typeface="Calibri"/>
                <a:sym typeface="Calibri"/>
              </a:rPr>
              <a:t>NOSQL</a:t>
            </a:r>
            <a:endParaRPr/>
          </a:p>
        </p:txBody>
      </p:sp>
      <p:cxnSp>
        <p:nvCxnSpPr>
          <p:cNvPr id="862" name="Google Shape;862;p5"/>
          <p:cNvCxnSpPr/>
          <p:nvPr/>
        </p:nvCxnSpPr>
        <p:spPr>
          <a:xfrm flipH="1">
            <a:off x="5075929" y="5432671"/>
            <a:ext cx="1974300" cy="736200"/>
          </a:xfrm>
          <a:prstGeom prst="bentConnector3">
            <a:avLst>
              <a:gd name="adj1" fmla="val -818"/>
            </a:avLst>
          </a:prstGeom>
          <a:noFill/>
          <a:ln w="12700" cap="flat" cmpd="sng">
            <a:solidFill>
              <a:schemeClr val="dk1"/>
            </a:solidFill>
            <a:prstDash val="dash"/>
            <a:round/>
            <a:headEnd type="none" w="sm" len="sm"/>
            <a:tailEnd type="none" w="sm" len="sm"/>
          </a:ln>
        </p:spPr>
      </p:cxnSp>
      <p:sp>
        <p:nvSpPr>
          <p:cNvPr id="863" name="Google Shape;863;p5"/>
          <p:cNvSpPr/>
          <p:nvPr/>
        </p:nvSpPr>
        <p:spPr>
          <a:xfrm>
            <a:off x="7040960" y="5398960"/>
            <a:ext cx="68414" cy="69975"/>
          </a:xfrm>
          <a:prstGeom prst="ellipse">
            <a:avLst/>
          </a:prstGeom>
          <a:solidFill>
            <a:schemeClr val="dk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64" name="Google Shape;864;p5"/>
          <p:cNvSpPr txBox="1"/>
          <p:nvPr/>
        </p:nvSpPr>
        <p:spPr>
          <a:xfrm>
            <a:off x="5671175" y="5830301"/>
            <a:ext cx="1403991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Arial"/>
              <a:buNone/>
            </a:pPr>
            <a:r>
              <a:rPr lang="en-US" sz="1600" b="1" i="0" u="none" strike="noStrike" cap="none">
                <a:solidFill>
                  <a:srgbClr val="0F47F2"/>
                </a:solidFill>
                <a:latin typeface="Calibri"/>
                <a:ea typeface="Calibri"/>
                <a:cs typeface="Calibri"/>
                <a:sym typeface="Calibri"/>
              </a:rPr>
              <a:t>Warehousing</a:t>
            </a:r>
            <a:endParaRPr/>
          </a:p>
        </p:txBody>
      </p:sp>
      <p:cxnSp>
        <p:nvCxnSpPr>
          <p:cNvPr id="865" name="Google Shape;865;p5"/>
          <p:cNvCxnSpPr/>
          <p:nvPr/>
        </p:nvCxnSpPr>
        <p:spPr>
          <a:xfrm flipH="1">
            <a:off x="8149538" y="4958764"/>
            <a:ext cx="1554600" cy="1203300"/>
          </a:xfrm>
          <a:prstGeom prst="bentConnector3">
            <a:avLst>
              <a:gd name="adj1" fmla="val 292"/>
            </a:avLst>
          </a:prstGeom>
          <a:noFill/>
          <a:ln w="12700" cap="flat" cmpd="sng">
            <a:solidFill>
              <a:schemeClr val="dk1"/>
            </a:solidFill>
            <a:prstDash val="dash"/>
            <a:round/>
            <a:headEnd type="none" w="sm" len="sm"/>
            <a:tailEnd type="none" w="sm" len="sm"/>
          </a:ln>
        </p:spPr>
      </p:cxnSp>
      <p:sp>
        <p:nvSpPr>
          <p:cNvPr id="866" name="Google Shape;866;p5"/>
          <p:cNvSpPr/>
          <p:nvPr/>
        </p:nvSpPr>
        <p:spPr>
          <a:xfrm>
            <a:off x="9670323" y="4906023"/>
            <a:ext cx="68414" cy="69975"/>
          </a:xfrm>
          <a:prstGeom prst="ellipse">
            <a:avLst/>
          </a:prstGeom>
          <a:solidFill>
            <a:schemeClr val="dk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67" name="Google Shape;867;p5"/>
          <p:cNvSpPr txBox="1"/>
          <p:nvPr/>
        </p:nvSpPr>
        <p:spPr>
          <a:xfrm>
            <a:off x="8115836" y="5830301"/>
            <a:ext cx="1602619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Arial"/>
              <a:buNone/>
            </a:pPr>
            <a:r>
              <a:rPr lang="en-US" sz="1600" b="1" i="0" u="none" strike="noStrike" cap="none">
                <a:solidFill>
                  <a:srgbClr val="0F47F2"/>
                </a:solidFill>
                <a:latin typeface="Calibri"/>
                <a:ea typeface="Calibri"/>
                <a:cs typeface="Calibri"/>
                <a:sym typeface="Calibri"/>
              </a:rPr>
              <a:t>Real-time island</a:t>
            </a:r>
            <a:endParaRPr/>
          </a:p>
        </p:txBody>
      </p:sp>
      <p:cxnSp>
        <p:nvCxnSpPr>
          <p:cNvPr id="868" name="Google Shape;868;p5"/>
          <p:cNvCxnSpPr/>
          <p:nvPr/>
        </p:nvCxnSpPr>
        <p:spPr>
          <a:xfrm>
            <a:off x="3513520" y="1469099"/>
            <a:ext cx="1538700" cy="467400"/>
          </a:xfrm>
          <a:prstGeom prst="bentConnector3">
            <a:avLst>
              <a:gd name="adj1" fmla="val 100287"/>
            </a:avLst>
          </a:prstGeom>
          <a:noFill/>
          <a:ln w="12700" cap="flat" cmpd="sng">
            <a:solidFill>
              <a:schemeClr val="dk1"/>
            </a:solidFill>
            <a:prstDash val="dash"/>
            <a:round/>
            <a:headEnd type="none" w="sm" len="sm"/>
            <a:tailEnd type="none" w="sm" len="sm"/>
          </a:ln>
        </p:spPr>
      </p:cxnSp>
      <p:sp>
        <p:nvSpPr>
          <p:cNvPr id="869" name="Google Shape;869;p5"/>
          <p:cNvSpPr/>
          <p:nvPr/>
        </p:nvSpPr>
        <p:spPr>
          <a:xfrm>
            <a:off x="5023311" y="1948156"/>
            <a:ext cx="68414" cy="69975"/>
          </a:xfrm>
          <a:prstGeom prst="ellipse">
            <a:avLst/>
          </a:prstGeom>
          <a:solidFill>
            <a:schemeClr val="dk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70" name="Google Shape;870;p5"/>
          <p:cNvSpPr txBox="1"/>
          <p:nvPr/>
        </p:nvSpPr>
        <p:spPr>
          <a:xfrm>
            <a:off x="3475437" y="1124998"/>
            <a:ext cx="1689036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Arial"/>
              <a:buNone/>
            </a:pPr>
            <a:r>
              <a:rPr lang="en-US" sz="1600" b="1" i="0" u="none" strike="noStrike" cap="none">
                <a:solidFill>
                  <a:srgbClr val="00B9FF"/>
                </a:solidFill>
                <a:latin typeface="Calibri"/>
                <a:ea typeface="Calibri"/>
                <a:cs typeface="Calibri"/>
                <a:sym typeface="Calibri"/>
              </a:rPr>
              <a:t>Statistician yard</a:t>
            </a:r>
            <a:endParaRPr/>
          </a:p>
        </p:txBody>
      </p:sp>
      <p:cxnSp>
        <p:nvCxnSpPr>
          <p:cNvPr id="871" name="Google Shape;871;p5"/>
          <p:cNvCxnSpPr/>
          <p:nvPr/>
        </p:nvCxnSpPr>
        <p:spPr>
          <a:xfrm flipH="1">
            <a:off x="6845234" y="1470509"/>
            <a:ext cx="2230200" cy="465900"/>
          </a:xfrm>
          <a:prstGeom prst="bentConnector3">
            <a:avLst>
              <a:gd name="adj1" fmla="val 100148"/>
            </a:avLst>
          </a:prstGeom>
          <a:noFill/>
          <a:ln w="12700" cap="flat" cmpd="sng">
            <a:solidFill>
              <a:schemeClr val="dk1"/>
            </a:solidFill>
            <a:prstDash val="dash"/>
            <a:round/>
            <a:headEnd type="none" w="sm" len="sm"/>
            <a:tailEnd type="none" w="sm" len="sm"/>
          </a:ln>
        </p:spPr>
      </p:cxnSp>
      <p:sp>
        <p:nvSpPr>
          <p:cNvPr id="872" name="Google Shape;872;p5"/>
          <p:cNvSpPr/>
          <p:nvPr/>
        </p:nvSpPr>
        <p:spPr>
          <a:xfrm>
            <a:off x="6816211" y="1948156"/>
            <a:ext cx="68414" cy="69975"/>
          </a:xfrm>
          <a:prstGeom prst="ellipse">
            <a:avLst/>
          </a:prstGeom>
          <a:solidFill>
            <a:schemeClr val="dk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73" name="Google Shape;873;p5"/>
          <p:cNvSpPr txBox="1"/>
          <p:nvPr/>
        </p:nvSpPr>
        <p:spPr>
          <a:xfrm>
            <a:off x="6809251" y="1124998"/>
            <a:ext cx="2378334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Arial"/>
              <a:buNone/>
            </a:pPr>
            <a:r>
              <a:rPr lang="en-US" sz="1600" b="1" i="0" u="none" strike="noStrike" cap="none">
                <a:solidFill>
                  <a:srgbClr val="0F47F2"/>
                </a:solidFill>
                <a:latin typeface="Calibri"/>
                <a:ea typeface="Calibri"/>
                <a:cs typeface="Calibri"/>
                <a:sym typeface="Calibri"/>
              </a:rPr>
              <a:t>Distributed magic county</a:t>
            </a:r>
            <a:endParaRPr/>
          </a:p>
        </p:txBody>
      </p:sp>
      <p:cxnSp>
        <p:nvCxnSpPr>
          <p:cNvPr id="874" name="Google Shape;874;p5"/>
          <p:cNvCxnSpPr>
            <a:endCxn id="875" idx="6"/>
          </p:cNvCxnSpPr>
          <p:nvPr/>
        </p:nvCxnSpPr>
        <p:spPr>
          <a:xfrm flipH="1">
            <a:off x="8769848" y="2052960"/>
            <a:ext cx="1550700" cy="273600"/>
          </a:xfrm>
          <a:prstGeom prst="bentConnector3">
            <a:avLst>
              <a:gd name="adj1" fmla="val 65284"/>
            </a:avLst>
          </a:prstGeom>
          <a:noFill/>
          <a:ln w="12700" cap="flat" cmpd="sng">
            <a:solidFill>
              <a:schemeClr val="dk1"/>
            </a:solidFill>
            <a:prstDash val="dash"/>
            <a:round/>
            <a:headEnd type="none" w="sm" len="sm"/>
            <a:tailEnd type="none" w="sm" len="sm"/>
          </a:ln>
        </p:spPr>
      </p:cxnSp>
      <p:sp>
        <p:nvSpPr>
          <p:cNvPr id="875" name="Google Shape;875;p5"/>
          <p:cNvSpPr/>
          <p:nvPr/>
        </p:nvSpPr>
        <p:spPr>
          <a:xfrm>
            <a:off x="8701434" y="2291572"/>
            <a:ext cx="68414" cy="69975"/>
          </a:xfrm>
          <a:prstGeom prst="ellipse">
            <a:avLst/>
          </a:prstGeom>
          <a:solidFill>
            <a:schemeClr val="dk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76" name="Google Shape;876;p5"/>
          <p:cNvSpPr txBox="1"/>
          <p:nvPr/>
        </p:nvSpPr>
        <p:spPr>
          <a:xfrm>
            <a:off x="9264297" y="1712584"/>
            <a:ext cx="1689036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Arial"/>
              <a:buNone/>
            </a:pPr>
            <a:r>
              <a:rPr lang="en-US" sz="1600" b="1" i="0" u="none" strike="noStrike" cap="none">
                <a:solidFill>
                  <a:srgbClr val="00B9FF"/>
                </a:solidFill>
                <a:latin typeface="Calibri"/>
                <a:ea typeface="Calibri"/>
                <a:cs typeface="Calibri"/>
                <a:sym typeface="Calibri"/>
              </a:rPr>
              <a:t>Ide Valley</a:t>
            </a:r>
            <a:endParaRPr/>
          </a:p>
        </p:txBody>
      </p:sp>
      <p:sp>
        <p:nvSpPr>
          <p:cNvPr id="877" name="Google Shape;877;p5"/>
          <p:cNvSpPr txBox="1"/>
          <p:nvPr/>
        </p:nvSpPr>
        <p:spPr>
          <a:xfrm>
            <a:off x="9309562" y="2055974"/>
            <a:ext cx="1147926" cy="5847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Arial"/>
              <a:buNone/>
            </a:pPr>
            <a:r>
              <a:rPr lang="en-US" sz="1600" b="1" i="0" u="none" strike="noStrike" cap="none">
                <a:solidFill>
                  <a:srgbClr val="00B9FF"/>
                </a:solidFill>
                <a:latin typeface="Calibri"/>
                <a:ea typeface="Calibri"/>
                <a:cs typeface="Calibri"/>
                <a:sym typeface="Calibri"/>
              </a:rPr>
              <a:t>Notebook quarter</a:t>
            </a:r>
            <a:endParaRPr/>
          </a:p>
        </p:txBody>
      </p:sp>
      <p:cxnSp>
        <p:nvCxnSpPr>
          <p:cNvPr id="878" name="Google Shape;878;p5"/>
          <p:cNvCxnSpPr/>
          <p:nvPr/>
        </p:nvCxnSpPr>
        <p:spPr>
          <a:xfrm>
            <a:off x="10507135" y="3308447"/>
            <a:ext cx="1099712" cy="0"/>
          </a:xfrm>
          <a:prstGeom prst="straightConnector1">
            <a:avLst/>
          </a:prstGeom>
          <a:noFill/>
          <a:ln w="12700" cap="flat" cmpd="sng">
            <a:solidFill>
              <a:schemeClr val="dk1"/>
            </a:solidFill>
            <a:prstDash val="dash"/>
            <a:round/>
            <a:headEnd type="none" w="sm" len="sm"/>
            <a:tailEnd type="none" w="sm" len="sm"/>
          </a:ln>
        </p:spPr>
      </p:cxnSp>
      <p:sp>
        <p:nvSpPr>
          <p:cNvPr id="879" name="Google Shape;879;p5"/>
          <p:cNvSpPr txBox="1"/>
          <p:nvPr/>
        </p:nvSpPr>
        <p:spPr>
          <a:xfrm>
            <a:off x="10431812" y="2844637"/>
            <a:ext cx="1209326" cy="46166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r>
              <a:rPr lang="en-US" sz="1200" b="1" i="0" u="none" strike="noStrike" cap="none">
                <a:solidFill>
                  <a:srgbClr val="00B9FF"/>
                </a:solidFill>
                <a:latin typeface="Calibri"/>
                <a:ea typeface="Calibri"/>
                <a:cs typeface="Calibri"/>
                <a:sym typeface="Calibri"/>
              </a:rPr>
              <a:t>Capabilities we already have</a:t>
            </a:r>
            <a:endParaRPr/>
          </a:p>
        </p:txBody>
      </p:sp>
      <p:cxnSp>
        <p:nvCxnSpPr>
          <p:cNvPr id="880" name="Google Shape;880;p5"/>
          <p:cNvCxnSpPr/>
          <p:nvPr/>
        </p:nvCxnSpPr>
        <p:spPr>
          <a:xfrm>
            <a:off x="10507135" y="3950168"/>
            <a:ext cx="1103522" cy="0"/>
          </a:xfrm>
          <a:prstGeom prst="straightConnector1">
            <a:avLst/>
          </a:prstGeom>
          <a:noFill/>
          <a:ln w="12700" cap="flat" cmpd="sng">
            <a:solidFill>
              <a:schemeClr val="dk1"/>
            </a:solidFill>
            <a:prstDash val="dash"/>
            <a:round/>
            <a:headEnd type="none" w="sm" len="sm"/>
            <a:tailEnd type="none" w="sm" len="sm"/>
          </a:ln>
        </p:spPr>
      </p:cxnSp>
      <p:sp>
        <p:nvSpPr>
          <p:cNvPr id="881" name="Google Shape;881;p5"/>
          <p:cNvSpPr txBox="1"/>
          <p:nvPr/>
        </p:nvSpPr>
        <p:spPr>
          <a:xfrm>
            <a:off x="10431811" y="3493925"/>
            <a:ext cx="1209327" cy="46166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r>
              <a:rPr lang="en-US" sz="1200" b="1" i="0" u="none" strike="noStrike" cap="none">
                <a:solidFill>
                  <a:srgbClr val="0F47F2"/>
                </a:solidFill>
                <a:latin typeface="Calibri"/>
                <a:ea typeface="Calibri"/>
                <a:cs typeface="Calibri"/>
                <a:sym typeface="Calibri"/>
              </a:rPr>
              <a:t>Capabilities we </a:t>
            </a:r>
            <a:br>
              <a:rPr lang="en-US" sz="1200" b="1" i="0" u="none" strike="noStrike" cap="none">
                <a:solidFill>
                  <a:srgbClr val="0F47F2"/>
                </a:solidFill>
                <a:latin typeface="Calibri"/>
                <a:ea typeface="Calibri"/>
                <a:cs typeface="Calibri"/>
                <a:sym typeface="Calibri"/>
              </a:rPr>
            </a:br>
            <a:r>
              <a:rPr lang="en-US" sz="1200" b="1" i="0" u="none" strike="noStrike" cap="none">
                <a:solidFill>
                  <a:srgbClr val="0F47F2"/>
                </a:solidFill>
                <a:latin typeface="Calibri"/>
                <a:ea typeface="Calibri"/>
                <a:cs typeface="Calibri"/>
                <a:sym typeface="Calibri"/>
              </a:rPr>
              <a:t>are building</a:t>
            </a:r>
            <a:endParaRPr/>
          </a:p>
        </p:txBody>
      </p:sp>
      <p:sp>
        <p:nvSpPr>
          <p:cNvPr id="882" name="Google Shape;882;p5"/>
          <p:cNvSpPr/>
          <p:nvPr/>
        </p:nvSpPr>
        <p:spPr>
          <a:xfrm>
            <a:off x="10389443" y="2955695"/>
            <a:ext cx="72172" cy="7217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83" name="Google Shape;883;p5"/>
          <p:cNvSpPr/>
          <p:nvPr/>
        </p:nvSpPr>
        <p:spPr>
          <a:xfrm>
            <a:off x="10389443" y="3593429"/>
            <a:ext cx="72172" cy="72172"/>
          </a:xfrm>
          <a:prstGeom prst="rect">
            <a:avLst/>
          </a:prstGeom>
          <a:solidFill>
            <a:schemeClr val="dk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1_Office Theme">
  <a:themeElements>
    <a:clrScheme name="Infomineo_Dark Colors">
      <a:dk1>
        <a:srgbClr val="444444"/>
      </a:dk1>
      <a:lt1>
        <a:srgbClr val="FFFFFF"/>
      </a:lt1>
      <a:dk2>
        <a:srgbClr val="0F47F2"/>
      </a:dk2>
      <a:lt2>
        <a:srgbClr val="E6EBF5"/>
      </a:lt2>
      <a:accent1>
        <a:srgbClr val="00B9FF"/>
      </a:accent1>
      <a:accent2>
        <a:srgbClr val="BEBEBE"/>
      </a:accent2>
      <a:accent3>
        <a:srgbClr val="158177"/>
      </a:accent3>
      <a:accent4>
        <a:srgbClr val="00B050"/>
      </a:accent4>
      <a:accent5>
        <a:srgbClr val="FFD700"/>
      </a:accent5>
      <a:accent6>
        <a:srgbClr val="5014B4"/>
      </a:accent6>
      <a:hlink>
        <a:srgbClr val="0F47F2"/>
      </a:hlink>
      <a:folHlink>
        <a:srgbClr val="999A99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2_Office Theme">
  <a:themeElements>
    <a:clrScheme name="Infomineo_Dark Colors">
      <a:dk1>
        <a:srgbClr val="444444"/>
      </a:dk1>
      <a:lt1>
        <a:srgbClr val="FFFFFF"/>
      </a:lt1>
      <a:dk2>
        <a:srgbClr val="0F47F2"/>
      </a:dk2>
      <a:lt2>
        <a:srgbClr val="E6EBF5"/>
      </a:lt2>
      <a:accent1>
        <a:srgbClr val="00B9FF"/>
      </a:accent1>
      <a:accent2>
        <a:srgbClr val="BEBEBE"/>
      </a:accent2>
      <a:accent3>
        <a:srgbClr val="158177"/>
      </a:accent3>
      <a:accent4>
        <a:srgbClr val="00B050"/>
      </a:accent4>
      <a:accent5>
        <a:srgbClr val="FFD700"/>
      </a:accent5>
      <a:accent6>
        <a:srgbClr val="5014B4"/>
      </a:accent6>
      <a:hlink>
        <a:srgbClr val="0F47F2"/>
      </a:hlink>
      <a:folHlink>
        <a:srgbClr val="999A99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286</TotalTime>
  <Words>572</Words>
  <Application>Microsoft Office PowerPoint</Application>
  <PresentationFormat>Widescreen</PresentationFormat>
  <Paragraphs>184</Paragraphs>
  <Slides>5</Slides>
  <Notes>5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</vt:i4>
      </vt:variant>
    </vt:vector>
  </HeadingPairs>
  <TitlesOfParts>
    <vt:vector size="15" baseType="lpstr">
      <vt:lpstr>Arial</vt:lpstr>
      <vt:lpstr>Aharoni</vt:lpstr>
      <vt:lpstr>Libre Franklin</vt:lpstr>
      <vt:lpstr>Calibri</vt:lpstr>
      <vt:lpstr>Noto Sans Symbols</vt:lpstr>
      <vt:lpstr>Franklin Gothic</vt:lpstr>
      <vt:lpstr>Office Theme</vt:lpstr>
      <vt:lpstr>1_Office Theme</vt:lpstr>
      <vt:lpstr>2_Office Theme</vt:lpstr>
      <vt:lpstr>think-cell Slide</vt:lpstr>
      <vt:lpstr>Infomineo offers a full suite of Data Analytics Services</vt:lpstr>
      <vt:lpstr>Our approach to helping you</vt:lpstr>
      <vt:lpstr>PowerPoint Presentation</vt:lpstr>
      <vt:lpstr>Technologies Infomineo can be handling  </vt:lpstr>
      <vt:lpstr>Technologies Infomineo can be handling  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nfomineo offers a full suite of Data Analytics Services</dc:title>
  <dc:creator>Casa 2</dc:creator>
  <cp:lastModifiedBy>Casa 2</cp:lastModifiedBy>
  <cp:revision>3</cp:revision>
  <dcterms:created xsi:type="dcterms:W3CDTF">2023-02-07T16:53:19Z</dcterms:created>
  <dcterms:modified xsi:type="dcterms:W3CDTF">2023-02-10T10:27:40Z</dcterms:modified>
</cp:coreProperties>
</file>